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6.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7.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8.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8.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19.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5.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6.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7.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8.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9.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10.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720" r:id="rId1"/>
    <p:sldMasterId id="2147483762" r:id="rId2"/>
    <p:sldMasterId id="2147483776" r:id="rId3"/>
    <p:sldMasterId id="2147483795" r:id="rId4"/>
    <p:sldMasterId id="2147483807" r:id="rId5"/>
    <p:sldMasterId id="2147483820" r:id="rId6"/>
    <p:sldMasterId id="2147483845" r:id="rId7"/>
    <p:sldMasterId id="2147483857" r:id="rId8"/>
    <p:sldMasterId id="2147483871" r:id="rId9"/>
  </p:sldMasterIdLst>
  <p:notesMasterIdLst>
    <p:notesMasterId r:id="rId60"/>
  </p:notesMasterIdLst>
  <p:sldIdLst>
    <p:sldId id="514" r:id="rId10"/>
    <p:sldId id="499" r:id="rId11"/>
    <p:sldId id="501" r:id="rId12"/>
    <p:sldId id="525" r:id="rId13"/>
    <p:sldId id="526" r:id="rId14"/>
    <p:sldId id="527" r:id="rId15"/>
    <p:sldId id="528" r:id="rId16"/>
    <p:sldId id="529" r:id="rId17"/>
    <p:sldId id="530" r:id="rId18"/>
    <p:sldId id="532" r:id="rId19"/>
    <p:sldId id="535" r:id="rId20"/>
    <p:sldId id="540" r:id="rId21"/>
    <p:sldId id="541" r:id="rId22"/>
    <p:sldId id="542" r:id="rId23"/>
    <p:sldId id="551" r:id="rId24"/>
    <p:sldId id="554" r:id="rId25"/>
    <p:sldId id="555" r:id="rId26"/>
    <p:sldId id="548" r:id="rId27"/>
    <p:sldId id="549" r:id="rId28"/>
    <p:sldId id="516" r:id="rId29"/>
    <p:sldId id="559" r:id="rId30"/>
    <p:sldId id="560" r:id="rId31"/>
    <p:sldId id="572" r:id="rId32"/>
    <p:sldId id="574" r:id="rId33"/>
    <p:sldId id="573" r:id="rId34"/>
    <p:sldId id="517" r:id="rId35"/>
    <p:sldId id="518" r:id="rId36"/>
    <p:sldId id="562" r:id="rId37"/>
    <p:sldId id="564" r:id="rId38"/>
    <p:sldId id="565" r:id="rId39"/>
    <p:sldId id="566" r:id="rId40"/>
    <p:sldId id="567" r:id="rId41"/>
    <p:sldId id="537" r:id="rId42"/>
    <p:sldId id="568" r:id="rId43"/>
    <p:sldId id="569" r:id="rId44"/>
    <p:sldId id="570" r:id="rId45"/>
    <p:sldId id="577" r:id="rId46"/>
    <p:sldId id="578" r:id="rId47"/>
    <p:sldId id="575" r:id="rId48"/>
    <p:sldId id="576" r:id="rId49"/>
    <p:sldId id="579" r:id="rId50"/>
    <p:sldId id="580" r:id="rId51"/>
    <p:sldId id="511" r:id="rId52"/>
    <p:sldId id="510" r:id="rId53"/>
    <p:sldId id="581" r:id="rId54"/>
    <p:sldId id="582" r:id="rId55"/>
    <p:sldId id="583" r:id="rId56"/>
    <p:sldId id="584" r:id="rId57"/>
    <p:sldId id="585" r:id="rId58"/>
    <p:sldId id="508" r:id="rId59"/>
  </p:sldIdLst>
  <p:sldSz cx="9144000" cy="6858000" type="screen4x3"/>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FF66"/>
    <a:srgbClr val="00FFFF"/>
    <a:srgbClr val="FF66FF"/>
    <a:srgbClr val="FFCCFF"/>
    <a:srgbClr val="CC99FF"/>
    <a:srgbClr val="FFB64B"/>
    <a:srgbClr val="FFFF66"/>
    <a:srgbClr val="3D4246"/>
    <a:srgbClr val="00060C"/>
    <a:srgbClr val="602C1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915" autoAdjust="0"/>
    <p:restoredTop sz="86355" autoAdjust="0"/>
  </p:normalViewPr>
  <p:slideViewPr>
    <p:cSldViewPr>
      <p:cViewPr varScale="1">
        <p:scale>
          <a:sx n="64" d="100"/>
          <a:sy n="64" d="100"/>
        </p:scale>
        <p:origin x="1266" y="72"/>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1953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61"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42.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s>
</file>

<file path=ppt/charts/_rels/chart1.xml.rels><?xml version="1.0" encoding="UTF-8" standalone="yes"?>
<Relationships xmlns="http://schemas.openxmlformats.org/package/2006/relationships"><Relationship Id="rId3" Type="http://schemas.openxmlformats.org/officeDocument/2006/relationships/oleObject" Target="file:///D:\Users\jvivalo\Dropbox%20(IFPRI)\CONF_2015_IFPRI_40thAnniversary_Staging\PPT_Rosegrant_2015\2-originals\MWR-IFPRI's%20anniversary-all-data.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David\AppData\Local\Microsoft\Windows\Temporary%20Internet%20Files\Content.Outlook\NFOJ75V5\USAID%20request.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David\Dropbox%20(IFPRI)\USAID_Trade_ATOR+.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D:\Users\mtorero\AppData\Local\Microsoft\Windows\Temporary%20Internet%20Files\Content.Outlook\BRM3E05D\Add_on_USAID.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C:\Users\David\Dropbox%20(IFPRI)\USAID_Trade_ATOR+.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C:\Users\David\Dropbox%20(IFPRI)\USAID_Trade_ATOR+.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file:///D:\Users\mtorero\AppData\Local\Microsoft\Windows\Temporary%20Internet%20Files\Content.Outlook\BRM3E05D\Add_on_USAID.xlsx" TargetMode="External"/><Relationship Id="rId2" Type="http://schemas.microsoft.com/office/2011/relationships/chartColorStyle" Target="colors15.xml"/><Relationship Id="rId1" Type="http://schemas.microsoft.com/office/2011/relationships/chartStyle" Target="style15.xml"/></Relationships>
</file>

<file path=ppt/charts/_rels/chart2.xml.rels><?xml version="1.0" encoding="UTF-8" standalone="yes"?>
<Relationships xmlns="http://schemas.openxmlformats.org/package/2006/relationships"><Relationship Id="rId3" Type="http://schemas.openxmlformats.org/officeDocument/2006/relationships/oleObject" Target="file:///D:\Users\jvivalo\Dropbox%20(IFPRI)\CONF_2015_IFPRI_40thAnniversary_Staging\PPT_Rosegrant_2015\2-originals\MWR-IFPRI's%20anniversary-all-data.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D:\Users\jvivalo\AppData\Local\Microsoft\Windows\Temporary%20Internet%20Files\Content.Outlook\3UI5MBRI\MWR%20-%20Stunted%20children-number.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D:\BING_VALMONTE-SANTOS\Eptd\Management\IFPRIs%2040th%20anniversary\presentation\MWR-IFPRI's%20anniversary-all-data.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D:\Users\jvivalo\Dropbox%20(IFPRI)\CONF_2015_IFPRI_40thAnniversary_Staging\PPT_Rosegrant_2015\2-originals\MWR-IFPRI's%20anniversary-all-data.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D:\Users\jvivalo\Dropbox%20(IFPRI)\CONF_2015_IFPRI_40thAnniversary_Staging\PPT_Rosegrant_2015\2-originals\MWR-IFPRI's%20anniversary-all-data.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D:\BING_VALMONTE-SANTOS\Eptd\Management\IFPRIs%2040th%20anniversary\presentation\all-data.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D:\Users\dlaborde\Dropbox%20(IFPRI)\IFPRI40th.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C:\Users\David\AppData\Local\Microsoft\Windows\Temporary%20Internet%20Files\Content.Outlook\NFOJ75V5\USAID%20request.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371868089094899"/>
          <c:y val="0.29627263598046299"/>
          <c:w val="0.75250777785223799"/>
          <c:h val="0.56439525795781897"/>
        </c:manualLayout>
      </c:layout>
      <c:lineChart>
        <c:grouping val="standard"/>
        <c:varyColors val="0"/>
        <c:ser>
          <c:idx val="0"/>
          <c:order val="0"/>
          <c:tx>
            <c:strRef>
              <c:f>malnutrition!$B$3</c:f>
              <c:strCache>
                <c:ptCount val="1"/>
                <c:pt idx="0">
                  <c:v>Africa south of the Sahara</c:v>
                </c:pt>
              </c:strCache>
            </c:strRef>
          </c:tx>
          <c:spPr>
            <a:ln w="57150" cap="rnd">
              <a:solidFill>
                <a:schemeClr val="accent1"/>
              </a:solidFill>
              <a:round/>
            </a:ln>
            <a:effectLst/>
          </c:spPr>
          <c:marker>
            <c:symbol val="none"/>
          </c:marker>
          <c:cat>
            <c:strRef>
              <c:f>malnutrition!$A$4:$A$28</c:f>
              <c:strCache>
                <c:ptCount val="25"/>
                <c:pt idx="0">
                  <c:v>1990-1992</c:v>
                </c:pt>
                <c:pt idx="1">
                  <c:v>1991-1993</c:v>
                </c:pt>
                <c:pt idx="2">
                  <c:v>1992-1994</c:v>
                </c:pt>
                <c:pt idx="3">
                  <c:v>1993-1995</c:v>
                </c:pt>
                <c:pt idx="4">
                  <c:v>1994-1996</c:v>
                </c:pt>
                <c:pt idx="5">
                  <c:v>1995-1997</c:v>
                </c:pt>
                <c:pt idx="6">
                  <c:v>1996-1998</c:v>
                </c:pt>
                <c:pt idx="7">
                  <c:v>1997-1999</c:v>
                </c:pt>
                <c:pt idx="8">
                  <c:v>1998-2000</c:v>
                </c:pt>
                <c:pt idx="9">
                  <c:v>1999-2001</c:v>
                </c:pt>
                <c:pt idx="10">
                  <c:v>2000-2002</c:v>
                </c:pt>
                <c:pt idx="11">
                  <c:v>2001-2003</c:v>
                </c:pt>
                <c:pt idx="12">
                  <c:v>2002-2004</c:v>
                </c:pt>
                <c:pt idx="13">
                  <c:v>2003-2005</c:v>
                </c:pt>
                <c:pt idx="14">
                  <c:v>2004-2006</c:v>
                </c:pt>
                <c:pt idx="15">
                  <c:v>2005-2007</c:v>
                </c:pt>
                <c:pt idx="16">
                  <c:v>2006-2008</c:v>
                </c:pt>
                <c:pt idx="17">
                  <c:v>2007-2009</c:v>
                </c:pt>
                <c:pt idx="18">
                  <c:v>2008-2010</c:v>
                </c:pt>
                <c:pt idx="19">
                  <c:v>2009-2011</c:v>
                </c:pt>
                <c:pt idx="20">
                  <c:v>2010-2012</c:v>
                </c:pt>
                <c:pt idx="21">
                  <c:v>2011-2013</c:v>
                </c:pt>
                <c:pt idx="22">
                  <c:v>2012-2014</c:v>
                </c:pt>
                <c:pt idx="23">
                  <c:v>2013-2015</c:v>
                </c:pt>
                <c:pt idx="24">
                  <c:v>2014-2016</c:v>
                </c:pt>
              </c:strCache>
            </c:strRef>
          </c:cat>
          <c:val>
            <c:numRef>
              <c:f>malnutrition!$B$4:$B$28</c:f>
              <c:numCache>
                <c:formatCode>_(* #,##0.00_);_(* \(#,##0.00\);_(* "-"??_);_(@_)</c:formatCode>
                <c:ptCount val="25"/>
                <c:pt idx="0">
                  <c:v>175.7</c:v>
                </c:pt>
                <c:pt idx="1">
                  <c:v>179</c:v>
                </c:pt>
                <c:pt idx="2">
                  <c:v>182.1</c:v>
                </c:pt>
                <c:pt idx="3">
                  <c:v>184.3</c:v>
                </c:pt>
                <c:pt idx="4">
                  <c:v>186.6</c:v>
                </c:pt>
                <c:pt idx="5">
                  <c:v>189.3</c:v>
                </c:pt>
                <c:pt idx="6">
                  <c:v>192.3</c:v>
                </c:pt>
                <c:pt idx="7">
                  <c:v>196</c:v>
                </c:pt>
                <c:pt idx="8">
                  <c:v>198.7</c:v>
                </c:pt>
                <c:pt idx="9">
                  <c:v>201.3</c:v>
                </c:pt>
                <c:pt idx="10">
                  <c:v>203.6</c:v>
                </c:pt>
                <c:pt idx="11">
                  <c:v>206.1</c:v>
                </c:pt>
                <c:pt idx="12">
                  <c:v>207.9</c:v>
                </c:pt>
                <c:pt idx="13">
                  <c:v>208.2</c:v>
                </c:pt>
                <c:pt idx="14">
                  <c:v>207.4</c:v>
                </c:pt>
                <c:pt idx="15">
                  <c:v>206</c:v>
                </c:pt>
                <c:pt idx="16">
                  <c:v>206.7</c:v>
                </c:pt>
                <c:pt idx="17">
                  <c:v>208.7</c:v>
                </c:pt>
                <c:pt idx="18">
                  <c:v>211.2</c:v>
                </c:pt>
                <c:pt idx="19">
                  <c:v>212.7</c:v>
                </c:pt>
                <c:pt idx="20">
                  <c:v>205.5</c:v>
                </c:pt>
                <c:pt idx="21">
                  <c:v>206.5</c:v>
                </c:pt>
                <c:pt idx="22">
                  <c:v>209.1</c:v>
                </c:pt>
                <c:pt idx="23">
                  <c:v>213</c:v>
                </c:pt>
                <c:pt idx="24">
                  <c:v>217.8</c:v>
                </c:pt>
              </c:numCache>
            </c:numRef>
          </c:val>
          <c:smooth val="0"/>
        </c:ser>
        <c:ser>
          <c:idx val="1"/>
          <c:order val="1"/>
          <c:tx>
            <c:strRef>
              <c:f>malnutrition!$C$3</c:f>
              <c:strCache>
                <c:ptCount val="1"/>
                <c:pt idx="0">
                  <c:v>South Asia</c:v>
                </c:pt>
              </c:strCache>
            </c:strRef>
          </c:tx>
          <c:spPr>
            <a:ln w="57150" cap="rnd">
              <a:solidFill>
                <a:schemeClr val="accent2"/>
              </a:solidFill>
              <a:round/>
            </a:ln>
            <a:effectLst/>
          </c:spPr>
          <c:marker>
            <c:symbol val="none"/>
          </c:marker>
          <c:cat>
            <c:strRef>
              <c:f>malnutrition!$A$4:$A$28</c:f>
              <c:strCache>
                <c:ptCount val="25"/>
                <c:pt idx="0">
                  <c:v>1990-1992</c:v>
                </c:pt>
                <c:pt idx="1">
                  <c:v>1991-1993</c:v>
                </c:pt>
                <c:pt idx="2">
                  <c:v>1992-1994</c:v>
                </c:pt>
                <c:pt idx="3">
                  <c:v>1993-1995</c:v>
                </c:pt>
                <c:pt idx="4">
                  <c:v>1994-1996</c:v>
                </c:pt>
                <c:pt idx="5">
                  <c:v>1995-1997</c:v>
                </c:pt>
                <c:pt idx="6">
                  <c:v>1996-1998</c:v>
                </c:pt>
                <c:pt idx="7">
                  <c:v>1997-1999</c:v>
                </c:pt>
                <c:pt idx="8">
                  <c:v>1998-2000</c:v>
                </c:pt>
                <c:pt idx="9">
                  <c:v>1999-2001</c:v>
                </c:pt>
                <c:pt idx="10">
                  <c:v>2000-2002</c:v>
                </c:pt>
                <c:pt idx="11">
                  <c:v>2001-2003</c:v>
                </c:pt>
                <c:pt idx="12">
                  <c:v>2002-2004</c:v>
                </c:pt>
                <c:pt idx="13">
                  <c:v>2003-2005</c:v>
                </c:pt>
                <c:pt idx="14">
                  <c:v>2004-2006</c:v>
                </c:pt>
                <c:pt idx="15">
                  <c:v>2005-2007</c:v>
                </c:pt>
                <c:pt idx="16">
                  <c:v>2006-2008</c:v>
                </c:pt>
                <c:pt idx="17">
                  <c:v>2007-2009</c:v>
                </c:pt>
                <c:pt idx="18">
                  <c:v>2008-2010</c:v>
                </c:pt>
                <c:pt idx="19">
                  <c:v>2009-2011</c:v>
                </c:pt>
                <c:pt idx="20">
                  <c:v>2010-2012</c:v>
                </c:pt>
                <c:pt idx="21">
                  <c:v>2011-2013</c:v>
                </c:pt>
                <c:pt idx="22">
                  <c:v>2012-2014</c:v>
                </c:pt>
                <c:pt idx="23">
                  <c:v>2013-2015</c:v>
                </c:pt>
                <c:pt idx="24">
                  <c:v>2014-2016</c:v>
                </c:pt>
              </c:strCache>
            </c:strRef>
          </c:cat>
          <c:val>
            <c:numRef>
              <c:f>malnutrition!$C$4:$C$28</c:f>
              <c:numCache>
                <c:formatCode>_(* #,##0.00_);_(* \(#,##0.00\);_(* "-"??_);_(@_)</c:formatCode>
                <c:ptCount val="25"/>
                <c:pt idx="0">
                  <c:v>291.2</c:v>
                </c:pt>
                <c:pt idx="1">
                  <c:v>285.8</c:v>
                </c:pt>
                <c:pt idx="2">
                  <c:v>293.8</c:v>
                </c:pt>
                <c:pt idx="3">
                  <c:v>299.10000000000002</c:v>
                </c:pt>
                <c:pt idx="4">
                  <c:v>299.8</c:v>
                </c:pt>
                <c:pt idx="5">
                  <c:v>293.7</c:v>
                </c:pt>
                <c:pt idx="6">
                  <c:v>284</c:v>
                </c:pt>
                <c:pt idx="7">
                  <c:v>273.8</c:v>
                </c:pt>
                <c:pt idx="8">
                  <c:v>266.3</c:v>
                </c:pt>
                <c:pt idx="9">
                  <c:v>263.2</c:v>
                </c:pt>
                <c:pt idx="10">
                  <c:v>272.3</c:v>
                </c:pt>
                <c:pt idx="11">
                  <c:v>288.89999999999992</c:v>
                </c:pt>
                <c:pt idx="12">
                  <c:v>308.3</c:v>
                </c:pt>
                <c:pt idx="13">
                  <c:v>321.39999999999992</c:v>
                </c:pt>
                <c:pt idx="14">
                  <c:v>326.39999999999992</c:v>
                </c:pt>
                <c:pt idx="15">
                  <c:v>319.10000000000002</c:v>
                </c:pt>
                <c:pt idx="16">
                  <c:v>303.3</c:v>
                </c:pt>
                <c:pt idx="17">
                  <c:v>286.2</c:v>
                </c:pt>
                <c:pt idx="18">
                  <c:v>276</c:v>
                </c:pt>
                <c:pt idx="19">
                  <c:v>273.2</c:v>
                </c:pt>
                <c:pt idx="20">
                  <c:v>274.2</c:v>
                </c:pt>
                <c:pt idx="21">
                  <c:v>276.3</c:v>
                </c:pt>
                <c:pt idx="22">
                  <c:v>279.5</c:v>
                </c:pt>
                <c:pt idx="23">
                  <c:v>280.89999999999992</c:v>
                </c:pt>
                <c:pt idx="24">
                  <c:v>281.39999999999992</c:v>
                </c:pt>
              </c:numCache>
            </c:numRef>
          </c:val>
          <c:smooth val="0"/>
        </c:ser>
        <c:ser>
          <c:idx val="2"/>
          <c:order val="2"/>
          <c:tx>
            <c:strRef>
              <c:f>malnutrition!$D$3</c:f>
              <c:strCache>
                <c:ptCount val="1"/>
                <c:pt idx="0">
                  <c:v>Developing Countries</c:v>
                </c:pt>
              </c:strCache>
            </c:strRef>
          </c:tx>
          <c:spPr>
            <a:ln w="57150" cap="rnd">
              <a:solidFill>
                <a:schemeClr val="accent6">
                  <a:lumMod val="75000"/>
                </a:schemeClr>
              </a:solidFill>
              <a:round/>
            </a:ln>
            <a:effectLst/>
          </c:spPr>
          <c:marker>
            <c:symbol val="none"/>
          </c:marker>
          <c:cat>
            <c:strRef>
              <c:f>malnutrition!$A$4:$A$28</c:f>
              <c:strCache>
                <c:ptCount val="25"/>
                <c:pt idx="0">
                  <c:v>1990-1992</c:v>
                </c:pt>
                <c:pt idx="1">
                  <c:v>1991-1993</c:v>
                </c:pt>
                <c:pt idx="2">
                  <c:v>1992-1994</c:v>
                </c:pt>
                <c:pt idx="3">
                  <c:v>1993-1995</c:v>
                </c:pt>
                <c:pt idx="4">
                  <c:v>1994-1996</c:v>
                </c:pt>
                <c:pt idx="5">
                  <c:v>1995-1997</c:v>
                </c:pt>
                <c:pt idx="6">
                  <c:v>1996-1998</c:v>
                </c:pt>
                <c:pt idx="7">
                  <c:v>1997-1999</c:v>
                </c:pt>
                <c:pt idx="8">
                  <c:v>1998-2000</c:v>
                </c:pt>
                <c:pt idx="9">
                  <c:v>1999-2001</c:v>
                </c:pt>
                <c:pt idx="10">
                  <c:v>2000-2002</c:v>
                </c:pt>
                <c:pt idx="11">
                  <c:v>2001-2003</c:v>
                </c:pt>
                <c:pt idx="12">
                  <c:v>2002-2004</c:v>
                </c:pt>
                <c:pt idx="13">
                  <c:v>2003-2005</c:v>
                </c:pt>
                <c:pt idx="14">
                  <c:v>2004-2006</c:v>
                </c:pt>
                <c:pt idx="15">
                  <c:v>2005-2007</c:v>
                </c:pt>
                <c:pt idx="16">
                  <c:v>2006-2008</c:v>
                </c:pt>
                <c:pt idx="17">
                  <c:v>2007-2009</c:v>
                </c:pt>
                <c:pt idx="18">
                  <c:v>2008-2010</c:v>
                </c:pt>
                <c:pt idx="19">
                  <c:v>2009-2011</c:v>
                </c:pt>
                <c:pt idx="20">
                  <c:v>2010-2012</c:v>
                </c:pt>
                <c:pt idx="21">
                  <c:v>2011-2013</c:v>
                </c:pt>
                <c:pt idx="22">
                  <c:v>2012-2014</c:v>
                </c:pt>
                <c:pt idx="23">
                  <c:v>2013-2015</c:v>
                </c:pt>
                <c:pt idx="24">
                  <c:v>2014-2016</c:v>
                </c:pt>
              </c:strCache>
            </c:strRef>
          </c:cat>
          <c:val>
            <c:numRef>
              <c:f>malnutrition!$D$4:$D$28</c:f>
              <c:numCache>
                <c:formatCode>_(* #,##0.00_);_(* \(#,##0.00\);_(* "-"??_);_(@_)</c:formatCode>
                <c:ptCount val="25"/>
                <c:pt idx="0">
                  <c:v>990.7</c:v>
                </c:pt>
                <c:pt idx="1">
                  <c:v>1001.2</c:v>
                </c:pt>
                <c:pt idx="2">
                  <c:v>1001.7</c:v>
                </c:pt>
                <c:pt idx="3">
                  <c:v>990.6</c:v>
                </c:pt>
                <c:pt idx="4">
                  <c:v>967.6</c:v>
                </c:pt>
                <c:pt idx="5">
                  <c:v>943.8</c:v>
                </c:pt>
                <c:pt idx="6">
                  <c:v>926.3</c:v>
                </c:pt>
                <c:pt idx="7">
                  <c:v>914.9</c:v>
                </c:pt>
                <c:pt idx="8">
                  <c:v>906.1</c:v>
                </c:pt>
                <c:pt idx="9">
                  <c:v>902.2</c:v>
                </c:pt>
                <c:pt idx="10">
                  <c:v>908.5</c:v>
                </c:pt>
                <c:pt idx="11">
                  <c:v>923.9</c:v>
                </c:pt>
                <c:pt idx="12">
                  <c:v>940.5</c:v>
                </c:pt>
                <c:pt idx="13">
                  <c:v>948.7</c:v>
                </c:pt>
                <c:pt idx="14">
                  <c:v>945.3</c:v>
                </c:pt>
                <c:pt idx="15">
                  <c:v>926.9</c:v>
                </c:pt>
                <c:pt idx="16">
                  <c:v>899</c:v>
                </c:pt>
                <c:pt idx="17">
                  <c:v>869</c:v>
                </c:pt>
                <c:pt idx="18">
                  <c:v>842.6</c:v>
                </c:pt>
                <c:pt idx="19">
                  <c:v>822.4</c:v>
                </c:pt>
                <c:pt idx="20">
                  <c:v>804.9</c:v>
                </c:pt>
                <c:pt idx="21">
                  <c:v>792.6</c:v>
                </c:pt>
                <c:pt idx="22">
                  <c:v>785.6</c:v>
                </c:pt>
                <c:pt idx="23">
                  <c:v>780.9</c:v>
                </c:pt>
                <c:pt idx="24">
                  <c:v>777.8</c:v>
                </c:pt>
              </c:numCache>
            </c:numRef>
          </c:val>
          <c:smooth val="0"/>
        </c:ser>
        <c:dLbls>
          <c:showLegendKey val="0"/>
          <c:showVal val="0"/>
          <c:showCatName val="0"/>
          <c:showSerName val="0"/>
          <c:showPercent val="0"/>
          <c:showBubbleSize val="0"/>
        </c:dLbls>
        <c:smooth val="0"/>
        <c:axId val="243390464"/>
        <c:axId val="243387720"/>
      </c:lineChart>
      <c:catAx>
        <c:axId val="243390464"/>
        <c:scaling>
          <c:orientation val="minMax"/>
        </c:scaling>
        <c:delete val="0"/>
        <c:axPos val="b"/>
        <c:numFmt formatCode="General" sourceLinked="1"/>
        <c:majorTickMark val="none"/>
        <c:minorTickMark val="none"/>
        <c:tickLblPos val="nextTo"/>
        <c:spPr>
          <a:noFill/>
          <a:ln w="12700" cap="flat" cmpd="sng" algn="ctr">
            <a:solidFill>
              <a:schemeClr val="bg1"/>
            </a:solidFill>
            <a:round/>
          </a:ln>
          <a:effectLst/>
        </c:spPr>
        <c:txPr>
          <a:bodyPr rot="-2400000" spcFirstLastPara="1" vertOverflow="ellipsis"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en-US"/>
          </a:p>
        </c:txPr>
        <c:crossAx val="243387720"/>
        <c:crosses val="autoZero"/>
        <c:auto val="1"/>
        <c:lblAlgn val="ctr"/>
        <c:lblOffset val="0"/>
        <c:tickLblSkip val="5"/>
        <c:noMultiLvlLbl val="0"/>
      </c:catAx>
      <c:valAx>
        <c:axId val="243387720"/>
        <c:scaling>
          <c:orientation val="minMax"/>
        </c:scaling>
        <c:delete val="0"/>
        <c:axPos val="l"/>
        <c:majorGridlines>
          <c:spPr>
            <a:ln w="12700" cap="flat" cmpd="sng" algn="ctr">
              <a:solidFill>
                <a:schemeClr val="bg1"/>
              </a:solidFill>
              <a:round/>
            </a:ln>
            <a:effectLst/>
          </c:spPr>
        </c:majorGridlines>
        <c:numFmt formatCode="_(* #,##0_);_(* \(#,##0\);_(* &quot;-&quot;_);_(@_)"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3390464"/>
        <c:crosses val="autoZero"/>
        <c:crossBetween val="between"/>
      </c:valAx>
      <c:spPr>
        <a:noFill/>
        <a:ln>
          <a:noFill/>
        </a:ln>
        <a:effectLst/>
      </c:spPr>
    </c:plotArea>
    <c:legend>
      <c:legendPos val="b"/>
      <c:layout>
        <c:manualLayout>
          <c:xMode val="edge"/>
          <c:yMode val="edge"/>
          <c:x val="0"/>
          <c:y val="2.7749872703210086E-2"/>
          <c:w val="0.839131646823849"/>
          <c:h val="0.102833863808416"/>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USAID request.xlsx]Sheet1!PivotTable2</c:name>
    <c:fmtId val="-1"/>
  </c:pivotSource>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a:t>SSA</a:t>
            </a:r>
            <a:r>
              <a:rPr lang="en-US" baseline="0"/>
              <a:t> share in global TRade</a:t>
            </a:r>
            <a:endParaRPr lang="en-US"/>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ivotFmts>
      <c:pivotFmt>
        <c:idx val="0"/>
        <c:spPr>
          <a:solidFill>
            <a:schemeClr val="accent1">
              <a:alpha val="50196"/>
            </a:schemeClr>
          </a:solidFill>
          <a:ln w="25400" cap="rnd" cmpd="sng" algn="ctr">
            <a:solidFill>
              <a:schemeClr val="accent1"/>
            </a:solidFill>
            <a:prstDash val="sysDot"/>
            <a:round/>
          </a:ln>
          <a:effectLst/>
        </c:spPr>
        <c:marker>
          <c:symbol val="circle"/>
          <c:size val="6"/>
          <c:spPr>
            <a:solidFill>
              <a:schemeClr val="accent1"/>
            </a:solidFill>
            <a:ln>
              <a:no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alpha val="50196"/>
            </a:schemeClr>
          </a:solidFill>
          <a:ln w="25400" cap="rnd" cmpd="sng" algn="ctr">
            <a:solidFill>
              <a:schemeClr val="accent1"/>
            </a:solidFill>
            <a:prstDash val="sysDot"/>
            <a:round/>
          </a:ln>
          <a:effectLst/>
        </c:spPr>
        <c:marker>
          <c:symbol val="circle"/>
          <c:size val="6"/>
          <c:spPr>
            <a:solidFill>
              <a:schemeClr val="accent2"/>
            </a:solidFill>
            <a:ln>
              <a:no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alpha val="50196"/>
            </a:schemeClr>
          </a:solidFill>
          <a:ln w="25400" cap="rnd" cmpd="sng" algn="ctr">
            <a:solidFill>
              <a:schemeClr val="accent1"/>
            </a:solidFill>
            <a:prstDash val="sysDot"/>
            <a:round/>
          </a:ln>
          <a:effectLst/>
        </c:spPr>
        <c:marker>
          <c:symbol val="circle"/>
          <c:size val="6"/>
          <c:spPr>
            <a:solidFill>
              <a:schemeClr val="accent1"/>
            </a:solidFill>
            <a:ln>
              <a:noFill/>
            </a:ln>
            <a:effectLst/>
          </c:spPr>
        </c:marker>
      </c:pivotFmt>
      <c:pivotFmt>
        <c:idx val="3"/>
        <c:spPr>
          <a:solidFill>
            <a:schemeClr val="accent1">
              <a:alpha val="50196"/>
            </a:schemeClr>
          </a:solidFill>
          <a:ln w="25400" cap="rnd" cmpd="sng" algn="ctr">
            <a:solidFill>
              <a:schemeClr val="accent1"/>
            </a:solidFill>
            <a:prstDash val="sysDot"/>
            <a:round/>
          </a:ln>
          <a:effectLst/>
        </c:spPr>
        <c:marker>
          <c:symbol val="circle"/>
          <c:size val="6"/>
          <c:spPr>
            <a:solidFill>
              <a:schemeClr val="accent2"/>
            </a:solidFill>
            <a:ln>
              <a:noFill/>
            </a:ln>
            <a:effectLst/>
          </c:spPr>
        </c:marker>
      </c:pivotFmt>
      <c:pivotFmt>
        <c:idx val="4"/>
        <c:spPr>
          <a:solidFill>
            <a:schemeClr val="accent1">
              <a:alpha val="50196"/>
            </a:schemeClr>
          </a:solidFill>
          <a:ln w="25400" cap="rnd" cmpd="sng" algn="ctr">
            <a:solidFill>
              <a:schemeClr val="accent1"/>
            </a:solidFill>
            <a:prstDash val="sysDot"/>
            <a:round/>
          </a:ln>
          <a:effectLst/>
        </c:spPr>
        <c:marker>
          <c:symbol val="circle"/>
          <c:size val="6"/>
          <c:spPr>
            <a:solidFill>
              <a:schemeClr val="accent1"/>
            </a:solidFill>
            <a:ln>
              <a:noFill/>
            </a:ln>
            <a:effectLst/>
          </c:spPr>
        </c:marker>
      </c:pivotFmt>
      <c:pivotFmt>
        <c:idx val="5"/>
        <c:spPr>
          <a:solidFill>
            <a:schemeClr val="accent1">
              <a:alpha val="50196"/>
            </a:schemeClr>
          </a:solidFill>
          <a:ln w="25400" cap="rnd" cmpd="sng" algn="ctr">
            <a:solidFill>
              <a:schemeClr val="accent1"/>
            </a:solidFill>
            <a:prstDash val="sysDot"/>
            <a:round/>
          </a:ln>
          <a:effectLst/>
        </c:spPr>
        <c:marker>
          <c:symbol val="circle"/>
          <c:size val="6"/>
          <c:spPr>
            <a:solidFill>
              <a:schemeClr val="accent2"/>
            </a:solidFill>
            <a:ln>
              <a:noFill/>
            </a:ln>
            <a:effectLst/>
          </c:spPr>
        </c:marker>
      </c:pivotFmt>
    </c:pivotFmts>
    <c:plotArea>
      <c:layout>
        <c:manualLayout>
          <c:layoutTarget val="inner"/>
          <c:xMode val="edge"/>
          <c:yMode val="edge"/>
          <c:x val="0.15763047534460961"/>
          <c:y val="0.27941889611446924"/>
          <c:w val="0.68287367477351324"/>
          <c:h val="0.56313428783449104"/>
        </c:manualLayout>
      </c:layout>
      <c:radarChart>
        <c:radarStyle val="marker"/>
        <c:varyColors val="0"/>
        <c:ser>
          <c:idx val="0"/>
          <c:order val="0"/>
          <c:tx>
            <c:strRef>
              <c:f>Sheet1!$B$4:$B$5</c:f>
              <c:strCache>
                <c:ptCount val="1"/>
                <c:pt idx="0">
                  <c:v>Agriculture</c:v>
                </c:pt>
              </c:strCache>
            </c:strRef>
          </c:tx>
          <c:spPr>
            <a:ln w="25400" cap="rnd" cmpd="sng" algn="ctr">
              <a:solidFill>
                <a:schemeClr val="accent1"/>
              </a:solidFill>
              <a:prstDash val="sysDot"/>
              <a:round/>
            </a:ln>
            <a:effectLst/>
          </c:spPr>
          <c:marker>
            <c:symbol val="circle"/>
            <c:size val="6"/>
            <c:spPr>
              <a:solidFill>
                <a:schemeClr val="accent1"/>
              </a:solidFill>
              <a:ln>
                <a:noFill/>
              </a:ln>
              <a:effectLst/>
            </c:spPr>
          </c:marker>
          <c:cat>
            <c:strRef>
              <c:f>Sheet1!$A$6:$A$24</c:f>
              <c:strCache>
                <c:ptCount val="18"/>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strCache>
            </c:strRef>
          </c:cat>
          <c:val>
            <c:numRef>
              <c:f>Sheet1!$B$6:$B$24</c:f>
              <c:numCache>
                <c:formatCode>General</c:formatCode>
                <c:ptCount val="18"/>
                <c:pt idx="0">
                  <c:v>1.74348106E-2</c:v>
                </c:pt>
                <c:pt idx="1">
                  <c:v>2.0195111299999999E-2</c:v>
                </c:pt>
                <c:pt idx="2">
                  <c:v>2.0935596399999999E-2</c:v>
                </c:pt>
                <c:pt idx="3">
                  <c:v>2.0002923200000002E-2</c:v>
                </c:pt>
                <c:pt idx="4">
                  <c:v>2.2413716E-2</c:v>
                </c:pt>
                <c:pt idx="5">
                  <c:v>2.3227911800000001E-2</c:v>
                </c:pt>
                <c:pt idx="6">
                  <c:v>2.3813902000000001E-2</c:v>
                </c:pt>
                <c:pt idx="7">
                  <c:v>2.4927593599999999E-2</c:v>
                </c:pt>
                <c:pt idx="8">
                  <c:v>2.2538852200000001E-2</c:v>
                </c:pt>
                <c:pt idx="9">
                  <c:v>2.2849672599999999E-2</c:v>
                </c:pt>
                <c:pt idx="10">
                  <c:v>2.55163367E-2</c:v>
                </c:pt>
                <c:pt idx="11">
                  <c:v>2.4953518500000001E-2</c:v>
                </c:pt>
                <c:pt idx="12">
                  <c:v>2.2930296900000001E-2</c:v>
                </c:pt>
                <c:pt idx="13">
                  <c:v>2.7242106499999998E-2</c:v>
                </c:pt>
                <c:pt idx="14">
                  <c:v>2.80350088E-2</c:v>
                </c:pt>
                <c:pt idx="15">
                  <c:v>3.0256715100000001E-2</c:v>
                </c:pt>
                <c:pt idx="16">
                  <c:v>2.8143967299999999E-2</c:v>
                </c:pt>
              </c:numCache>
            </c:numRef>
          </c:val>
        </c:ser>
        <c:ser>
          <c:idx val="1"/>
          <c:order val="1"/>
          <c:tx>
            <c:strRef>
              <c:f>Sheet1!$C$4:$C$5</c:f>
              <c:strCache>
                <c:ptCount val="1"/>
                <c:pt idx="0">
                  <c:v>All goods</c:v>
                </c:pt>
              </c:strCache>
            </c:strRef>
          </c:tx>
          <c:spPr>
            <a:ln w="25400" cap="rnd" cmpd="sng" algn="ctr">
              <a:solidFill>
                <a:schemeClr val="accent2"/>
              </a:solidFill>
              <a:prstDash val="sysDot"/>
              <a:round/>
            </a:ln>
            <a:effectLst/>
          </c:spPr>
          <c:marker>
            <c:symbol val="circle"/>
            <c:size val="6"/>
            <c:spPr>
              <a:solidFill>
                <a:schemeClr val="accent2"/>
              </a:solidFill>
              <a:ln>
                <a:noFill/>
              </a:ln>
              <a:effectLst/>
            </c:spPr>
          </c:marker>
          <c:cat>
            <c:strRef>
              <c:f>Sheet1!$A$6:$A$24</c:f>
              <c:strCache>
                <c:ptCount val="18"/>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strCache>
            </c:strRef>
          </c:cat>
          <c:val>
            <c:numRef>
              <c:f>Sheet1!$C$6:$C$24</c:f>
              <c:numCache>
                <c:formatCode>General</c:formatCode>
                <c:ptCount val="18"/>
                <c:pt idx="0">
                  <c:v>1.01643867E-2</c:v>
                </c:pt>
                <c:pt idx="1">
                  <c:v>1.0830379500000001E-2</c:v>
                </c:pt>
                <c:pt idx="2">
                  <c:v>9.8757544000000006E-3</c:v>
                </c:pt>
                <c:pt idx="3">
                  <c:v>1.04408546E-2</c:v>
                </c:pt>
                <c:pt idx="4">
                  <c:v>1.18226042E-2</c:v>
                </c:pt>
                <c:pt idx="5">
                  <c:v>1.22631427E-2</c:v>
                </c:pt>
                <c:pt idx="6">
                  <c:v>1.18331857E-2</c:v>
                </c:pt>
                <c:pt idx="7">
                  <c:v>1.28367245E-2</c:v>
                </c:pt>
                <c:pt idx="8">
                  <c:v>1.0567429E-2</c:v>
                </c:pt>
                <c:pt idx="9">
                  <c:v>1.1142998600000001E-2</c:v>
                </c:pt>
                <c:pt idx="10">
                  <c:v>1.50869018E-2</c:v>
                </c:pt>
                <c:pt idx="11">
                  <c:v>1.52616435E-2</c:v>
                </c:pt>
                <c:pt idx="12">
                  <c:v>1.6049848799999999E-2</c:v>
                </c:pt>
                <c:pt idx="13">
                  <c:v>1.69023729E-2</c:v>
                </c:pt>
                <c:pt idx="14">
                  <c:v>1.7915875000000001E-2</c:v>
                </c:pt>
                <c:pt idx="15">
                  <c:v>1.83838835E-2</c:v>
                </c:pt>
                <c:pt idx="16">
                  <c:v>1.8095925999999998E-2</c:v>
                </c:pt>
              </c:numCache>
            </c:numRef>
          </c:val>
        </c:ser>
        <c:dLbls>
          <c:showLegendKey val="0"/>
          <c:showVal val="0"/>
          <c:showCatName val="0"/>
          <c:showSerName val="0"/>
          <c:showPercent val="0"/>
          <c:showBubbleSize val="0"/>
        </c:dLbls>
        <c:axId val="300499496"/>
        <c:axId val="300499888"/>
      </c:radarChart>
      <c:catAx>
        <c:axId val="300499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00499888"/>
        <c:crosses val="autoZero"/>
        <c:auto val="1"/>
        <c:lblAlgn val="ctr"/>
        <c:lblOffset val="100"/>
        <c:noMultiLvlLbl val="0"/>
      </c:catAx>
      <c:valAx>
        <c:axId val="300499888"/>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00499496"/>
        <c:crosses val="autoZero"/>
        <c:crossBetween val="between"/>
      </c:valAx>
      <c:spPr>
        <a:noFill/>
        <a:ln>
          <a:noFill/>
        </a:ln>
        <a:effectLst/>
      </c:spPr>
    </c:plotArea>
    <c:legend>
      <c:legendPos val="r"/>
      <c:layout>
        <c:manualLayout>
          <c:xMode val="edge"/>
          <c:yMode val="edge"/>
          <c:x val="0.20370902258242038"/>
          <c:y val="9.6797159611208689E-2"/>
          <c:w val="0.6431669585417944"/>
          <c:h val="8.4391821025421629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Lst>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r>
              <a:rPr lang="en-US" dirty="0"/>
              <a:t>Decomposition of export </a:t>
            </a:r>
            <a:r>
              <a:rPr lang="en-US" dirty="0" smtClean="0"/>
              <a:t>performance (selected countries) between 1995</a:t>
            </a:r>
            <a:r>
              <a:rPr lang="en-US" baseline="0" dirty="0" smtClean="0"/>
              <a:t> and 2007</a:t>
            </a:r>
            <a:endParaRPr lang="en-US" dirty="0"/>
          </a:p>
        </c:rich>
      </c:tx>
      <c:overlay val="0"/>
      <c:spPr>
        <a:noFill/>
        <a:ln>
          <a:noFill/>
        </a:ln>
        <a:effectLst/>
      </c:spPr>
      <c:txPr>
        <a:bodyPr rot="0" spcFirstLastPara="1" vertOverflow="ellipsis" vert="horz" wrap="square" anchor="ctr" anchorCtr="1"/>
        <a:lstStyle/>
        <a:p>
          <a:pPr>
            <a:defRPr sz="1400" b="0" i="0" u="none" strike="noStrike" kern="1200" cap="none" spc="20" baseline="0">
              <a:solidFill>
                <a:schemeClr val="tx1">
                  <a:lumMod val="50000"/>
                  <a:lumOff val="50000"/>
                </a:schemeClr>
              </a:solidFill>
              <a:latin typeface="+mn-lt"/>
              <a:ea typeface="+mn-ea"/>
              <a:cs typeface="+mn-cs"/>
            </a:defRPr>
          </a:pPr>
          <a:endParaRPr lang="en-US"/>
        </a:p>
      </c:txPr>
    </c:title>
    <c:autoTitleDeleted val="0"/>
    <c:plotArea>
      <c:layout>
        <c:manualLayout>
          <c:layoutTarget val="inner"/>
          <c:xMode val="edge"/>
          <c:yMode val="edge"/>
          <c:x val="0.11236156038602574"/>
          <c:y val="0.1990895275855272"/>
          <c:w val="0.8588826886659483"/>
          <c:h val="0.68290750402686218"/>
        </c:manualLayout>
      </c:layout>
      <c:barChart>
        <c:barDir val="col"/>
        <c:grouping val="stacked"/>
        <c:varyColors val="0"/>
        <c:ser>
          <c:idx val="0"/>
          <c:order val="0"/>
          <c:tx>
            <c:strRef>
              <c:f>TradeGrowth!$U$1</c:f>
              <c:strCache>
                <c:ptCount val="1"/>
                <c:pt idx="0">
                  <c:v>Domestic Performance (competitivness)</c:v>
                </c:pt>
              </c:strCache>
            </c:strRef>
          </c:tx>
          <c:spPr>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ln w="9525" cap="flat" cmpd="sng" algn="ctr">
              <a:solidFill>
                <a:schemeClr val="accent1">
                  <a:shade val="95000"/>
                </a:schemeClr>
              </a:solidFill>
              <a:round/>
            </a:ln>
            <a:effectLst/>
          </c:spPr>
          <c:invertIfNegative val="0"/>
          <c:cat>
            <c:strRef>
              <c:f>TradeGrowth!$T$2:$T$21</c:f>
              <c:strCache>
                <c:ptCount val="20"/>
                <c:pt idx="0">
                  <c:v>D.R.C.</c:v>
                </c:pt>
                <c:pt idx="1">
                  <c:v>Niger</c:v>
                </c:pt>
                <c:pt idx="2">
                  <c:v>Liberia</c:v>
                </c:pt>
                <c:pt idx="3">
                  <c:v>C.A.R.</c:v>
                </c:pt>
                <c:pt idx="4">
                  <c:v>Burkina Faso</c:v>
                </c:pt>
                <c:pt idx="5">
                  <c:v>Burundi</c:v>
                </c:pt>
                <c:pt idx="6">
                  <c:v>Zimbabwe</c:v>
                </c:pt>
                <c:pt idx="7">
                  <c:v>Nigeria</c:v>
                </c:pt>
                <c:pt idx="8">
                  <c:v>Senegal</c:v>
                </c:pt>
                <c:pt idx="9">
                  <c:v>Mauritius</c:v>
                </c:pt>
                <c:pt idx="10">
                  <c:v>Uganda</c:v>
                </c:pt>
                <c:pt idx="11">
                  <c:v>Kenya</c:v>
                </c:pt>
                <c:pt idx="12">
                  <c:v>Tanzania</c:v>
                </c:pt>
                <c:pt idx="13">
                  <c:v>SubSaharan Africa</c:v>
                </c:pt>
                <c:pt idx="14">
                  <c:v>Mozambique</c:v>
                </c:pt>
                <c:pt idx="15">
                  <c:v>Ghana</c:v>
                </c:pt>
                <c:pt idx="16">
                  <c:v>Malawi</c:v>
                </c:pt>
                <c:pt idx="17">
                  <c:v>Togo</c:v>
                </c:pt>
                <c:pt idx="18">
                  <c:v>Ethiopia</c:v>
                </c:pt>
                <c:pt idx="19">
                  <c:v>Rwanda</c:v>
                </c:pt>
              </c:strCache>
            </c:strRef>
          </c:cat>
          <c:val>
            <c:numRef>
              <c:f>TradeGrowth!$U$2:$U$21</c:f>
              <c:numCache>
                <c:formatCode>General</c:formatCode>
                <c:ptCount val="20"/>
                <c:pt idx="0">
                  <c:v>-0.88813238600000011</c:v>
                </c:pt>
                <c:pt idx="1">
                  <c:v>-0.8744118339000001</c:v>
                </c:pt>
                <c:pt idx="2">
                  <c:v>-0.83358664729999998</c:v>
                </c:pt>
                <c:pt idx="3">
                  <c:v>-0.80664224890000003</c:v>
                </c:pt>
                <c:pt idx="4">
                  <c:v>-0.77805175570000007</c:v>
                </c:pt>
                <c:pt idx="5">
                  <c:v>-0.68958742020000008</c:v>
                </c:pt>
                <c:pt idx="6">
                  <c:v>-0.66499708420000003</c:v>
                </c:pt>
                <c:pt idx="7">
                  <c:v>-0.57304990420000002</c:v>
                </c:pt>
                <c:pt idx="8">
                  <c:v>-0.2952370581</c:v>
                </c:pt>
                <c:pt idx="9">
                  <c:v>-0.1702633982</c:v>
                </c:pt>
                <c:pt idx="10">
                  <c:v>-9.7577509980000005E-2</c:v>
                </c:pt>
                <c:pt idx="11">
                  <c:v>5.5760262776999997E-2</c:v>
                </c:pt>
                <c:pt idx="12">
                  <c:v>0.28156869977999999</c:v>
                </c:pt>
                <c:pt idx="13">
                  <c:v>0.35293280082113138</c:v>
                </c:pt>
                <c:pt idx="14">
                  <c:v>0.44461879377999997</c:v>
                </c:pt>
                <c:pt idx="15">
                  <c:v>0.52581427206999998</c:v>
                </c:pt>
                <c:pt idx="16">
                  <c:v>0.72815371788999994</c:v>
                </c:pt>
                <c:pt idx="17">
                  <c:v>0.95895807074000006</c:v>
                </c:pt>
                <c:pt idx="18">
                  <c:v>1.1123633241999999</c:v>
                </c:pt>
                <c:pt idx="19">
                  <c:v>2.3691266511000002</c:v>
                </c:pt>
              </c:numCache>
            </c:numRef>
          </c:val>
        </c:ser>
        <c:ser>
          <c:idx val="1"/>
          <c:order val="1"/>
          <c:tx>
            <c:strRef>
              <c:f>TradeGrowth!$V$1</c:f>
              <c:strCache>
                <c:ptCount val="1"/>
                <c:pt idx="0">
                  <c:v>Geographical Specialization</c:v>
                </c:pt>
              </c:strCache>
            </c:strRef>
          </c:tx>
          <c:spPr>
            <a:gradFill rotWithShape="1">
              <a:gsLst>
                <a:gs pos="0">
                  <a:schemeClr val="accent2">
                    <a:lumMod val="110000"/>
                    <a:satMod val="105000"/>
                    <a:tint val="67000"/>
                  </a:schemeClr>
                </a:gs>
                <a:gs pos="50000">
                  <a:schemeClr val="accent2">
                    <a:lumMod val="105000"/>
                    <a:satMod val="103000"/>
                    <a:tint val="73000"/>
                  </a:schemeClr>
                </a:gs>
                <a:gs pos="100000">
                  <a:schemeClr val="accent2">
                    <a:lumMod val="105000"/>
                    <a:satMod val="109000"/>
                    <a:tint val="81000"/>
                  </a:schemeClr>
                </a:gs>
              </a:gsLst>
              <a:lin ang="5400000" scaled="0"/>
            </a:gradFill>
            <a:ln w="9525" cap="flat" cmpd="sng" algn="ctr">
              <a:solidFill>
                <a:schemeClr val="accent2">
                  <a:shade val="95000"/>
                </a:schemeClr>
              </a:solidFill>
              <a:round/>
            </a:ln>
            <a:effectLst/>
          </c:spPr>
          <c:invertIfNegative val="0"/>
          <c:cat>
            <c:strRef>
              <c:f>TradeGrowth!$T$2:$T$21</c:f>
              <c:strCache>
                <c:ptCount val="20"/>
                <c:pt idx="0">
                  <c:v>D.R.C.</c:v>
                </c:pt>
                <c:pt idx="1">
                  <c:v>Niger</c:v>
                </c:pt>
                <c:pt idx="2">
                  <c:v>Liberia</c:v>
                </c:pt>
                <c:pt idx="3">
                  <c:v>C.A.R.</c:v>
                </c:pt>
                <c:pt idx="4">
                  <c:v>Burkina Faso</c:v>
                </c:pt>
                <c:pt idx="5">
                  <c:v>Burundi</c:v>
                </c:pt>
                <c:pt idx="6">
                  <c:v>Zimbabwe</c:v>
                </c:pt>
                <c:pt idx="7">
                  <c:v>Nigeria</c:v>
                </c:pt>
                <c:pt idx="8">
                  <c:v>Senegal</c:v>
                </c:pt>
                <c:pt idx="9">
                  <c:v>Mauritius</c:v>
                </c:pt>
                <c:pt idx="10">
                  <c:v>Uganda</c:v>
                </c:pt>
                <c:pt idx="11">
                  <c:v>Kenya</c:v>
                </c:pt>
                <c:pt idx="12">
                  <c:v>Tanzania</c:v>
                </c:pt>
                <c:pt idx="13">
                  <c:v>SubSaharan Africa</c:v>
                </c:pt>
                <c:pt idx="14">
                  <c:v>Mozambique</c:v>
                </c:pt>
                <c:pt idx="15">
                  <c:v>Ghana</c:v>
                </c:pt>
                <c:pt idx="16">
                  <c:v>Malawi</c:v>
                </c:pt>
                <c:pt idx="17">
                  <c:v>Togo</c:v>
                </c:pt>
                <c:pt idx="18">
                  <c:v>Ethiopia</c:v>
                </c:pt>
                <c:pt idx="19">
                  <c:v>Rwanda</c:v>
                </c:pt>
              </c:strCache>
            </c:strRef>
          </c:cat>
          <c:val>
            <c:numRef>
              <c:f>TradeGrowth!$V$2:$V$21</c:f>
              <c:numCache>
                <c:formatCode>General</c:formatCode>
                <c:ptCount val="20"/>
                <c:pt idx="0">
                  <c:v>0.10306647785999999</c:v>
                </c:pt>
                <c:pt idx="1">
                  <c:v>1.1347742389</c:v>
                </c:pt>
                <c:pt idx="2">
                  <c:v>-0.15022947640000001</c:v>
                </c:pt>
                <c:pt idx="3">
                  <c:v>0.56589325074999997</c:v>
                </c:pt>
                <c:pt idx="4">
                  <c:v>0.30062011512000003</c:v>
                </c:pt>
                <c:pt idx="5">
                  <c:v>0.16071522745</c:v>
                </c:pt>
                <c:pt idx="6">
                  <c:v>0.17848597258000001</c:v>
                </c:pt>
                <c:pt idx="7">
                  <c:v>6.9317421482E-2</c:v>
                </c:pt>
                <c:pt idx="8">
                  <c:v>6.5978090121000005E-2</c:v>
                </c:pt>
                <c:pt idx="9">
                  <c:v>8.4311926506999993E-2</c:v>
                </c:pt>
                <c:pt idx="10">
                  <c:v>7.6889518354E-2</c:v>
                </c:pt>
                <c:pt idx="11">
                  <c:v>9.1252605249000002E-2</c:v>
                </c:pt>
                <c:pt idx="12">
                  <c:v>9.4577111426999996E-2</c:v>
                </c:pt>
                <c:pt idx="13">
                  <c:v>7.0748594210186574E-2</c:v>
                </c:pt>
                <c:pt idx="14">
                  <c:v>0.22881653291999998</c:v>
                </c:pt>
                <c:pt idx="15">
                  <c:v>4.2275563823000004E-2</c:v>
                </c:pt>
                <c:pt idx="16">
                  <c:v>3.3464149314999997E-2</c:v>
                </c:pt>
                <c:pt idx="17">
                  <c:v>0.29667236109</c:v>
                </c:pt>
                <c:pt idx="18">
                  <c:v>7.7231925686E-2</c:v>
                </c:pt>
                <c:pt idx="19">
                  <c:v>7.5495396380000001E-3</c:v>
                </c:pt>
              </c:numCache>
            </c:numRef>
          </c:val>
        </c:ser>
        <c:ser>
          <c:idx val="2"/>
          <c:order val="2"/>
          <c:tx>
            <c:strRef>
              <c:f>TradeGrowth!$W$1</c:f>
              <c:strCache>
                <c:ptCount val="1"/>
                <c:pt idx="0">
                  <c:v>Sectoral Specialization</c:v>
                </c:pt>
              </c:strCache>
            </c:strRef>
          </c:tx>
          <c:spPr>
            <a:gradFill rotWithShape="1">
              <a:gsLst>
                <a:gs pos="0">
                  <a:schemeClr val="accent3">
                    <a:lumMod val="110000"/>
                    <a:satMod val="105000"/>
                    <a:tint val="67000"/>
                  </a:schemeClr>
                </a:gs>
                <a:gs pos="50000">
                  <a:schemeClr val="accent3">
                    <a:lumMod val="105000"/>
                    <a:satMod val="103000"/>
                    <a:tint val="73000"/>
                  </a:schemeClr>
                </a:gs>
                <a:gs pos="100000">
                  <a:schemeClr val="accent3">
                    <a:lumMod val="105000"/>
                    <a:satMod val="109000"/>
                    <a:tint val="81000"/>
                  </a:schemeClr>
                </a:gs>
              </a:gsLst>
              <a:lin ang="5400000" scaled="0"/>
            </a:gradFill>
            <a:ln w="9525" cap="flat" cmpd="sng" algn="ctr">
              <a:solidFill>
                <a:schemeClr val="accent3">
                  <a:shade val="95000"/>
                </a:schemeClr>
              </a:solidFill>
              <a:round/>
            </a:ln>
            <a:effectLst/>
          </c:spPr>
          <c:invertIfNegative val="0"/>
          <c:cat>
            <c:strRef>
              <c:f>TradeGrowth!$T$2:$T$21</c:f>
              <c:strCache>
                <c:ptCount val="20"/>
                <c:pt idx="0">
                  <c:v>D.R.C.</c:v>
                </c:pt>
                <c:pt idx="1">
                  <c:v>Niger</c:v>
                </c:pt>
                <c:pt idx="2">
                  <c:v>Liberia</c:v>
                </c:pt>
                <c:pt idx="3">
                  <c:v>C.A.R.</c:v>
                </c:pt>
                <c:pt idx="4">
                  <c:v>Burkina Faso</c:v>
                </c:pt>
                <c:pt idx="5">
                  <c:v>Burundi</c:v>
                </c:pt>
                <c:pt idx="6">
                  <c:v>Zimbabwe</c:v>
                </c:pt>
                <c:pt idx="7">
                  <c:v>Nigeria</c:v>
                </c:pt>
                <c:pt idx="8">
                  <c:v>Senegal</c:v>
                </c:pt>
                <c:pt idx="9">
                  <c:v>Mauritius</c:v>
                </c:pt>
                <c:pt idx="10">
                  <c:v>Uganda</c:v>
                </c:pt>
                <c:pt idx="11">
                  <c:v>Kenya</c:v>
                </c:pt>
                <c:pt idx="12">
                  <c:v>Tanzania</c:v>
                </c:pt>
                <c:pt idx="13">
                  <c:v>SubSaharan Africa</c:v>
                </c:pt>
                <c:pt idx="14">
                  <c:v>Mozambique</c:v>
                </c:pt>
                <c:pt idx="15">
                  <c:v>Ghana</c:v>
                </c:pt>
                <c:pt idx="16">
                  <c:v>Malawi</c:v>
                </c:pt>
                <c:pt idx="17">
                  <c:v>Togo</c:v>
                </c:pt>
                <c:pt idx="18">
                  <c:v>Ethiopia</c:v>
                </c:pt>
                <c:pt idx="19">
                  <c:v>Rwanda</c:v>
                </c:pt>
              </c:strCache>
            </c:strRef>
          </c:cat>
          <c:val>
            <c:numRef>
              <c:f>TradeGrowth!$W$2:$W$21</c:f>
              <c:numCache>
                <c:formatCode>General</c:formatCode>
                <c:ptCount val="20"/>
                <c:pt idx="0">
                  <c:v>-0.39539891109999997</c:v>
                </c:pt>
                <c:pt idx="1">
                  <c:v>-7.3664196330000001E-2</c:v>
                </c:pt>
                <c:pt idx="2">
                  <c:v>-5.3179172300000001E-3</c:v>
                </c:pt>
                <c:pt idx="3">
                  <c:v>-0.4395407751</c:v>
                </c:pt>
                <c:pt idx="4">
                  <c:v>-0.12004370290000001</c:v>
                </c:pt>
                <c:pt idx="5">
                  <c:v>-0.43207461829999999</c:v>
                </c:pt>
                <c:pt idx="6">
                  <c:v>-0.220399821</c:v>
                </c:pt>
                <c:pt idx="7">
                  <c:v>4.6081740894000002E-2</c:v>
                </c:pt>
                <c:pt idx="8">
                  <c:v>-5.6174622349999995E-2</c:v>
                </c:pt>
                <c:pt idx="9">
                  <c:v>-0.24818505739999999</c:v>
                </c:pt>
                <c:pt idx="10">
                  <c:v>-0.3712031797</c:v>
                </c:pt>
                <c:pt idx="11">
                  <c:v>-0.27464818429999999</c:v>
                </c:pt>
                <c:pt idx="12">
                  <c:v>-0.2253412887</c:v>
                </c:pt>
                <c:pt idx="13">
                  <c:v>-9.462889620306085E-2</c:v>
                </c:pt>
                <c:pt idx="14">
                  <c:v>-0.16719520760000001</c:v>
                </c:pt>
                <c:pt idx="15">
                  <c:v>9.7838630403000004E-2</c:v>
                </c:pt>
                <c:pt idx="16">
                  <c:v>-0.35600686840000001</c:v>
                </c:pt>
                <c:pt idx="17">
                  <c:v>-0.13462970660000001</c:v>
                </c:pt>
                <c:pt idx="18">
                  <c:v>-0.34691843449999998</c:v>
                </c:pt>
                <c:pt idx="19">
                  <c:v>-0.4257175258</c:v>
                </c:pt>
              </c:numCache>
            </c:numRef>
          </c:val>
        </c:ser>
        <c:dLbls>
          <c:showLegendKey val="0"/>
          <c:showVal val="0"/>
          <c:showCatName val="0"/>
          <c:showSerName val="0"/>
          <c:showPercent val="0"/>
          <c:showBubbleSize val="0"/>
        </c:dLbls>
        <c:gapWidth val="150"/>
        <c:overlap val="100"/>
        <c:axId val="300500672"/>
        <c:axId val="300501064"/>
      </c:barChart>
      <c:catAx>
        <c:axId val="30050067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crossAx val="300501064"/>
        <c:crosses val="autoZero"/>
        <c:auto val="1"/>
        <c:lblAlgn val="ctr"/>
        <c:lblOffset val="100"/>
        <c:noMultiLvlLbl val="0"/>
      </c:catAx>
      <c:valAx>
        <c:axId val="300501064"/>
        <c:scaling>
          <c:orientation val="minMax"/>
          <c:max val="2.5"/>
        </c:scaling>
        <c:delete val="0"/>
        <c:axPos val="l"/>
        <c:majorGridlines>
          <c:spPr>
            <a:ln w="9525" cap="flat" cmpd="sng" algn="ctr">
              <a:solidFill>
                <a:schemeClr val="tx1">
                  <a:lumMod val="15000"/>
                  <a:lumOff val="85000"/>
                </a:schemeClr>
              </a:solidFill>
              <a:prstDash val="sysDot"/>
              <a:round/>
            </a:ln>
            <a:effectLst/>
          </c:spPr>
        </c:majorGridlines>
        <c:title>
          <c:tx>
            <c:rich>
              <a:bodyPr rot="-5400000" spcFirstLastPara="1" vertOverflow="ellipsis" vert="horz" wrap="square" anchor="ctr" anchorCtr="1"/>
              <a:lstStyle/>
              <a:p>
                <a:pPr>
                  <a:defRPr sz="900" b="0" i="0" u="none" strike="noStrike" kern="1200" cap="all" baseline="0">
                    <a:solidFill>
                      <a:schemeClr val="tx1">
                        <a:lumMod val="50000"/>
                        <a:lumOff val="50000"/>
                      </a:schemeClr>
                    </a:solidFill>
                    <a:latin typeface="+mn-lt"/>
                    <a:ea typeface="+mn-ea"/>
                    <a:cs typeface="+mn-cs"/>
                  </a:defRPr>
                </a:pPr>
                <a:r>
                  <a:rPr lang="en-US"/>
                  <a:t>%</a:t>
                </a:r>
                <a:r>
                  <a:rPr lang="en-US" baseline="0"/>
                  <a:t> increase in global market share</a:t>
                </a:r>
                <a:endParaRPr lang="en-US"/>
              </a:p>
            </c:rich>
          </c:tx>
          <c:overlay val="0"/>
          <c:spPr>
            <a:noFill/>
            <a:ln>
              <a:noFill/>
            </a:ln>
            <a:effectLst/>
          </c:spPr>
          <c:txPr>
            <a:bodyPr rot="-5400000" spcFirstLastPara="1" vertOverflow="ellipsis" vert="horz" wrap="square" anchor="ctr" anchorCtr="1"/>
            <a:lstStyle/>
            <a:p>
              <a:pPr>
                <a:defRPr sz="900" b="0" i="0" u="none" strike="noStrike" kern="1200" cap="all" baseline="0">
                  <a:solidFill>
                    <a:schemeClr val="tx1">
                      <a:lumMod val="50000"/>
                      <a:lumOff val="50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crossAx val="300500672"/>
        <c:crosses val="autoZero"/>
        <c:crossBetween val="between"/>
      </c:valAx>
      <c:spPr>
        <a:noFill/>
        <a:ln>
          <a:noFill/>
        </a:ln>
        <a:effectLst/>
      </c:spPr>
    </c:plotArea>
    <c:legend>
      <c:legendPos val="b"/>
      <c:layout>
        <c:manualLayout>
          <c:xMode val="edge"/>
          <c:yMode val="edge"/>
          <c:x val="0.11716936372108785"/>
          <c:y val="0.17786775382967576"/>
          <c:w val="0.7688378875941253"/>
          <c:h val="7.451007523878693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Add_on_USAID.xlsx]PriceShocks!PivotTable5</c:name>
    <c:fmtId val="-1"/>
  </c:pivotSource>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1600"/>
              <a:t>Aggregated</a:t>
            </a:r>
            <a:r>
              <a:rPr lang="en-US" sz="1600" baseline="0"/>
              <a:t> welfare impact of a world price shock</a:t>
            </a:r>
            <a:endParaRPr lang="en-US" sz="1600"/>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s>
    <c:plotArea>
      <c:layout>
        <c:manualLayout>
          <c:layoutTarget val="inner"/>
          <c:xMode val="edge"/>
          <c:yMode val="edge"/>
          <c:x val="0.12043235558273921"/>
          <c:y val="0.11631274357702373"/>
          <c:w val="0.81500365291585641"/>
          <c:h val="0.68457875789823541"/>
        </c:manualLayout>
      </c:layout>
      <c:barChart>
        <c:barDir val="col"/>
        <c:grouping val="clustered"/>
        <c:varyColors val="0"/>
        <c:ser>
          <c:idx val="0"/>
          <c:order val="0"/>
          <c:tx>
            <c:strRef>
              <c:f>PriceShocks!$B$34:$B$35</c:f>
              <c:strCache>
                <c:ptCount val="1"/>
                <c:pt idx="0">
                  <c:v>AGRI -15%</c:v>
                </c:pt>
              </c:strCache>
            </c:strRef>
          </c:tx>
          <c:spPr>
            <a:solidFill>
              <a:schemeClr val="accent1"/>
            </a:solidFill>
            <a:ln>
              <a:noFill/>
            </a:ln>
            <a:effectLst/>
          </c:spPr>
          <c:invertIfNegative val="0"/>
          <c:cat>
            <c:strRef>
              <c:f>PriceShocks!$A$36:$A$47</c:f>
              <c:strCache>
                <c:ptCount val="11"/>
                <c:pt idx="0">
                  <c:v>Sub Saharan Africa</c:v>
                </c:pt>
                <c:pt idx="1">
                  <c:v>Benin</c:v>
                </c:pt>
                <c:pt idx="2">
                  <c:v>Cameroon</c:v>
                </c:pt>
                <c:pt idx="3">
                  <c:v>Ethiopia</c:v>
                </c:pt>
                <c:pt idx="4">
                  <c:v>Ghana</c:v>
                </c:pt>
                <c:pt idx="5">
                  <c:v>Kenya</c:v>
                </c:pt>
                <c:pt idx="6">
                  <c:v>Nigeria</c:v>
                </c:pt>
                <c:pt idx="7">
                  <c:v>Rwanda</c:v>
                </c:pt>
                <c:pt idx="8">
                  <c:v>Senegal</c:v>
                </c:pt>
                <c:pt idx="9">
                  <c:v>Uganda</c:v>
                </c:pt>
                <c:pt idx="10">
                  <c:v>Zambia</c:v>
                </c:pt>
              </c:strCache>
            </c:strRef>
          </c:cat>
          <c:val>
            <c:numRef>
              <c:f>PriceShocks!$B$36:$B$47</c:f>
              <c:numCache>
                <c:formatCode>0.00</c:formatCode>
                <c:ptCount val="11"/>
                <c:pt idx="0">
                  <c:v>0.33128779391264906</c:v>
                </c:pt>
                <c:pt idx="1">
                  <c:v>0.7384516725758683</c:v>
                </c:pt>
                <c:pt idx="2">
                  <c:v>8.3983871885107142E-2</c:v>
                </c:pt>
                <c:pt idx="3">
                  <c:v>-0.33500156926534741</c:v>
                </c:pt>
                <c:pt idx="4">
                  <c:v>-7.1760965471101557E-2</c:v>
                </c:pt>
                <c:pt idx="5">
                  <c:v>-0.2937209463252044</c:v>
                </c:pt>
                <c:pt idx="6">
                  <c:v>0.96730128755386779</c:v>
                </c:pt>
                <c:pt idx="7">
                  <c:v>0.12473961999919236</c:v>
                </c:pt>
                <c:pt idx="8">
                  <c:v>0.72989744293994185</c:v>
                </c:pt>
                <c:pt idx="9">
                  <c:v>-0.26144462995687512</c:v>
                </c:pt>
                <c:pt idx="10">
                  <c:v>0.3404420685242826</c:v>
                </c:pt>
              </c:numCache>
            </c:numRef>
          </c:val>
        </c:ser>
        <c:ser>
          <c:idx val="1"/>
          <c:order val="1"/>
          <c:tx>
            <c:strRef>
              <c:f>PriceShocks!$C$34:$C$35</c:f>
              <c:strCache>
                <c:ptCount val="1"/>
                <c:pt idx="0">
                  <c:v>Extraction -15%</c:v>
                </c:pt>
              </c:strCache>
            </c:strRef>
          </c:tx>
          <c:spPr>
            <a:solidFill>
              <a:schemeClr val="accent2"/>
            </a:solidFill>
            <a:ln>
              <a:noFill/>
            </a:ln>
            <a:effectLst/>
          </c:spPr>
          <c:invertIfNegative val="0"/>
          <c:cat>
            <c:strRef>
              <c:f>PriceShocks!$A$36:$A$47</c:f>
              <c:strCache>
                <c:ptCount val="11"/>
                <c:pt idx="0">
                  <c:v>Sub Saharan Africa</c:v>
                </c:pt>
                <c:pt idx="1">
                  <c:v>Benin</c:v>
                </c:pt>
                <c:pt idx="2">
                  <c:v>Cameroon</c:v>
                </c:pt>
                <c:pt idx="3">
                  <c:v>Ethiopia</c:v>
                </c:pt>
                <c:pt idx="4">
                  <c:v>Ghana</c:v>
                </c:pt>
                <c:pt idx="5">
                  <c:v>Kenya</c:v>
                </c:pt>
                <c:pt idx="6">
                  <c:v>Nigeria</c:v>
                </c:pt>
                <c:pt idx="7">
                  <c:v>Rwanda</c:v>
                </c:pt>
                <c:pt idx="8">
                  <c:v>Senegal</c:v>
                </c:pt>
                <c:pt idx="9">
                  <c:v>Uganda</c:v>
                </c:pt>
                <c:pt idx="10">
                  <c:v>Zambia</c:v>
                </c:pt>
              </c:strCache>
            </c:strRef>
          </c:cat>
          <c:val>
            <c:numRef>
              <c:f>PriceShocks!$C$36:$C$47</c:f>
              <c:numCache>
                <c:formatCode>0.00</c:formatCode>
                <c:ptCount val="11"/>
                <c:pt idx="0">
                  <c:v>-1.2881250481336148</c:v>
                </c:pt>
                <c:pt idx="1">
                  <c:v>2.0281761638892393</c:v>
                </c:pt>
                <c:pt idx="2">
                  <c:v>0.11403107728142903</c:v>
                </c:pt>
                <c:pt idx="3">
                  <c:v>1.3240535458771241</c:v>
                </c:pt>
                <c:pt idx="4">
                  <c:v>0.79652622575727694</c:v>
                </c:pt>
                <c:pt idx="5">
                  <c:v>1.7161378640726754</c:v>
                </c:pt>
                <c:pt idx="6">
                  <c:v>-4.253842764809046</c:v>
                </c:pt>
                <c:pt idx="7">
                  <c:v>-0.51273349124589807</c:v>
                </c:pt>
                <c:pt idx="8">
                  <c:v>2.0377325502596078</c:v>
                </c:pt>
                <c:pt idx="9">
                  <c:v>-8.1663727930425534E-2</c:v>
                </c:pt>
                <c:pt idx="10">
                  <c:v>0.2377323660184949</c:v>
                </c:pt>
              </c:numCache>
            </c:numRef>
          </c:val>
        </c:ser>
        <c:ser>
          <c:idx val="2"/>
          <c:order val="2"/>
          <c:tx>
            <c:strRef>
              <c:f>PriceShocks!$D$34:$D$35</c:f>
              <c:strCache>
                <c:ptCount val="1"/>
                <c:pt idx="0">
                  <c:v>ExtractionAgri -15%</c:v>
                </c:pt>
              </c:strCache>
            </c:strRef>
          </c:tx>
          <c:spPr>
            <a:solidFill>
              <a:schemeClr val="accent3"/>
            </a:solidFill>
            <a:ln>
              <a:noFill/>
            </a:ln>
            <a:effectLst/>
          </c:spPr>
          <c:invertIfNegative val="0"/>
          <c:cat>
            <c:strRef>
              <c:f>PriceShocks!$A$36:$A$47</c:f>
              <c:strCache>
                <c:ptCount val="11"/>
                <c:pt idx="0">
                  <c:v>Sub Saharan Africa</c:v>
                </c:pt>
                <c:pt idx="1">
                  <c:v>Benin</c:v>
                </c:pt>
                <c:pt idx="2">
                  <c:v>Cameroon</c:v>
                </c:pt>
                <c:pt idx="3">
                  <c:v>Ethiopia</c:v>
                </c:pt>
                <c:pt idx="4">
                  <c:v>Ghana</c:v>
                </c:pt>
                <c:pt idx="5">
                  <c:v>Kenya</c:v>
                </c:pt>
                <c:pt idx="6">
                  <c:v>Nigeria</c:v>
                </c:pt>
                <c:pt idx="7">
                  <c:v>Rwanda</c:v>
                </c:pt>
                <c:pt idx="8">
                  <c:v>Senegal</c:v>
                </c:pt>
                <c:pt idx="9">
                  <c:v>Uganda</c:v>
                </c:pt>
                <c:pt idx="10">
                  <c:v>Zambia</c:v>
                </c:pt>
              </c:strCache>
            </c:strRef>
          </c:cat>
          <c:val>
            <c:numRef>
              <c:f>PriceShocks!$D$36:$D$47</c:f>
              <c:numCache>
                <c:formatCode>0.00</c:formatCode>
                <c:ptCount val="11"/>
                <c:pt idx="0">
                  <c:v>-1.0308847435696045</c:v>
                </c:pt>
                <c:pt idx="1">
                  <c:v>2.7805837508077191</c:v>
                </c:pt>
                <c:pt idx="2">
                  <c:v>0.1656603751317709</c:v>
                </c:pt>
                <c:pt idx="3">
                  <c:v>0.9845607313565985</c:v>
                </c:pt>
                <c:pt idx="4">
                  <c:v>0.65226271414993153</c:v>
                </c:pt>
                <c:pt idx="5">
                  <c:v>1.442639552269398</c:v>
                </c:pt>
                <c:pt idx="6">
                  <c:v>-3.4429230612605721</c:v>
                </c:pt>
                <c:pt idx="7">
                  <c:v>-0.45558333565116627</c:v>
                </c:pt>
                <c:pt idx="8">
                  <c:v>2.7892613193294169</c:v>
                </c:pt>
                <c:pt idx="9">
                  <c:v>-0.41230135973912008</c:v>
                </c:pt>
                <c:pt idx="10">
                  <c:v>0.56959974125627699</c:v>
                </c:pt>
              </c:numCache>
            </c:numRef>
          </c:val>
        </c:ser>
        <c:dLbls>
          <c:showLegendKey val="0"/>
          <c:showVal val="0"/>
          <c:showCatName val="0"/>
          <c:showSerName val="0"/>
          <c:showPercent val="0"/>
          <c:showBubbleSize val="0"/>
        </c:dLbls>
        <c:gapWidth val="219"/>
        <c:overlap val="-27"/>
        <c:axId val="313202536"/>
        <c:axId val="313202928"/>
      </c:barChart>
      <c:catAx>
        <c:axId val="31320253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313202928"/>
        <c:crosses val="autoZero"/>
        <c:auto val="1"/>
        <c:lblAlgn val="ctr"/>
        <c:lblOffset val="100"/>
        <c:noMultiLvlLbl val="0"/>
      </c:catAx>
      <c:valAx>
        <c:axId val="313202928"/>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3202536"/>
        <c:crosses val="autoZero"/>
        <c:crossBetween val="between"/>
      </c:valAx>
      <c:spPr>
        <a:noFill/>
        <a:ln>
          <a:noFill/>
        </a:ln>
        <a:effectLst/>
      </c:spPr>
    </c:plotArea>
    <c:legend>
      <c:legendPos val="r"/>
      <c:layout>
        <c:manualLayout>
          <c:xMode val="edge"/>
          <c:yMode val="edge"/>
          <c:x val="0.24181814965425905"/>
          <c:y val="0.92752328079654367"/>
          <c:w val="0.64637720824507749"/>
          <c:h val="7.2476719203456372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USAID_Trade_ATOR+.xlsx]IntraTrade!PivotTable6</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smtClean="0"/>
              <a:t>%</a:t>
            </a:r>
            <a:r>
              <a:rPr lang="en-US" baseline="0" dirty="0" smtClean="0"/>
              <a:t> increase in intra-SSA trade between 2013 and 2030</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a:noFill/>
          </a:ln>
          <a:effectLst/>
          <a:sp3d/>
        </c:spPr>
        <c:marker>
          <c:symbol val="none"/>
        </c:marker>
      </c:pivotFmt>
      <c:pivotFmt>
        <c:idx val="1"/>
        <c:spPr>
          <a:solidFill>
            <a:schemeClr val="accent1"/>
          </a:solidFill>
          <a:ln>
            <a:noFill/>
          </a:ln>
          <a:effectLst/>
          <a:sp3d/>
        </c:spPr>
        <c:marker>
          <c:symbol val="none"/>
        </c:marker>
      </c:pivotFmt>
      <c:pivotFmt>
        <c:idx val="2"/>
        <c:spPr>
          <a:solidFill>
            <a:schemeClr val="accent1"/>
          </a:solidFill>
          <a:ln>
            <a:noFill/>
          </a:ln>
          <a:effectLst/>
          <a:sp3d/>
        </c:spPr>
        <c:marker>
          <c:symbol val="none"/>
        </c:marker>
      </c:pivotFmt>
      <c:pivotFmt>
        <c:idx val="3"/>
        <c:spPr>
          <a:solidFill>
            <a:schemeClr val="accent1"/>
          </a:solidFill>
          <a:ln>
            <a:noFill/>
          </a:ln>
          <a:effectLst/>
          <a:sp3d/>
        </c:spPr>
        <c:marker>
          <c:symbol val="none"/>
        </c:marker>
      </c:pivotFmt>
      <c:pivotFmt>
        <c:idx val="4"/>
        <c:spPr>
          <a:solidFill>
            <a:schemeClr val="accent1"/>
          </a:solidFill>
          <a:ln>
            <a:noFill/>
          </a:ln>
          <a:effectLst/>
          <a:sp3d/>
        </c:spPr>
        <c:marker>
          <c:symbol val="none"/>
        </c:marker>
      </c:pivotFmt>
      <c:pivotFmt>
        <c:idx val="5"/>
        <c:spPr>
          <a:solidFill>
            <a:schemeClr val="accent1"/>
          </a:solidFill>
          <a:ln>
            <a:noFill/>
          </a:ln>
          <a:effectLst/>
          <a:sp3d/>
        </c:spPr>
        <c:marker>
          <c:symbol val="none"/>
        </c:marker>
      </c:pivotFmt>
      <c:pivotFmt>
        <c:idx val="6"/>
        <c:spPr>
          <a:solidFill>
            <a:schemeClr val="accent1"/>
          </a:solidFill>
          <a:ln>
            <a:noFill/>
          </a:ln>
          <a:effectLst/>
          <a:sp3d/>
        </c:spPr>
        <c:marker>
          <c:symbol val="none"/>
        </c:marker>
      </c:pivotFmt>
      <c:pivotFmt>
        <c:idx val="7"/>
        <c:spPr>
          <a:solidFill>
            <a:schemeClr val="accent1"/>
          </a:solidFill>
          <a:ln>
            <a:noFill/>
          </a:ln>
          <a:effectLst/>
          <a:sp3d/>
        </c:spPr>
        <c:marker>
          <c:symbol val="none"/>
        </c:marker>
      </c:pivotFmt>
      <c:pivotFmt>
        <c:idx val="8"/>
        <c:spPr>
          <a:solidFill>
            <a:schemeClr val="accent1"/>
          </a:solidFill>
          <a:ln>
            <a:noFill/>
          </a:ln>
          <a:effectLst/>
          <a:sp3d/>
        </c:spPr>
        <c:marker>
          <c:symbol val="none"/>
        </c:marker>
      </c:pivotFmt>
      <c:pivotFmt>
        <c:idx val="9"/>
        <c:spPr>
          <a:solidFill>
            <a:schemeClr val="accent1"/>
          </a:solidFill>
          <a:ln>
            <a:noFill/>
          </a:ln>
          <a:effectLst/>
          <a:sp3d/>
        </c:spPr>
        <c:marker>
          <c:symbol val="none"/>
        </c:marker>
      </c:pivotFmt>
      <c:pivotFmt>
        <c:idx val="10"/>
        <c:spPr>
          <a:solidFill>
            <a:schemeClr val="accent1"/>
          </a:solidFill>
          <a:ln>
            <a:noFill/>
          </a:ln>
          <a:effectLst/>
          <a:sp3d/>
        </c:spPr>
        <c:marker>
          <c:symbol val="none"/>
        </c:marker>
      </c:pivotFmt>
      <c:pivotFmt>
        <c:idx val="11"/>
        <c:spPr>
          <a:solidFill>
            <a:schemeClr val="accent1"/>
          </a:solidFill>
          <a:ln>
            <a:noFill/>
          </a:ln>
          <a:effectLst/>
          <a:sp3d/>
        </c:spPr>
        <c:marker>
          <c:symbol val="none"/>
        </c:marker>
      </c:pivotFmt>
    </c:pivotFmts>
    <c:view3D>
      <c:rotX val="30"/>
      <c:rotY val="5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standard"/>
        <c:varyColors val="0"/>
        <c:ser>
          <c:idx val="0"/>
          <c:order val="0"/>
          <c:tx>
            <c:strRef>
              <c:f>IntraTrade!$P$25:$P$26</c:f>
              <c:strCache>
                <c:ptCount val="1"/>
                <c:pt idx="0">
                  <c:v>CEMAC</c:v>
                </c:pt>
              </c:strCache>
            </c:strRef>
          </c:tx>
          <c:spPr>
            <a:solidFill>
              <a:schemeClr val="accent1"/>
            </a:solidFill>
            <a:ln>
              <a:noFill/>
            </a:ln>
            <a:effectLst/>
            <a:sp3d/>
          </c:spPr>
          <c:invertIfNegative val="0"/>
          <c:cat>
            <c:strRef>
              <c:f>IntraTrade!$O$27:$O$31</c:f>
              <c:strCache>
                <c:ptCount val="4"/>
                <c:pt idx="0">
                  <c:v>SACU</c:v>
                </c:pt>
                <c:pt idx="1">
                  <c:v>ECOWAS</c:v>
                </c:pt>
                <c:pt idx="2">
                  <c:v>COMESA</c:v>
                </c:pt>
                <c:pt idx="3">
                  <c:v>CEMAC</c:v>
                </c:pt>
              </c:strCache>
            </c:strRef>
          </c:cat>
          <c:val>
            <c:numRef>
              <c:f>IntraTrade!$P$27:$P$31</c:f>
              <c:numCache>
                <c:formatCode>General</c:formatCode>
                <c:ptCount val="4"/>
                <c:pt idx="0">
                  <c:v>0.88</c:v>
                </c:pt>
                <c:pt idx="1">
                  <c:v>0.8</c:v>
                </c:pt>
                <c:pt idx="2">
                  <c:v>1.48</c:v>
                </c:pt>
                <c:pt idx="3">
                  <c:v>0.67</c:v>
                </c:pt>
              </c:numCache>
            </c:numRef>
          </c:val>
        </c:ser>
        <c:ser>
          <c:idx val="1"/>
          <c:order val="1"/>
          <c:tx>
            <c:strRef>
              <c:f>IntraTrade!$Q$25:$Q$26</c:f>
              <c:strCache>
                <c:ptCount val="1"/>
                <c:pt idx="0">
                  <c:v>COMESA</c:v>
                </c:pt>
              </c:strCache>
            </c:strRef>
          </c:tx>
          <c:spPr>
            <a:solidFill>
              <a:schemeClr val="accent2"/>
            </a:solidFill>
            <a:ln>
              <a:noFill/>
            </a:ln>
            <a:effectLst/>
            <a:sp3d/>
          </c:spPr>
          <c:invertIfNegative val="0"/>
          <c:cat>
            <c:strRef>
              <c:f>IntraTrade!$O$27:$O$31</c:f>
              <c:strCache>
                <c:ptCount val="4"/>
                <c:pt idx="0">
                  <c:v>SACU</c:v>
                </c:pt>
                <c:pt idx="1">
                  <c:v>ECOWAS</c:v>
                </c:pt>
                <c:pt idx="2">
                  <c:v>COMESA</c:v>
                </c:pt>
                <c:pt idx="3">
                  <c:v>CEMAC</c:v>
                </c:pt>
              </c:strCache>
            </c:strRef>
          </c:cat>
          <c:val>
            <c:numRef>
              <c:f>IntraTrade!$Q$27:$Q$31</c:f>
              <c:numCache>
                <c:formatCode>General</c:formatCode>
                <c:ptCount val="4"/>
                <c:pt idx="0">
                  <c:v>1.1599999999999999</c:v>
                </c:pt>
                <c:pt idx="1">
                  <c:v>1.79</c:v>
                </c:pt>
                <c:pt idx="2">
                  <c:v>1.46</c:v>
                </c:pt>
                <c:pt idx="3">
                  <c:v>1.48</c:v>
                </c:pt>
              </c:numCache>
            </c:numRef>
          </c:val>
        </c:ser>
        <c:ser>
          <c:idx val="2"/>
          <c:order val="2"/>
          <c:tx>
            <c:strRef>
              <c:f>IntraTrade!$R$25:$R$26</c:f>
              <c:strCache>
                <c:ptCount val="1"/>
                <c:pt idx="0">
                  <c:v>ECOWAS</c:v>
                </c:pt>
              </c:strCache>
            </c:strRef>
          </c:tx>
          <c:spPr>
            <a:solidFill>
              <a:schemeClr val="accent3"/>
            </a:solidFill>
            <a:ln>
              <a:noFill/>
            </a:ln>
            <a:effectLst/>
            <a:sp3d/>
          </c:spPr>
          <c:invertIfNegative val="0"/>
          <c:cat>
            <c:strRef>
              <c:f>IntraTrade!$O$27:$O$31</c:f>
              <c:strCache>
                <c:ptCount val="4"/>
                <c:pt idx="0">
                  <c:v>SACU</c:v>
                </c:pt>
                <c:pt idx="1">
                  <c:v>ECOWAS</c:v>
                </c:pt>
                <c:pt idx="2">
                  <c:v>COMESA</c:v>
                </c:pt>
                <c:pt idx="3">
                  <c:v>CEMAC</c:v>
                </c:pt>
              </c:strCache>
            </c:strRef>
          </c:cat>
          <c:val>
            <c:numRef>
              <c:f>IntraTrade!$R$27:$R$31</c:f>
              <c:numCache>
                <c:formatCode>General</c:formatCode>
                <c:ptCount val="4"/>
                <c:pt idx="0">
                  <c:v>1.37</c:v>
                </c:pt>
                <c:pt idx="1">
                  <c:v>1.36</c:v>
                </c:pt>
                <c:pt idx="2">
                  <c:v>1.79</c:v>
                </c:pt>
                <c:pt idx="3">
                  <c:v>0.8</c:v>
                </c:pt>
              </c:numCache>
            </c:numRef>
          </c:val>
        </c:ser>
        <c:ser>
          <c:idx val="3"/>
          <c:order val="3"/>
          <c:tx>
            <c:strRef>
              <c:f>IntraTrade!$S$25:$S$26</c:f>
              <c:strCache>
                <c:ptCount val="1"/>
                <c:pt idx="0">
                  <c:v>SACU</c:v>
                </c:pt>
              </c:strCache>
            </c:strRef>
          </c:tx>
          <c:spPr>
            <a:solidFill>
              <a:schemeClr val="accent4"/>
            </a:solidFill>
            <a:ln>
              <a:noFill/>
            </a:ln>
            <a:effectLst/>
            <a:sp3d/>
          </c:spPr>
          <c:invertIfNegative val="0"/>
          <c:cat>
            <c:strRef>
              <c:f>IntraTrade!$O$27:$O$31</c:f>
              <c:strCache>
                <c:ptCount val="4"/>
                <c:pt idx="0">
                  <c:v>SACU</c:v>
                </c:pt>
                <c:pt idx="1">
                  <c:v>ECOWAS</c:v>
                </c:pt>
                <c:pt idx="2">
                  <c:v>COMESA</c:v>
                </c:pt>
                <c:pt idx="3">
                  <c:v>CEMAC</c:v>
                </c:pt>
              </c:strCache>
            </c:strRef>
          </c:cat>
          <c:val>
            <c:numRef>
              <c:f>IntraTrade!$S$27:$S$31</c:f>
              <c:numCache>
                <c:formatCode>General</c:formatCode>
                <c:ptCount val="4"/>
                <c:pt idx="0">
                  <c:v>1.1100000000000001</c:v>
                </c:pt>
                <c:pt idx="1">
                  <c:v>1.37</c:v>
                </c:pt>
                <c:pt idx="2">
                  <c:v>1.1599999999999999</c:v>
                </c:pt>
                <c:pt idx="3">
                  <c:v>0.88</c:v>
                </c:pt>
              </c:numCache>
            </c:numRef>
          </c:val>
        </c:ser>
        <c:dLbls>
          <c:showLegendKey val="0"/>
          <c:showVal val="0"/>
          <c:showCatName val="0"/>
          <c:showSerName val="0"/>
          <c:showPercent val="0"/>
          <c:showBubbleSize val="0"/>
        </c:dLbls>
        <c:gapWidth val="150"/>
        <c:shape val="box"/>
        <c:axId val="313204104"/>
        <c:axId val="313204496"/>
        <c:axId val="313200560"/>
      </c:bar3DChart>
      <c:catAx>
        <c:axId val="313204104"/>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3204496"/>
        <c:crosses val="autoZero"/>
        <c:auto val="1"/>
        <c:lblAlgn val="ctr"/>
        <c:lblOffset val="100"/>
        <c:noMultiLvlLbl val="0"/>
      </c:catAx>
      <c:valAx>
        <c:axId val="31320449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3204104"/>
        <c:crosses val="autoZero"/>
        <c:crossBetween val="between"/>
      </c:valAx>
      <c:serAx>
        <c:axId val="313200560"/>
        <c:scaling>
          <c:orientation val="minMax"/>
        </c:scaling>
        <c:delete val="0"/>
        <c:axPos val="b"/>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3204496"/>
        <c:crosses val="autoZero"/>
      </c:ser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pivotOptions>
    </c:ext>
  </c:extLst>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r>
              <a:rPr lang="en-US" dirty="0"/>
              <a:t>Average </a:t>
            </a:r>
            <a:r>
              <a:rPr lang="en-US" dirty="0" smtClean="0"/>
              <a:t>import </a:t>
            </a:r>
            <a:r>
              <a:rPr lang="en-US" dirty="0"/>
              <a:t>t</a:t>
            </a:r>
            <a:r>
              <a:rPr lang="en-US" dirty="0" smtClean="0"/>
              <a:t>ariffs </a:t>
            </a:r>
            <a:r>
              <a:rPr lang="en-US" dirty="0"/>
              <a:t>on </a:t>
            </a:r>
            <a:r>
              <a:rPr lang="en-US" dirty="0" err="1"/>
              <a:t>a</a:t>
            </a:r>
            <a:r>
              <a:rPr lang="en-US" dirty="0" err="1" smtClean="0"/>
              <a:t>gri</a:t>
            </a:r>
            <a:r>
              <a:rPr lang="en-US" dirty="0" smtClean="0"/>
              <a:t>-food </a:t>
            </a:r>
            <a:r>
              <a:rPr lang="en-US" dirty="0"/>
              <a:t>imports</a:t>
            </a:r>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endParaRPr lang="en-US"/>
        </a:p>
      </c:txPr>
    </c:title>
    <c:autoTitleDeleted val="0"/>
    <c:plotArea>
      <c:layout/>
      <c:barChart>
        <c:barDir val="col"/>
        <c:grouping val="clustered"/>
        <c:varyColors val="0"/>
        <c:ser>
          <c:idx val="0"/>
          <c:order val="0"/>
          <c:tx>
            <c:strRef>
              <c:f>Tariffs!$B$1</c:f>
              <c:strCache>
                <c:ptCount val="1"/>
                <c:pt idx="0">
                  <c:v>Applied to non SSA countries</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invertIfNegative val="0"/>
          <c:cat>
            <c:strRef>
              <c:f>Tariffs!$A$2:$A$5</c:f>
              <c:strCache>
                <c:ptCount val="4"/>
                <c:pt idx="0">
                  <c:v>ECOWAS</c:v>
                </c:pt>
                <c:pt idx="1">
                  <c:v>CEMAC</c:v>
                </c:pt>
                <c:pt idx="2">
                  <c:v>COMESA</c:v>
                </c:pt>
                <c:pt idx="3">
                  <c:v>SACU</c:v>
                </c:pt>
              </c:strCache>
            </c:strRef>
          </c:cat>
          <c:val>
            <c:numRef>
              <c:f>Tariffs!$B$2:$B$5</c:f>
              <c:numCache>
                <c:formatCode>0.0%</c:formatCode>
                <c:ptCount val="4"/>
                <c:pt idx="0">
                  <c:v>0.13341470425976401</c:v>
                </c:pt>
                <c:pt idx="1">
                  <c:v>0.12513367698251501</c:v>
                </c:pt>
                <c:pt idx="2">
                  <c:v>0.13635296273228201</c:v>
                </c:pt>
                <c:pt idx="3">
                  <c:v>8.6960179784447797E-2</c:v>
                </c:pt>
              </c:numCache>
            </c:numRef>
          </c:val>
        </c:ser>
        <c:ser>
          <c:idx val="1"/>
          <c:order val="1"/>
          <c:tx>
            <c:strRef>
              <c:f>Tariffs!$C$1</c:f>
              <c:strCache>
                <c:ptCount val="1"/>
                <c:pt idx="0">
                  <c:v>Applied to SSA countries</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invertIfNegative val="0"/>
          <c:cat>
            <c:strRef>
              <c:f>Tariffs!$A$2:$A$5</c:f>
              <c:strCache>
                <c:ptCount val="4"/>
                <c:pt idx="0">
                  <c:v>ECOWAS</c:v>
                </c:pt>
                <c:pt idx="1">
                  <c:v>CEMAC</c:v>
                </c:pt>
                <c:pt idx="2">
                  <c:v>COMESA</c:v>
                </c:pt>
                <c:pt idx="3">
                  <c:v>SACU</c:v>
                </c:pt>
              </c:strCache>
            </c:strRef>
          </c:cat>
          <c:val>
            <c:numRef>
              <c:f>Tariffs!$C$2:$C$5</c:f>
              <c:numCache>
                <c:formatCode>0.0%</c:formatCode>
                <c:ptCount val="4"/>
                <c:pt idx="0">
                  <c:v>9.5217218491628702E-2</c:v>
                </c:pt>
                <c:pt idx="1">
                  <c:v>0.156789635106549</c:v>
                </c:pt>
                <c:pt idx="2">
                  <c:v>0.114723652525103</c:v>
                </c:pt>
                <c:pt idx="3">
                  <c:v>3.1381966499212002E-2</c:v>
                </c:pt>
              </c:numCache>
            </c:numRef>
          </c:val>
        </c:ser>
        <c:dLbls>
          <c:showLegendKey val="0"/>
          <c:showVal val="0"/>
          <c:showCatName val="0"/>
          <c:showSerName val="0"/>
          <c:showPercent val="0"/>
          <c:showBubbleSize val="0"/>
        </c:dLbls>
        <c:gapWidth val="100"/>
        <c:overlap val="-24"/>
        <c:axId val="313205672"/>
        <c:axId val="313206064"/>
      </c:barChart>
      <c:catAx>
        <c:axId val="313205672"/>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313206064"/>
        <c:crosses val="autoZero"/>
        <c:auto val="1"/>
        <c:lblAlgn val="ctr"/>
        <c:lblOffset val="100"/>
        <c:noMultiLvlLbl val="0"/>
      </c:catAx>
      <c:valAx>
        <c:axId val="313206064"/>
        <c:scaling>
          <c:orientation val="minMax"/>
        </c:scaling>
        <c:delete val="0"/>
        <c:axPos val="l"/>
        <c:majorGridlines>
          <c:spPr>
            <a:ln w="9525" cap="flat" cmpd="sng" algn="ctr">
              <a:solidFill>
                <a:schemeClr val="tx2">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3132056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Tariffs</a:t>
            </a:r>
            <a:r>
              <a:rPr lang="en-US" baseline="0"/>
              <a:t> on selected product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1740890023290268"/>
          <c:y val="0.13828676869287154"/>
          <c:w val="0.88015182199534192"/>
          <c:h val="0.64162057028535979"/>
        </c:manualLayout>
      </c:layout>
      <c:barChart>
        <c:barDir val="col"/>
        <c:grouping val="clustered"/>
        <c:varyColors val="0"/>
        <c:ser>
          <c:idx val="0"/>
          <c:order val="0"/>
          <c:tx>
            <c:strRef>
              <c:f>Tariffs!$C$1</c:f>
              <c:strCache>
                <c:ptCount val="1"/>
                <c:pt idx="0">
                  <c:v>CEMAC</c:v>
                </c:pt>
              </c:strCache>
            </c:strRef>
          </c:tx>
          <c:spPr>
            <a:solidFill>
              <a:schemeClr val="accent1"/>
            </a:solidFill>
            <a:ln>
              <a:noFill/>
            </a:ln>
            <a:effectLst/>
          </c:spPr>
          <c:invertIfNegative val="0"/>
          <c:cat>
            <c:strRef>
              <c:f>Tariffs!$B$2:$B$7</c:f>
              <c:strCache>
                <c:ptCount val="6"/>
                <c:pt idx="0">
                  <c:v>Rice</c:v>
                </c:pt>
                <c:pt idx="1">
                  <c:v>Wheat</c:v>
                </c:pt>
                <c:pt idx="2">
                  <c:v>Yams</c:v>
                </c:pt>
                <c:pt idx="3">
                  <c:v>Beef (carcass)</c:v>
                </c:pt>
                <c:pt idx="4">
                  <c:v>Chicken (cuts)</c:v>
                </c:pt>
                <c:pt idx="5">
                  <c:v>Milk Powder</c:v>
                </c:pt>
              </c:strCache>
            </c:strRef>
          </c:cat>
          <c:val>
            <c:numRef>
              <c:f>Tariffs!$C$2:$C$7</c:f>
              <c:numCache>
                <c:formatCode>0%</c:formatCode>
                <c:ptCount val="6"/>
                <c:pt idx="0">
                  <c:v>0.05</c:v>
                </c:pt>
                <c:pt idx="1">
                  <c:v>0.1</c:v>
                </c:pt>
                <c:pt idx="2">
                  <c:v>0.3</c:v>
                </c:pt>
                <c:pt idx="3">
                  <c:v>0.2</c:v>
                </c:pt>
                <c:pt idx="4">
                  <c:v>0.05</c:v>
                </c:pt>
                <c:pt idx="5">
                  <c:v>0.05</c:v>
                </c:pt>
              </c:numCache>
            </c:numRef>
          </c:val>
        </c:ser>
        <c:ser>
          <c:idx val="1"/>
          <c:order val="1"/>
          <c:tx>
            <c:strRef>
              <c:f>Tariffs!$D$1</c:f>
              <c:strCache>
                <c:ptCount val="1"/>
                <c:pt idx="0">
                  <c:v>ECOWAS</c:v>
                </c:pt>
              </c:strCache>
            </c:strRef>
          </c:tx>
          <c:spPr>
            <a:solidFill>
              <a:schemeClr val="accent2"/>
            </a:solidFill>
            <a:ln>
              <a:noFill/>
            </a:ln>
            <a:effectLst/>
          </c:spPr>
          <c:invertIfNegative val="0"/>
          <c:cat>
            <c:strRef>
              <c:f>Tariffs!$B$2:$B$7</c:f>
              <c:strCache>
                <c:ptCount val="6"/>
                <c:pt idx="0">
                  <c:v>Rice</c:v>
                </c:pt>
                <c:pt idx="1">
                  <c:v>Wheat</c:v>
                </c:pt>
                <c:pt idx="2">
                  <c:v>Yams</c:v>
                </c:pt>
                <c:pt idx="3">
                  <c:v>Beef (carcass)</c:v>
                </c:pt>
                <c:pt idx="4">
                  <c:v>Chicken (cuts)</c:v>
                </c:pt>
                <c:pt idx="5">
                  <c:v>Milk Powder</c:v>
                </c:pt>
              </c:strCache>
            </c:strRef>
          </c:cat>
          <c:val>
            <c:numRef>
              <c:f>Tariffs!$D$2:$D$7</c:f>
              <c:numCache>
                <c:formatCode>0%</c:formatCode>
                <c:ptCount val="6"/>
                <c:pt idx="0">
                  <c:v>0.1</c:v>
                </c:pt>
                <c:pt idx="1">
                  <c:v>0.05</c:v>
                </c:pt>
                <c:pt idx="2">
                  <c:v>0.2</c:v>
                </c:pt>
                <c:pt idx="3">
                  <c:v>0.35</c:v>
                </c:pt>
                <c:pt idx="4">
                  <c:v>0.35</c:v>
                </c:pt>
                <c:pt idx="5">
                  <c:v>0.2</c:v>
                </c:pt>
              </c:numCache>
            </c:numRef>
          </c:val>
        </c:ser>
        <c:ser>
          <c:idx val="2"/>
          <c:order val="2"/>
          <c:tx>
            <c:strRef>
              <c:f>Tariffs!$E$1</c:f>
              <c:strCache>
                <c:ptCount val="1"/>
                <c:pt idx="0">
                  <c:v>COMESA</c:v>
                </c:pt>
              </c:strCache>
            </c:strRef>
          </c:tx>
          <c:spPr>
            <a:solidFill>
              <a:schemeClr val="accent3"/>
            </a:solidFill>
            <a:ln>
              <a:noFill/>
            </a:ln>
            <a:effectLst/>
          </c:spPr>
          <c:invertIfNegative val="0"/>
          <c:cat>
            <c:strRef>
              <c:f>Tariffs!$B$2:$B$7</c:f>
              <c:strCache>
                <c:ptCount val="6"/>
                <c:pt idx="0">
                  <c:v>Rice</c:v>
                </c:pt>
                <c:pt idx="1">
                  <c:v>Wheat</c:v>
                </c:pt>
                <c:pt idx="2">
                  <c:v>Yams</c:v>
                </c:pt>
                <c:pt idx="3">
                  <c:v>Beef (carcass)</c:v>
                </c:pt>
                <c:pt idx="4">
                  <c:v>Chicken (cuts)</c:v>
                </c:pt>
                <c:pt idx="5">
                  <c:v>Milk Powder</c:v>
                </c:pt>
              </c:strCache>
            </c:strRef>
          </c:cat>
          <c:val>
            <c:numRef>
              <c:f>Tariffs!$E$2:$E$7</c:f>
              <c:numCache>
                <c:formatCode>0%</c:formatCode>
                <c:ptCount val="6"/>
                <c:pt idx="0">
                  <c:v>0</c:v>
                </c:pt>
                <c:pt idx="1">
                  <c:v>0</c:v>
                </c:pt>
                <c:pt idx="2">
                  <c:v>0</c:v>
                </c:pt>
                <c:pt idx="3">
                  <c:v>0</c:v>
                </c:pt>
                <c:pt idx="4">
                  <c:v>0</c:v>
                </c:pt>
                <c:pt idx="5">
                  <c:v>0.15</c:v>
                </c:pt>
              </c:numCache>
            </c:numRef>
          </c:val>
        </c:ser>
        <c:ser>
          <c:idx val="3"/>
          <c:order val="3"/>
          <c:tx>
            <c:strRef>
              <c:f>Tariffs!$G$1</c:f>
              <c:strCache>
                <c:ptCount val="1"/>
                <c:pt idx="0">
                  <c:v>SACU</c:v>
                </c:pt>
              </c:strCache>
            </c:strRef>
          </c:tx>
          <c:spPr>
            <a:solidFill>
              <a:schemeClr val="accent4"/>
            </a:solidFill>
            <a:ln>
              <a:noFill/>
            </a:ln>
            <a:effectLst/>
          </c:spPr>
          <c:invertIfNegative val="0"/>
          <c:cat>
            <c:strRef>
              <c:f>Tariffs!$B$2:$B$7</c:f>
              <c:strCache>
                <c:ptCount val="6"/>
                <c:pt idx="0">
                  <c:v>Rice</c:v>
                </c:pt>
                <c:pt idx="1">
                  <c:v>Wheat</c:v>
                </c:pt>
                <c:pt idx="2">
                  <c:v>Yams</c:v>
                </c:pt>
                <c:pt idx="3">
                  <c:v>Beef (carcass)</c:v>
                </c:pt>
                <c:pt idx="4">
                  <c:v>Chicken (cuts)</c:v>
                </c:pt>
                <c:pt idx="5">
                  <c:v>Milk Powder</c:v>
                </c:pt>
              </c:strCache>
            </c:strRef>
          </c:cat>
          <c:val>
            <c:numRef>
              <c:f>Tariffs!$G$2:$G$7</c:f>
              <c:numCache>
                <c:formatCode>0%</c:formatCode>
                <c:ptCount val="6"/>
                <c:pt idx="0">
                  <c:v>0</c:v>
                </c:pt>
                <c:pt idx="1">
                  <c:v>0</c:v>
                </c:pt>
                <c:pt idx="2">
                  <c:v>0.05</c:v>
                </c:pt>
                <c:pt idx="3">
                  <c:v>0.4</c:v>
                </c:pt>
                <c:pt idx="4">
                  <c:v>0.27</c:v>
                </c:pt>
                <c:pt idx="5">
                  <c:v>0.96</c:v>
                </c:pt>
              </c:numCache>
            </c:numRef>
          </c:val>
        </c:ser>
        <c:dLbls>
          <c:showLegendKey val="0"/>
          <c:showVal val="0"/>
          <c:showCatName val="0"/>
          <c:showSerName val="0"/>
          <c:showPercent val="0"/>
          <c:showBubbleSize val="0"/>
        </c:dLbls>
        <c:gapWidth val="219"/>
        <c:overlap val="-27"/>
        <c:axId val="313116912"/>
        <c:axId val="313117304"/>
      </c:barChart>
      <c:catAx>
        <c:axId val="3131169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3117304"/>
        <c:crosses val="autoZero"/>
        <c:auto val="1"/>
        <c:lblAlgn val="ctr"/>
        <c:lblOffset val="100"/>
        <c:noMultiLvlLbl val="0"/>
      </c:catAx>
      <c:valAx>
        <c:axId val="31311730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31169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1379950010741"/>
          <c:y val="3.3124894505036001E-2"/>
          <c:w val="0.84786479920203695"/>
          <c:h val="0.80953742620594504"/>
        </c:manualLayout>
      </c:layout>
      <c:lineChart>
        <c:grouping val="standard"/>
        <c:varyColors val="0"/>
        <c:ser>
          <c:idx val="0"/>
          <c:order val="0"/>
          <c:tx>
            <c:strRef>
              <c:f>malnutrition!$A$66</c:f>
              <c:strCache>
                <c:ptCount val="1"/>
                <c:pt idx="0">
                  <c:v>Africa</c:v>
                </c:pt>
              </c:strCache>
            </c:strRef>
          </c:tx>
          <c:spPr>
            <a:ln w="57150" cap="rnd">
              <a:solidFill>
                <a:schemeClr val="accent1"/>
              </a:solidFill>
              <a:round/>
            </a:ln>
            <a:effectLst/>
          </c:spPr>
          <c:marker>
            <c:symbol val="none"/>
          </c:marker>
          <c:cat>
            <c:numRef>
              <c:f>malnutrition!$B$65:$H$65</c:f>
              <c:numCache>
                <c:formatCode>General</c:formatCode>
                <c:ptCount val="7"/>
                <c:pt idx="0">
                  <c:v>1990</c:v>
                </c:pt>
                <c:pt idx="1">
                  <c:v>1995</c:v>
                </c:pt>
                <c:pt idx="2">
                  <c:v>2000</c:v>
                </c:pt>
                <c:pt idx="3">
                  <c:v>2005</c:v>
                </c:pt>
                <c:pt idx="4">
                  <c:v>2010</c:v>
                </c:pt>
                <c:pt idx="5">
                  <c:v>2015</c:v>
                </c:pt>
                <c:pt idx="6">
                  <c:v>2020</c:v>
                </c:pt>
              </c:numCache>
            </c:numRef>
          </c:cat>
          <c:val>
            <c:numRef>
              <c:f>malnutrition!$B$66:$H$66</c:f>
              <c:numCache>
                <c:formatCode>0.00</c:formatCode>
                <c:ptCount val="7"/>
                <c:pt idx="0">
                  <c:v>4.5</c:v>
                </c:pt>
                <c:pt idx="1">
                  <c:v>5.7</c:v>
                </c:pt>
                <c:pt idx="2">
                  <c:v>7.4</c:v>
                </c:pt>
                <c:pt idx="3">
                  <c:v>9.9</c:v>
                </c:pt>
                <c:pt idx="4">
                  <c:v>13.3</c:v>
                </c:pt>
                <c:pt idx="5">
                  <c:v>17.399999999999999</c:v>
                </c:pt>
                <c:pt idx="6">
                  <c:v>22</c:v>
                </c:pt>
              </c:numCache>
            </c:numRef>
          </c:val>
          <c:smooth val="0"/>
        </c:ser>
        <c:ser>
          <c:idx val="1"/>
          <c:order val="1"/>
          <c:tx>
            <c:strRef>
              <c:f>malnutrition!$A$67</c:f>
              <c:strCache>
                <c:ptCount val="1"/>
                <c:pt idx="0">
                  <c:v>Asia</c:v>
                </c:pt>
              </c:strCache>
            </c:strRef>
          </c:tx>
          <c:spPr>
            <a:ln w="57150" cap="rnd">
              <a:solidFill>
                <a:schemeClr val="accent2"/>
              </a:solidFill>
              <a:round/>
            </a:ln>
            <a:effectLst/>
          </c:spPr>
          <c:marker>
            <c:symbol val="none"/>
          </c:marker>
          <c:cat>
            <c:numRef>
              <c:f>malnutrition!$B$65:$H$65</c:f>
              <c:numCache>
                <c:formatCode>General</c:formatCode>
                <c:ptCount val="7"/>
                <c:pt idx="0">
                  <c:v>1990</c:v>
                </c:pt>
                <c:pt idx="1">
                  <c:v>1995</c:v>
                </c:pt>
                <c:pt idx="2">
                  <c:v>2000</c:v>
                </c:pt>
                <c:pt idx="3">
                  <c:v>2005</c:v>
                </c:pt>
                <c:pt idx="4">
                  <c:v>2010</c:v>
                </c:pt>
                <c:pt idx="5">
                  <c:v>2015</c:v>
                </c:pt>
                <c:pt idx="6">
                  <c:v>2020</c:v>
                </c:pt>
              </c:numCache>
            </c:numRef>
          </c:cat>
          <c:val>
            <c:numRef>
              <c:f>malnutrition!$B$67:$H$67</c:f>
              <c:numCache>
                <c:formatCode>0.00</c:formatCode>
                <c:ptCount val="7"/>
                <c:pt idx="0">
                  <c:v>12.4</c:v>
                </c:pt>
                <c:pt idx="1">
                  <c:v>12.9</c:v>
                </c:pt>
                <c:pt idx="2">
                  <c:v>13.7</c:v>
                </c:pt>
                <c:pt idx="3">
                  <c:v>15.2</c:v>
                </c:pt>
                <c:pt idx="4">
                  <c:v>17.7</c:v>
                </c:pt>
                <c:pt idx="5">
                  <c:v>21</c:v>
                </c:pt>
                <c:pt idx="6">
                  <c:v>24.3</c:v>
                </c:pt>
              </c:numCache>
            </c:numRef>
          </c:val>
          <c:smooth val="0"/>
        </c:ser>
        <c:ser>
          <c:idx val="2"/>
          <c:order val="2"/>
          <c:tx>
            <c:strRef>
              <c:f>malnutrition!$A$68</c:f>
              <c:strCache>
                <c:ptCount val="1"/>
                <c:pt idx="0">
                  <c:v>Developing Countries</c:v>
                </c:pt>
              </c:strCache>
            </c:strRef>
          </c:tx>
          <c:spPr>
            <a:ln w="57150" cap="rnd">
              <a:solidFill>
                <a:schemeClr val="accent6">
                  <a:lumMod val="75000"/>
                </a:schemeClr>
              </a:solidFill>
              <a:round/>
            </a:ln>
            <a:effectLst/>
          </c:spPr>
          <c:marker>
            <c:symbol val="none"/>
          </c:marker>
          <c:cat>
            <c:numRef>
              <c:f>malnutrition!$B$65:$H$65</c:f>
              <c:numCache>
                <c:formatCode>General</c:formatCode>
                <c:ptCount val="7"/>
                <c:pt idx="0">
                  <c:v>1990</c:v>
                </c:pt>
                <c:pt idx="1">
                  <c:v>1995</c:v>
                </c:pt>
                <c:pt idx="2">
                  <c:v>2000</c:v>
                </c:pt>
                <c:pt idx="3">
                  <c:v>2005</c:v>
                </c:pt>
                <c:pt idx="4">
                  <c:v>2010</c:v>
                </c:pt>
                <c:pt idx="5">
                  <c:v>2015</c:v>
                </c:pt>
                <c:pt idx="6">
                  <c:v>2020</c:v>
                </c:pt>
              </c:numCache>
            </c:numRef>
          </c:cat>
          <c:val>
            <c:numRef>
              <c:f>malnutrition!$B$68:$H$68</c:f>
              <c:numCache>
                <c:formatCode>0.00</c:formatCode>
                <c:ptCount val="7"/>
                <c:pt idx="0">
                  <c:v>20.7</c:v>
                </c:pt>
                <c:pt idx="1">
                  <c:v>22.4</c:v>
                </c:pt>
                <c:pt idx="2">
                  <c:v>25</c:v>
                </c:pt>
                <c:pt idx="3">
                  <c:v>28.9</c:v>
                </c:pt>
                <c:pt idx="4">
                  <c:v>34.700000000000003</c:v>
                </c:pt>
                <c:pt idx="5">
                  <c:v>42</c:v>
                </c:pt>
                <c:pt idx="6">
                  <c:v>49.9</c:v>
                </c:pt>
              </c:numCache>
            </c:numRef>
          </c:val>
          <c:smooth val="0"/>
        </c:ser>
        <c:dLbls>
          <c:showLegendKey val="0"/>
          <c:showVal val="0"/>
          <c:showCatName val="0"/>
          <c:showSerName val="0"/>
          <c:showPercent val="0"/>
          <c:showBubbleSize val="0"/>
        </c:dLbls>
        <c:smooth val="0"/>
        <c:axId val="243388896"/>
        <c:axId val="243389288"/>
      </c:lineChart>
      <c:catAx>
        <c:axId val="243388896"/>
        <c:scaling>
          <c:orientation val="minMax"/>
        </c:scaling>
        <c:delete val="0"/>
        <c:axPos val="b"/>
        <c:numFmt formatCode="General" sourceLinked="1"/>
        <c:majorTickMark val="none"/>
        <c:minorTickMark val="none"/>
        <c:tickLblPos val="nextTo"/>
        <c:spPr>
          <a:noFill/>
          <a:ln w="12700" cap="flat" cmpd="sng" algn="ctr">
            <a:solidFill>
              <a:schemeClr val="bg1"/>
            </a:solidFill>
            <a:round/>
          </a:ln>
          <a:effectLst/>
        </c:spPr>
        <c:txPr>
          <a:bodyPr rot="-60000000" spcFirstLastPara="1"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en-US"/>
          </a:p>
        </c:txPr>
        <c:crossAx val="243389288"/>
        <c:crosses val="autoZero"/>
        <c:auto val="1"/>
        <c:lblAlgn val="ctr"/>
        <c:lblOffset val="100"/>
        <c:noMultiLvlLbl val="0"/>
      </c:catAx>
      <c:valAx>
        <c:axId val="243389288"/>
        <c:scaling>
          <c:orientation val="minMax"/>
        </c:scaling>
        <c:delete val="0"/>
        <c:axPos val="l"/>
        <c:majorGridlines>
          <c:spPr>
            <a:ln w="12700" cap="flat" cmpd="sng" algn="ctr">
              <a:solidFill>
                <a:schemeClr val="bg1"/>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en-US" sz="900" b="0" i="0" u="none" strike="noStrike" kern="1200" baseline="0">
                <a:solidFill>
                  <a:schemeClr val="tx1">
                    <a:lumMod val="65000"/>
                    <a:lumOff val="35000"/>
                  </a:schemeClr>
                </a:solidFill>
                <a:latin typeface="+mn-lt"/>
                <a:ea typeface="+mn-ea"/>
                <a:cs typeface="+mn-cs"/>
              </a:defRPr>
            </a:pPr>
            <a:endParaRPr lang="en-US"/>
          </a:p>
        </c:txPr>
        <c:crossAx val="243388896"/>
        <c:crosses val="autoZero"/>
        <c:crossBetween val="between"/>
      </c:valAx>
      <c:spPr>
        <a:noFill/>
        <a:ln w="57150">
          <a:noFill/>
        </a:ln>
        <a:effectLst/>
      </c:spPr>
    </c:plotArea>
    <c:plotVisOnly val="1"/>
    <c:dispBlanksAs val="gap"/>
    <c:showDLblsOverMax val="0"/>
  </c:chart>
  <c:spPr>
    <a:noFill/>
    <a:ln>
      <a:noFill/>
    </a:ln>
    <a:effectLst/>
  </c:spPr>
  <c:txPr>
    <a:bodyPr/>
    <a:lstStyle/>
    <a:p>
      <a:pPr>
        <a:defRPr lang="en-US"/>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55741510305901"/>
          <c:y val="6.8060526868713001E-2"/>
          <c:w val="0.85406349099549705"/>
          <c:h val="0.76872405471835803"/>
        </c:manualLayout>
      </c:layout>
      <c:lineChart>
        <c:grouping val="standard"/>
        <c:varyColors val="0"/>
        <c:ser>
          <c:idx val="0"/>
          <c:order val="0"/>
          <c:tx>
            <c:strRef>
              <c:f>Sheet1!$A$5</c:f>
              <c:strCache>
                <c:ptCount val="1"/>
                <c:pt idx="0">
                  <c:v>Africa</c:v>
                </c:pt>
              </c:strCache>
            </c:strRef>
          </c:tx>
          <c:spPr>
            <a:ln w="57150" cap="rnd">
              <a:solidFill>
                <a:schemeClr val="accent1"/>
              </a:solidFill>
              <a:round/>
            </a:ln>
            <a:effectLst/>
          </c:spPr>
          <c:marker>
            <c:symbol val="none"/>
          </c:marker>
          <c:cat>
            <c:numRef>
              <c:f>Sheet1!$B$4:$H$4</c:f>
              <c:numCache>
                <c:formatCode>General</c:formatCode>
                <c:ptCount val="7"/>
                <c:pt idx="0">
                  <c:v>1990</c:v>
                </c:pt>
                <c:pt idx="1">
                  <c:v>1995</c:v>
                </c:pt>
                <c:pt idx="2">
                  <c:v>2000</c:v>
                </c:pt>
                <c:pt idx="3">
                  <c:v>2005</c:v>
                </c:pt>
                <c:pt idx="4">
                  <c:v>2010</c:v>
                </c:pt>
                <c:pt idx="5">
                  <c:v>2015</c:v>
                </c:pt>
                <c:pt idx="6">
                  <c:v>2020</c:v>
                </c:pt>
              </c:numCache>
            </c:numRef>
          </c:cat>
          <c:val>
            <c:numRef>
              <c:f>Sheet1!$B$5:$H$5</c:f>
              <c:numCache>
                <c:formatCode>General</c:formatCode>
                <c:ptCount val="7"/>
                <c:pt idx="0">
                  <c:v>44.9</c:v>
                </c:pt>
                <c:pt idx="1">
                  <c:v>47.9</c:v>
                </c:pt>
                <c:pt idx="2">
                  <c:v>51.3</c:v>
                </c:pt>
                <c:pt idx="3">
                  <c:v>55.6</c:v>
                </c:pt>
                <c:pt idx="4">
                  <c:v>60</c:v>
                </c:pt>
                <c:pt idx="5">
                  <c:v>62.9</c:v>
                </c:pt>
                <c:pt idx="6">
                  <c:v>64.099999999999994</c:v>
                </c:pt>
              </c:numCache>
            </c:numRef>
          </c:val>
          <c:smooth val="0"/>
        </c:ser>
        <c:ser>
          <c:idx val="1"/>
          <c:order val="1"/>
          <c:tx>
            <c:strRef>
              <c:f>Sheet1!$A$6</c:f>
              <c:strCache>
                <c:ptCount val="1"/>
                <c:pt idx="0">
                  <c:v>Asia*</c:v>
                </c:pt>
              </c:strCache>
            </c:strRef>
          </c:tx>
          <c:spPr>
            <a:ln w="57150" cap="rnd">
              <a:solidFill>
                <a:schemeClr val="accent2"/>
              </a:solidFill>
              <a:round/>
            </a:ln>
            <a:effectLst/>
          </c:spPr>
          <c:marker>
            <c:symbol val="none"/>
          </c:marker>
          <c:cat>
            <c:numRef>
              <c:f>Sheet1!$B$4:$H$4</c:f>
              <c:numCache>
                <c:formatCode>General</c:formatCode>
                <c:ptCount val="7"/>
                <c:pt idx="0">
                  <c:v>1990</c:v>
                </c:pt>
                <c:pt idx="1">
                  <c:v>1995</c:v>
                </c:pt>
                <c:pt idx="2">
                  <c:v>2000</c:v>
                </c:pt>
                <c:pt idx="3">
                  <c:v>2005</c:v>
                </c:pt>
                <c:pt idx="4">
                  <c:v>2010</c:v>
                </c:pt>
                <c:pt idx="5">
                  <c:v>2015</c:v>
                </c:pt>
                <c:pt idx="6">
                  <c:v>2020</c:v>
                </c:pt>
              </c:numCache>
            </c:numRef>
          </c:cat>
          <c:val>
            <c:numRef>
              <c:f>Sheet1!$B$6:$H$6</c:f>
              <c:numCache>
                <c:formatCode>General</c:formatCode>
                <c:ptCount val="7"/>
                <c:pt idx="0">
                  <c:v>189.9</c:v>
                </c:pt>
                <c:pt idx="1">
                  <c:v>164.1</c:v>
                </c:pt>
                <c:pt idx="2">
                  <c:v>138</c:v>
                </c:pt>
                <c:pt idx="3">
                  <c:v>117.4</c:v>
                </c:pt>
                <c:pt idx="4">
                  <c:v>99.5</c:v>
                </c:pt>
                <c:pt idx="5">
                  <c:v>83.9</c:v>
                </c:pt>
                <c:pt idx="6">
                  <c:v>68.400000000000006</c:v>
                </c:pt>
              </c:numCache>
            </c:numRef>
          </c:val>
          <c:smooth val="0"/>
        </c:ser>
        <c:ser>
          <c:idx val="2"/>
          <c:order val="2"/>
          <c:tx>
            <c:strRef>
              <c:f>Sheet1!$A$7</c:f>
              <c:strCache>
                <c:ptCount val="1"/>
                <c:pt idx="0">
                  <c:v>Developing countries</c:v>
                </c:pt>
              </c:strCache>
            </c:strRef>
          </c:tx>
          <c:spPr>
            <a:ln w="57150" cap="rnd">
              <a:solidFill>
                <a:schemeClr val="accent6">
                  <a:lumMod val="75000"/>
                </a:schemeClr>
              </a:solidFill>
              <a:round/>
            </a:ln>
            <a:effectLst/>
          </c:spPr>
          <c:marker>
            <c:symbol val="none"/>
          </c:marker>
          <c:cat>
            <c:numRef>
              <c:f>Sheet1!$B$4:$H$4</c:f>
              <c:numCache>
                <c:formatCode>General</c:formatCode>
                <c:ptCount val="7"/>
                <c:pt idx="0">
                  <c:v>1990</c:v>
                </c:pt>
                <c:pt idx="1">
                  <c:v>1995</c:v>
                </c:pt>
                <c:pt idx="2">
                  <c:v>2000</c:v>
                </c:pt>
                <c:pt idx="3">
                  <c:v>2005</c:v>
                </c:pt>
                <c:pt idx="4">
                  <c:v>2010</c:v>
                </c:pt>
                <c:pt idx="5">
                  <c:v>2015</c:v>
                </c:pt>
                <c:pt idx="6">
                  <c:v>2020</c:v>
                </c:pt>
              </c:numCache>
            </c:numRef>
          </c:cat>
          <c:val>
            <c:numRef>
              <c:f>Sheet1!$B$7:$H$7</c:f>
              <c:numCache>
                <c:formatCode>General</c:formatCode>
                <c:ptCount val="7"/>
                <c:pt idx="0">
                  <c:v>248.4</c:v>
                </c:pt>
                <c:pt idx="1">
                  <c:v>224.2</c:v>
                </c:pt>
                <c:pt idx="2">
                  <c:v>199.9</c:v>
                </c:pt>
                <c:pt idx="3">
                  <c:v>182.2</c:v>
                </c:pt>
                <c:pt idx="4">
                  <c:v>167.2</c:v>
                </c:pt>
                <c:pt idx="5">
                  <c:v>153.19999999999999</c:v>
                </c:pt>
                <c:pt idx="6">
                  <c:v>137.9</c:v>
                </c:pt>
              </c:numCache>
            </c:numRef>
          </c:val>
          <c:smooth val="0"/>
        </c:ser>
        <c:dLbls>
          <c:showLegendKey val="0"/>
          <c:showVal val="0"/>
          <c:showCatName val="0"/>
          <c:showSerName val="0"/>
          <c:showPercent val="0"/>
          <c:showBubbleSize val="0"/>
        </c:dLbls>
        <c:smooth val="0"/>
        <c:axId val="243393600"/>
        <c:axId val="243390072"/>
      </c:lineChart>
      <c:catAx>
        <c:axId val="243393600"/>
        <c:scaling>
          <c:orientation val="minMax"/>
        </c:scaling>
        <c:delete val="0"/>
        <c:axPos val="b"/>
        <c:numFmt formatCode="General" sourceLinked="1"/>
        <c:majorTickMark val="none"/>
        <c:minorTickMark val="none"/>
        <c:tickLblPos val="nextTo"/>
        <c:spPr>
          <a:noFill/>
          <a:ln w="12700" cap="flat" cmpd="sng" algn="ctr">
            <a:solidFill>
              <a:schemeClr val="bg1"/>
            </a:solidFill>
            <a:round/>
          </a:ln>
          <a:effectLst/>
        </c:spPr>
        <c:txPr>
          <a:bodyPr rot="-60000000" spcFirstLastPara="1" vertOverflow="ellipsis" vert="horz" wrap="square" anchor="ctr" anchorCtr="1"/>
          <a:lstStyle/>
          <a:p>
            <a:pPr>
              <a:defRPr sz="800" b="0"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crossAx val="243390072"/>
        <c:crosses val="autoZero"/>
        <c:auto val="1"/>
        <c:lblAlgn val="ctr"/>
        <c:lblOffset val="100"/>
        <c:noMultiLvlLbl val="0"/>
      </c:catAx>
      <c:valAx>
        <c:axId val="243390072"/>
        <c:scaling>
          <c:orientation val="minMax"/>
        </c:scaling>
        <c:delete val="0"/>
        <c:axPos val="l"/>
        <c:majorGridlines>
          <c:spPr>
            <a:ln w="12700" cap="flat" cmpd="sng" algn="ctr">
              <a:solidFill>
                <a:schemeClr val="bg1"/>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crossAx val="2433936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110689477068"/>
          <c:y val="4.3509895524897799E-2"/>
          <c:w val="0.87623796661818698"/>
          <c:h val="0.84112356428984003"/>
        </c:manualLayout>
      </c:layout>
      <c:areaChart>
        <c:grouping val="standard"/>
        <c:varyColors val="0"/>
        <c:ser>
          <c:idx val="0"/>
          <c:order val="0"/>
          <c:tx>
            <c:strRef>
              <c:f>[1]Sheet1!$A$6</c:f>
              <c:strCache>
                <c:ptCount val="1"/>
                <c:pt idx="0">
                  <c:v>With Climate Change</c:v>
                </c:pt>
              </c:strCache>
            </c:strRef>
          </c:tx>
          <c:spPr>
            <a:solidFill>
              <a:schemeClr val="accent2"/>
            </a:solidFill>
            <a:ln>
              <a:noFill/>
            </a:ln>
            <a:effectLst/>
          </c:spPr>
          <c:cat>
            <c:numRef>
              <c:f>[1]Sheet1!$B$5:$J$5</c:f>
              <c:numCache>
                <c:formatCode>General</c:formatCode>
                <c:ptCount val="9"/>
                <c:pt idx="0">
                  <c:v>2010</c:v>
                </c:pt>
                <c:pt idx="1">
                  <c:v>2015</c:v>
                </c:pt>
                <c:pt idx="2">
                  <c:v>2020</c:v>
                </c:pt>
                <c:pt idx="3">
                  <c:v>2025</c:v>
                </c:pt>
                <c:pt idx="4">
                  <c:v>2030</c:v>
                </c:pt>
                <c:pt idx="5">
                  <c:v>2035</c:v>
                </c:pt>
                <c:pt idx="6">
                  <c:v>2040</c:v>
                </c:pt>
                <c:pt idx="7">
                  <c:v>2045</c:v>
                </c:pt>
                <c:pt idx="8">
                  <c:v>2050</c:v>
                </c:pt>
              </c:numCache>
            </c:numRef>
          </c:cat>
          <c:val>
            <c:numRef>
              <c:f>[1]Sheet1!$B$6:$J$6</c:f>
              <c:numCache>
                <c:formatCode>General</c:formatCode>
                <c:ptCount val="9"/>
                <c:pt idx="0">
                  <c:v>1</c:v>
                </c:pt>
                <c:pt idx="1">
                  <c:v>1.05947643452485</c:v>
                </c:pt>
                <c:pt idx="2">
                  <c:v>1.1237194791173559</c:v>
                </c:pt>
                <c:pt idx="3">
                  <c:v>1.1896284075813599</c:v>
                </c:pt>
                <c:pt idx="4">
                  <c:v>1.2422040544241919</c:v>
                </c:pt>
                <c:pt idx="5">
                  <c:v>1.304915818893198</c:v>
                </c:pt>
                <c:pt idx="6">
                  <c:v>1.370288340024727</c:v>
                </c:pt>
                <c:pt idx="7">
                  <c:v>1.4430336788288241</c:v>
                </c:pt>
                <c:pt idx="8">
                  <c:v>1.5113456752571679</c:v>
                </c:pt>
              </c:numCache>
            </c:numRef>
          </c:val>
        </c:ser>
        <c:ser>
          <c:idx val="1"/>
          <c:order val="1"/>
          <c:tx>
            <c:strRef>
              <c:f>[1]Sheet1!$A$7</c:f>
              <c:strCache>
                <c:ptCount val="1"/>
              </c:strCache>
            </c:strRef>
          </c:tx>
          <c:spPr>
            <a:solidFill>
              <a:schemeClr val="bg1"/>
            </a:solidFill>
            <a:ln>
              <a:noFill/>
            </a:ln>
            <a:effectLst/>
          </c:spPr>
          <c:cat>
            <c:numRef>
              <c:f>[1]Sheet1!$B$5:$J$5</c:f>
              <c:numCache>
                <c:formatCode>General</c:formatCode>
                <c:ptCount val="9"/>
                <c:pt idx="0">
                  <c:v>2010</c:v>
                </c:pt>
                <c:pt idx="1">
                  <c:v>2015</c:v>
                </c:pt>
                <c:pt idx="2">
                  <c:v>2020</c:v>
                </c:pt>
                <c:pt idx="3">
                  <c:v>2025</c:v>
                </c:pt>
                <c:pt idx="4">
                  <c:v>2030</c:v>
                </c:pt>
                <c:pt idx="5">
                  <c:v>2035</c:v>
                </c:pt>
                <c:pt idx="6">
                  <c:v>2040</c:v>
                </c:pt>
                <c:pt idx="7">
                  <c:v>2045</c:v>
                </c:pt>
                <c:pt idx="8">
                  <c:v>2050</c:v>
                </c:pt>
              </c:numCache>
            </c:numRef>
          </c:cat>
          <c:val>
            <c:numRef>
              <c:f>[1]Sheet1!$B$7:$J$7</c:f>
              <c:numCache>
                <c:formatCode>General</c:formatCode>
                <c:ptCount val="9"/>
                <c:pt idx="0">
                  <c:v>1</c:v>
                </c:pt>
                <c:pt idx="1">
                  <c:v>1.04037538109336</c:v>
                </c:pt>
                <c:pt idx="2">
                  <c:v>1.0839219728431051</c:v>
                </c:pt>
                <c:pt idx="3">
                  <c:v>1.126999225546325</c:v>
                </c:pt>
                <c:pt idx="4">
                  <c:v>1.155780040577006</c:v>
                </c:pt>
                <c:pt idx="5">
                  <c:v>1.19096323278239</c:v>
                </c:pt>
                <c:pt idx="6">
                  <c:v>1.226688484181349</c:v>
                </c:pt>
                <c:pt idx="7">
                  <c:v>1.2670330256553859</c:v>
                </c:pt>
                <c:pt idx="8">
                  <c:v>1.3018704936299941</c:v>
                </c:pt>
              </c:numCache>
            </c:numRef>
          </c:val>
        </c:ser>
        <c:dLbls>
          <c:showLegendKey val="0"/>
          <c:showVal val="0"/>
          <c:showCatName val="0"/>
          <c:showSerName val="0"/>
          <c:showPercent val="0"/>
          <c:showBubbleSize val="0"/>
        </c:dLbls>
        <c:axId val="243392816"/>
        <c:axId val="195749048"/>
      </c:areaChart>
      <c:lineChart>
        <c:grouping val="standard"/>
        <c:varyColors val="0"/>
        <c:ser>
          <c:idx val="2"/>
          <c:order val="2"/>
          <c:tx>
            <c:strRef>
              <c:f>[1]Sheet1!$A$8</c:f>
              <c:strCache>
                <c:ptCount val="1"/>
                <c:pt idx="0">
                  <c:v>Average</c:v>
                </c:pt>
              </c:strCache>
            </c:strRef>
          </c:tx>
          <c:spPr>
            <a:ln w="38100" cap="rnd">
              <a:solidFill>
                <a:schemeClr val="accent1"/>
              </a:solidFill>
              <a:round/>
            </a:ln>
            <a:effectLst/>
          </c:spPr>
          <c:marker>
            <c:symbol val="none"/>
          </c:marker>
          <c:val>
            <c:numRef>
              <c:f>[1]Sheet1!$B$8:$J$8</c:f>
              <c:numCache>
                <c:formatCode>General</c:formatCode>
                <c:ptCount val="9"/>
                <c:pt idx="0">
                  <c:v>1</c:v>
                </c:pt>
                <c:pt idx="1">
                  <c:v>1.050980236018654</c:v>
                </c:pt>
                <c:pt idx="2">
                  <c:v>1.1060566234217679</c:v>
                </c:pt>
                <c:pt idx="3">
                  <c:v>1.1618815325463749</c:v>
                </c:pt>
                <c:pt idx="4">
                  <c:v>1.204003831645617</c:v>
                </c:pt>
                <c:pt idx="5">
                  <c:v>1.254859855074212</c:v>
                </c:pt>
                <c:pt idx="6">
                  <c:v>1.3075106472705611</c:v>
                </c:pt>
                <c:pt idx="7">
                  <c:v>1.3662501634084021</c:v>
                </c:pt>
                <c:pt idx="8">
                  <c:v>1.4201276395730129</c:v>
                </c:pt>
              </c:numCache>
            </c:numRef>
          </c:val>
          <c:smooth val="0"/>
        </c:ser>
        <c:ser>
          <c:idx val="3"/>
          <c:order val="3"/>
          <c:tx>
            <c:strRef>
              <c:f>[1]Sheet1!$A$9</c:f>
              <c:strCache>
                <c:ptCount val="1"/>
                <c:pt idx="0">
                  <c:v>No Climate Change</c:v>
                </c:pt>
              </c:strCache>
            </c:strRef>
          </c:tx>
          <c:spPr>
            <a:ln w="38100" cap="rnd">
              <a:solidFill>
                <a:schemeClr val="tx2"/>
              </a:solidFill>
              <a:round/>
            </a:ln>
            <a:effectLst/>
          </c:spPr>
          <c:marker>
            <c:symbol val="none"/>
          </c:marker>
          <c:val>
            <c:numRef>
              <c:f>[1]Sheet1!$B$9:$J$9</c:f>
              <c:numCache>
                <c:formatCode>General</c:formatCode>
                <c:ptCount val="9"/>
                <c:pt idx="0">
                  <c:v>1</c:v>
                </c:pt>
                <c:pt idx="1">
                  <c:v>1.0304151548209659</c:v>
                </c:pt>
                <c:pt idx="2">
                  <c:v>1.063930160154726</c:v>
                </c:pt>
                <c:pt idx="3">
                  <c:v>1.096214839380653</c:v>
                </c:pt>
                <c:pt idx="4">
                  <c:v>1.114000416035966</c:v>
                </c:pt>
                <c:pt idx="5">
                  <c:v>1.1383124111670331</c:v>
                </c:pt>
                <c:pt idx="6">
                  <c:v>1.161878107436161</c:v>
                </c:pt>
                <c:pt idx="7">
                  <c:v>1.187731749658218</c:v>
                </c:pt>
                <c:pt idx="8">
                  <c:v>1.208064669537992</c:v>
                </c:pt>
              </c:numCache>
            </c:numRef>
          </c:val>
          <c:smooth val="0"/>
        </c:ser>
        <c:dLbls>
          <c:showLegendKey val="0"/>
          <c:showVal val="0"/>
          <c:showCatName val="0"/>
          <c:showSerName val="0"/>
          <c:showPercent val="0"/>
          <c:showBubbleSize val="0"/>
        </c:dLbls>
        <c:marker val="1"/>
        <c:smooth val="0"/>
        <c:axId val="243392816"/>
        <c:axId val="195749048"/>
      </c:lineChart>
      <c:catAx>
        <c:axId val="243392816"/>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crossAx val="195749048"/>
        <c:crosses val="autoZero"/>
        <c:auto val="1"/>
        <c:lblAlgn val="ctr"/>
        <c:lblOffset val="100"/>
        <c:noMultiLvlLbl val="0"/>
      </c:catAx>
      <c:valAx>
        <c:axId val="195749048"/>
        <c:scaling>
          <c:orientation val="minMax"/>
          <c:max val="1.6"/>
          <c:min val="0.9"/>
        </c:scaling>
        <c:delete val="0"/>
        <c:axPos val="l"/>
        <c:numFmt formatCode="#,##0.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crossAx val="243392816"/>
        <c:crosses val="autoZero"/>
        <c:crossBetween val="between"/>
        <c:majorUnit val="0.1"/>
      </c:valAx>
      <c:spPr>
        <a:noFill/>
        <a:ln>
          <a:noFill/>
        </a:ln>
        <a:effectLst/>
      </c:spPr>
    </c:plotArea>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719835019659"/>
          <c:y val="4.4989775051124802E-2"/>
          <c:w val="0.86503774494475205"/>
          <c:h val="0.83201069191504395"/>
        </c:manualLayout>
      </c:layout>
      <c:areaChart>
        <c:grouping val="standard"/>
        <c:varyColors val="0"/>
        <c:ser>
          <c:idx val="0"/>
          <c:order val="0"/>
          <c:tx>
            <c:strRef>
              <c:f>'D:\BING_VALMONTE-SANTOS\Eptd\Management\IFPRIs 40th anniversary\data\[cereals-roots-tubers-Daniel.xlsx]Sheet1'!$A$48</c:f>
              <c:strCache>
                <c:ptCount val="1"/>
                <c:pt idx="0">
                  <c:v>With Climate Change</c:v>
                </c:pt>
              </c:strCache>
            </c:strRef>
          </c:tx>
          <c:spPr>
            <a:solidFill>
              <a:schemeClr val="accent2"/>
            </a:solidFill>
            <a:ln>
              <a:noFill/>
            </a:ln>
            <a:effectLst/>
          </c:spPr>
          <c:cat>
            <c:numRef>
              <c:f>[2]Sheet1!$B$47:$J$47</c:f>
              <c:numCache>
                <c:formatCode>General</c:formatCode>
                <c:ptCount val="9"/>
                <c:pt idx="0">
                  <c:v>2010</c:v>
                </c:pt>
                <c:pt idx="1">
                  <c:v>2015</c:v>
                </c:pt>
                <c:pt idx="2">
                  <c:v>2020</c:v>
                </c:pt>
                <c:pt idx="3">
                  <c:v>2025</c:v>
                </c:pt>
                <c:pt idx="4">
                  <c:v>2030</c:v>
                </c:pt>
                <c:pt idx="5">
                  <c:v>2035</c:v>
                </c:pt>
                <c:pt idx="6">
                  <c:v>2040</c:v>
                </c:pt>
                <c:pt idx="7">
                  <c:v>2045</c:v>
                </c:pt>
                <c:pt idx="8">
                  <c:v>2050</c:v>
                </c:pt>
              </c:numCache>
            </c:numRef>
          </c:cat>
          <c:val>
            <c:numRef>
              <c:f>[2]Sheet1!$B$48:$J$48</c:f>
              <c:numCache>
                <c:formatCode>General</c:formatCode>
                <c:ptCount val="9"/>
                <c:pt idx="0">
                  <c:v>1</c:v>
                </c:pt>
                <c:pt idx="1">
                  <c:v>1.044339903739377</c:v>
                </c:pt>
                <c:pt idx="2">
                  <c:v>1.0948316077979801</c:v>
                </c:pt>
                <c:pt idx="3">
                  <c:v>1.153463881521491</c:v>
                </c:pt>
                <c:pt idx="4">
                  <c:v>1.193941863063358</c:v>
                </c:pt>
                <c:pt idx="5">
                  <c:v>1.2374319304830479</c:v>
                </c:pt>
                <c:pt idx="6">
                  <c:v>1.265072658973035</c:v>
                </c:pt>
                <c:pt idx="7">
                  <c:v>1.3074977087377251</c:v>
                </c:pt>
                <c:pt idx="8">
                  <c:v>1.3901058132913811</c:v>
                </c:pt>
              </c:numCache>
            </c:numRef>
          </c:val>
        </c:ser>
        <c:ser>
          <c:idx val="1"/>
          <c:order val="1"/>
          <c:tx>
            <c:strRef>
              <c:f>'D:\BING_VALMONTE-SANTOS\Eptd\Management\IFPRIs 40th anniversary\data\[cereals-roots-tubers-Daniel.xlsx]Sheet1'!$A$49</c:f>
              <c:strCache>
                <c:ptCount val="1"/>
              </c:strCache>
            </c:strRef>
          </c:tx>
          <c:spPr>
            <a:solidFill>
              <a:schemeClr val="bg1"/>
            </a:solidFill>
            <a:ln>
              <a:noFill/>
            </a:ln>
            <a:effectLst/>
          </c:spPr>
          <c:cat>
            <c:numRef>
              <c:f>[2]Sheet1!$B$47:$J$47</c:f>
              <c:numCache>
                <c:formatCode>General</c:formatCode>
                <c:ptCount val="9"/>
                <c:pt idx="0">
                  <c:v>2010</c:v>
                </c:pt>
                <c:pt idx="1">
                  <c:v>2015</c:v>
                </c:pt>
                <c:pt idx="2">
                  <c:v>2020</c:v>
                </c:pt>
                <c:pt idx="3">
                  <c:v>2025</c:v>
                </c:pt>
                <c:pt idx="4">
                  <c:v>2030</c:v>
                </c:pt>
                <c:pt idx="5">
                  <c:v>2035</c:v>
                </c:pt>
                <c:pt idx="6">
                  <c:v>2040</c:v>
                </c:pt>
                <c:pt idx="7">
                  <c:v>2045</c:v>
                </c:pt>
                <c:pt idx="8">
                  <c:v>2050</c:v>
                </c:pt>
              </c:numCache>
            </c:numRef>
          </c:cat>
          <c:val>
            <c:numRef>
              <c:f>[2]Sheet1!$B$49:$J$49</c:f>
              <c:numCache>
                <c:formatCode>General</c:formatCode>
                <c:ptCount val="9"/>
                <c:pt idx="0">
                  <c:v>1</c:v>
                </c:pt>
                <c:pt idx="1">
                  <c:v>1.0369920207791199</c:v>
                </c:pt>
                <c:pt idx="2">
                  <c:v>1.0794356205850599</c:v>
                </c:pt>
                <c:pt idx="3">
                  <c:v>1.12919533936641</c:v>
                </c:pt>
                <c:pt idx="4">
                  <c:v>1.160497699997932</c:v>
                </c:pt>
                <c:pt idx="5">
                  <c:v>1.1932107220879979</c:v>
                </c:pt>
                <c:pt idx="6">
                  <c:v>1.2097066869653079</c:v>
                </c:pt>
                <c:pt idx="7">
                  <c:v>1.2395399646928891</c:v>
                </c:pt>
                <c:pt idx="8">
                  <c:v>1.3057003888594969</c:v>
                </c:pt>
              </c:numCache>
            </c:numRef>
          </c:val>
        </c:ser>
        <c:dLbls>
          <c:showLegendKey val="0"/>
          <c:showVal val="0"/>
          <c:showCatName val="0"/>
          <c:showSerName val="0"/>
          <c:showPercent val="0"/>
          <c:showBubbleSize val="0"/>
        </c:dLbls>
        <c:axId val="306805552"/>
        <c:axId val="306804768"/>
      </c:areaChart>
      <c:lineChart>
        <c:grouping val="standard"/>
        <c:varyColors val="0"/>
        <c:ser>
          <c:idx val="2"/>
          <c:order val="2"/>
          <c:tx>
            <c:strRef>
              <c:f>'D:\BING_VALMONTE-SANTOS\Eptd\Management\IFPRIs 40th anniversary\data\[cereals-roots-tubers-Daniel.xlsx]Sheet1'!$A$50</c:f>
              <c:strCache>
                <c:ptCount val="1"/>
                <c:pt idx="0">
                  <c:v>Average</c:v>
                </c:pt>
              </c:strCache>
            </c:strRef>
          </c:tx>
          <c:spPr>
            <a:ln w="38100" cap="rnd">
              <a:solidFill>
                <a:schemeClr val="accent1"/>
              </a:solidFill>
              <a:round/>
            </a:ln>
            <a:effectLst/>
          </c:spPr>
          <c:marker>
            <c:symbol val="none"/>
          </c:marker>
          <c:val>
            <c:numRef>
              <c:f>[2]Sheet1!$B$50:$J$50</c:f>
              <c:numCache>
                <c:formatCode>General</c:formatCode>
                <c:ptCount val="9"/>
                <c:pt idx="0">
                  <c:v>1</c:v>
                </c:pt>
                <c:pt idx="1">
                  <c:v>1.041848095449331</c:v>
                </c:pt>
                <c:pt idx="2">
                  <c:v>1.0896003184269061</c:v>
                </c:pt>
                <c:pt idx="3">
                  <c:v>1.145286636996486</c:v>
                </c:pt>
                <c:pt idx="4">
                  <c:v>1.182792403641135</c:v>
                </c:pt>
                <c:pt idx="5">
                  <c:v>1.222528881886306</c:v>
                </c:pt>
                <c:pt idx="6">
                  <c:v>1.2462097404707619</c:v>
                </c:pt>
                <c:pt idx="7">
                  <c:v>1.2841258028797209</c:v>
                </c:pt>
                <c:pt idx="8">
                  <c:v>1.360667074210304</c:v>
                </c:pt>
              </c:numCache>
            </c:numRef>
          </c:val>
          <c:smooth val="0"/>
        </c:ser>
        <c:ser>
          <c:idx val="3"/>
          <c:order val="3"/>
          <c:tx>
            <c:strRef>
              <c:f>'D:\BING_VALMONTE-SANTOS\Eptd\Management\IFPRIs 40th anniversary\data\[cereals-roots-tubers-Daniel.xlsx]Sheet1'!$A$51</c:f>
              <c:strCache>
                <c:ptCount val="1"/>
                <c:pt idx="0">
                  <c:v>No Climate Change</c:v>
                </c:pt>
              </c:strCache>
            </c:strRef>
          </c:tx>
          <c:spPr>
            <a:ln w="38100" cap="rnd">
              <a:solidFill>
                <a:schemeClr val="tx2"/>
              </a:solidFill>
              <a:round/>
            </a:ln>
            <a:effectLst/>
          </c:spPr>
          <c:marker>
            <c:symbol val="none"/>
          </c:marker>
          <c:val>
            <c:numRef>
              <c:f>[2]Sheet1!$B$51:$J$51</c:f>
              <c:numCache>
                <c:formatCode>General</c:formatCode>
                <c:ptCount val="9"/>
                <c:pt idx="0">
                  <c:v>1</c:v>
                </c:pt>
                <c:pt idx="1">
                  <c:v>1.033954884567154</c:v>
                </c:pt>
                <c:pt idx="2">
                  <c:v>1.0726925849377029</c:v>
                </c:pt>
                <c:pt idx="3">
                  <c:v>1.1179178521450459</c:v>
                </c:pt>
                <c:pt idx="4">
                  <c:v>1.1444779198166779</c:v>
                </c:pt>
                <c:pt idx="5">
                  <c:v>1.1715923104803641</c:v>
                </c:pt>
                <c:pt idx="6">
                  <c:v>1.1821905804069821</c:v>
                </c:pt>
                <c:pt idx="7">
                  <c:v>1.204936413879462</c:v>
                </c:pt>
                <c:pt idx="8">
                  <c:v>1.2618490988004329</c:v>
                </c:pt>
              </c:numCache>
            </c:numRef>
          </c:val>
          <c:smooth val="0"/>
        </c:ser>
        <c:dLbls>
          <c:showLegendKey val="0"/>
          <c:showVal val="0"/>
          <c:showCatName val="0"/>
          <c:showSerName val="0"/>
          <c:showPercent val="0"/>
          <c:showBubbleSize val="0"/>
        </c:dLbls>
        <c:marker val="1"/>
        <c:smooth val="0"/>
        <c:axId val="306805552"/>
        <c:axId val="306804768"/>
      </c:lineChart>
      <c:catAx>
        <c:axId val="306805552"/>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crossAx val="306804768"/>
        <c:crosses val="autoZero"/>
        <c:auto val="1"/>
        <c:lblAlgn val="ctr"/>
        <c:lblOffset val="100"/>
        <c:noMultiLvlLbl val="0"/>
      </c:catAx>
      <c:valAx>
        <c:axId val="306804768"/>
        <c:scaling>
          <c:orientation val="minMax"/>
          <c:max val="1.6"/>
          <c:min val="0.9"/>
        </c:scaling>
        <c:delete val="0"/>
        <c:axPos val="l"/>
        <c:numFmt formatCode="#,##0.0" sourceLinked="0"/>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crossAx val="306805552"/>
        <c:crosses val="autoZero"/>
        <c:crossBetween val="between"/>
        <c:majorUnit val="0.1"/>
      </c:valAx>
      <c:spPr>
        <a:noFill/>
        <a:ln>
          <a:noFill/>
        </a:ln>
        <a:effectLst/>
      </c:spPr>
    </c:plotArea>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chemeClr val="accent1"/>
                </a:solidFill>
                <a:latin typeface="Arial" panose="020B0604020202020204" pitchFamily="34" charset="0"/>
                <a:ea typeface="+mn-ea"/>
                <a:cs typeface="Arial" panose="020B0604020202020204" pitchFamily="34" charset="0"/>
              </a:defRPr>
            </a:pPr>
            <a:r>
              <a:rPr lang="en-US" sz="1800" b="1" dirty="0">
                <a:solidFill>
                  <a:schemeClr val="accent1"/>
                </a:solidFill>
                <a:latin typeface="Arial" panose="020B0604020202020204" pitchFamily="34" charset="0"/>
                <a:cs typeface="Arial" panose="020B0604020202020204" pitchFamily="34" charset="0"/>
              </a:rPr>
              <a:t>Per capita food consumption </a:t>
            </a:r>
            <a:r>
              <a:rPr lang="en-US" sz="1200" b="0" i="1" dirty="0">
                <a:solidFill>
                  <a:schemeClr val="accent1"/>
                </a:solidFill>
                <a:latin typeface="Arial" panose="020B0604020202020204" pitchFamily="34" charset="0"/>
                <a:cs typeface="Arial" panose="020B0604020202020204" pitchFamily="34" charset="0"/>
              </a:rPr>
              <a:t>(</a:t>
            </a:r>
            <a:r>
              <a:rPr lang="en-US" sz="1200" b="0" i="1" dirty="0" smtClean="0">
                <a:solidFill>
                  <a:schemeClr val="accent1"/>
                </a:solidFill>
                <a:latin typeface="Arial" panose="020B0604020202020204" pitchFamily="34" charset="0"/>
                <a:cs typeface="Arial" panose="020B0604020202020204" pitchFamily="34" charset="0"/>
              </a:rPr>
              <a:t>kcal/person/day)</a:t>
            </a:r>
            <a:endParaRPr lang="en-US" sz="1200" b="0" i="1" dirty="0">
              <a:solidFill>
                <a:schemeClr val="accent1"/>
              </a:solidFill>
              <a:latin typeface="Arial" panose="020B0604020202020204" pitchFamily="34" charset="0"/>
              <a:cs typeface="Arial" panose="020B0604020202020204" pitchFamily="34" charset="0"/>
            </a:endParaRPr>
          </a:p>
        </c:rich>
      </c:tx>
      <c:layout>
        <c:manualLayout>
          <c:xMode val="edge"/>
          <c:yMode val="edge"/>
          <c:x val="5.9915118013508404E-3"/>
          <c:y val="4.6014923698593301E-2"/>
        </c:manualLayout>
      </c:layout>
      <c:overlay val="0"/>
      <c:spPr>
        <a:noFill/>
        <a:ln>
          <a:noFill/>
        </a:ln>
        <a:effectLst/>
      </c:spPr>
      <c:txPr>
        <a:bodyPr rot="0" spcFirstLastPara="1" vertOverflow="ellipsis" vert="horz" wrap="square" anchor="ctr" anchorCtr="1"/>
        <a:lstStyle/>
        <a:p>
          <a:pPr>
            <a:defRPr sz="1800" b="1" i="0" u="none" strike="noStrike" kern="1200" spc="0" baseline="0">
              <a:solidFill>
                <a:schemeClr val="accent1"/>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5.3575577098901803E-2"/>
          <c:y val="0.16254784562817001"/>
          <c:w val="0.92987800310666002"/>
          <c:h val="0.78681807050495201"/>
        </c:manualLayout>
      </c:layout>
      <c:barChart>
        <c:barDir val="col"/>
        <c:grouping val="clustered"/>
        <c:varyColors val="0"/>
        <c:ser>
          <c:idx val="1"/>
          <c:order val="0"/>
          <c:tx>
            <c:strRef>
              <c:f>consumption!$C$4</c:f>
              <c:strCache>
                <c:ptCount val="1"/>
                <c:pt idx="0">
                  <c:v>1979/1981</c:v>
                </c:pt>
              </c:strCache>
            </c:strRef>
          </c:tx>
          <c:spPr>
            <a:solidFill>
              <a:schemeClr val="accent2"/>
            </a:solidFill>
            <a:ln>
              <a:noFill/>
            </a:ln>
            <a:effectLst/>
          </c:spPr>
          <c:invertIfNegative val="0"/>
          <c:cat>
            <c:strRef>
              <c:f>consumption!$A$5:$A$9</c:f>
              <c:strCache>
                <c:ptCount val="5"/>
                <c:pt idx="0">
                  <c:v>World</c:v>
                </c:pt>
                <c:pt idx="1">
                  <c:v>Industrial countries</c:v>
                </c:pt>
                <c:pt idx="2">
                  <c:v>Developing countries</c:v>
                </c:pt>
                <c:pt idx="3">
                  <c:v>South Asia</c:v>
                </c:pt>
                <c:pt idx="4">
                  <c:v>Africa south of the Sahara</c:v>
                </c:pt>
              </c:strCache>
            </c:strRef>
          </c:cat>
          <c:val>
            <c:numRef>
              <c:f>consumption!$C$5:$C$9</c:f>
              <c:numCache>
                <c:formatCode>General</c:formatCode>
                <c:ptCount val="5"/>
                <c:pt idx="0">
                  <c:v>2549</c:v>
                </c:pt>
                <c:pt idx="1">
                  <c:v>3133</c:v>
                </c:pt>
                <c:pt idx="2">
                  <c:v>2308</c:v>
                </c:pt>
                <c:pt idx="3">
                  <c:v>2084</c:v>
                </c:pt>
                <c:pt idx="4">
                  <c:v>2078</c:v>
                </c:pt>
              </c:numCache>
            </c:numRef>
          </c:val>
        </c:ser>
        <c:ser>
          <c:idx val="4"/>
          <c:order val="1"/>
          <c:tx>
            <c:strRef>
              <c:f>consumption!$F$4</c:f>
              <c:strCache>
                <c:ptCount val="1"/>
                <c:pt idx="0">
                  <c:v>2010</c:v>
                </c:pt>
              </c:strCache>
            </c:strRef>
          </c:tx>
          <c:spPr>
            <a:solidFill>
              <a:schemeClr val="accent5"/>
            </a:solidFill>
            <a:ln>
              <a:noFill/>
            </a:ln>
            <a:effectLst/>
          </c:spPr>
          <c:invertIfNegative val="0"/>
          <c:cat>
            <c:strRef>
              <c:f>consumption!$A$5:$A$9</c:f>
              <c:strCache>
                <c:ptCount val="5"/>
                <c:pt idx="0">
                  <c:v>World</c:v>
                </c:pt>
                <c:pt idx="1">
                  <c:v>Industrial countries</c:v>
                </c:pt>
                <c:pt idx="2">
                  <c:v>Developing countries</c:v>
                </c:pt>
                <c:pt idx="3">
                  <c:v>South Asia</c:v>
                </c:pt>
                <c:pt idx="4">
                  <c:v>Africa south of the Sahara</c:v>
                </c:pt>
              </c:strCache>
            </c:strRef>
          </c:cat>
          <c:val>
            <c:numRef>
              <c:f>consumption!$F$5:$F$9</c:f>
              <c:numCache>
                <c:formatCode>General</c:formatCode>
                <c:ptCount val="5"/>
                <c:pt idx="0">
                  <c:v>2796</c:v>
                </c:pt>
                <c:pt idx="1">
                  <c:v>3385</c:v>
                </c:pt>
                <c:pt idx="2">
                  <c:v>2684</c:v>
                </c:pt>
                <c:pt idx="3">
                  <c:v>2353</c:v>
                </c:pt>
                <c:pt idx="4">
                  <c:v>2378</c:v>
                </c:pt>
              </c:numCache>
            </c:numRef>
          </c:val>
        </c:ser>
        <c:ser>
          <c:idx val="6"/>
          <c:order val="2"/>
          <c:tx>
            <c:strRef>
              <c:f>consumption!$H$4</c:f>
              <c:strCache>
                <c:ptCount val="1"/>
                <c:pt idx="0">
                  <c:v>2050</c:v>
                </c:pt>
              </c:strCache>
            </c:strRef>
          </c:tx>
          <c:spPr>
            <a:solidFill>
              <a:schemeClr val="tx2"/>
            </a:solidFill>
            <a:ln>
              <a:noFill/>
            </a:ln>
            <a:effectLst/>
          </c:spPr>
          <c:invertIfNegative val="0"/>
          <c:cat>
            <c:strRef>
              <c:f>consumption!$A$5:$A$9</c:f>
              <c:strCache>
                <c:ptCount val="5"/>
                <c:pt idx="0">
                  <c:v>World</c:v>
                </c:pt>
                <c:pt idx="1">
                  <c:v>Industrial countries</c:v>
                </c:pt>
                <c:pt idx="2">
                  <c:v>Developing countries</c:v>
                </c:pt>
                <c:pt idx="3">
                  <c:v>South Asia</c:v>
                </c:pt>
                <c:pt idx="4">
                  <c:v>Africa south of the Sahara</c:v>
                </c:pt>
              </c:strCache>
            </c:strRef>
          </c:cat>
          <c:val>
            <c:numRef>
              <c:f>consumption!$H$5:$H$9</c:f>
              <c:numCache>
                <c:formatCode>General</c:formatCode>
                <c:ptCount val="5"/>
                <c:pt idx="0">
                  <c:v>3203</c:v>
                </c:pt>
                <c:pt idx="1">
                  <c:v>3513</c:v>
                </c:pt>
                <c:pt idx="2">
                  <c:v>3152</c:v>
                </c:pt>
                <c:pt idx="3">
                  <c:v>2841</c:v>
                </c:pt>
                <c:pt idx="4">
                  <c:v>3074</c:v>
                </c:pt>
              </c:numCache>
            </c:numRef>
          </c:val>
        </c:ser>
        <c:dLbls>
          <c:showLegendKey val="0"/>
          <c:showVal val="0"/>
          <c:showCatName val="0"/>
          <c:showSerName val="0"/>
          <c:showPercent val="0"/>
          <c:showBubbleSize val="0"/>
        </c:dLbls>
        <c:gapWidth val="219"/>
        <c:axId val="306806336"/>
        <c:axId val="306806728"/>
      </c:barChart>
      <c:catAx>
        <c:axId val="30680633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crossAx val="306806728"/>
        <c:crosses val="autoZero"/>
        <c:auto val="1"/>
        <c:lblAlgn val="ctr"/>
        <c:lblOffset val="100"/>
        <c:noMultiLvlLbl val="0"/>
      </c:catAx>
      <c:valAx>
        <c:axId val="3068067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crossAx val="306806336"/>
        <c:crosses val="autoZero"/>
        <c:crossBetween val="between"/>
      </c:valAx>
      <c:spPr>
        <a:noFill/>
        <a:ln>
          <a:noFill/>
        </a:ln>
        <a:effectLst/>
      </c:spPr>
    </c:plotArea>
    <c:legend>
      <c:legendPos val="b"/>
      <c:layout>
        <c:manualLayout>
          <c:xMode val="edge"/>
          <c:yMode val="edge"/>
          <c:x val="0.54226982955405501"/>
          <c:y val="5.5280640304870197E-2"/>
          <c:w val="0.43245842712306098"/>
          <c:h val="5.4714162667140603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248468941382321E-2"/>
          <c:y val="0.17027223164427399"/>
          <c:w val="0.91928849518810152"/>
          <c:h val="0.76691455950086995"/>
        </c:manualLayout>
      </c:layout>
      <c:barChart>
        <c:barDir val="col"/>
        <c:grouping val="clustered"/>
        <c:varyColors val="0"/>
        <c:ser>
          <c:idx val="0"/>
          <c:order val="0"/>
          <c:tx>
            <c:strRef>
              <c:f>'climate change'!$B$3</c:f>
              <c:strCache>
                <c:ptCount val="1"/>
                <c:pt idx="0">
                  <c:v>2010</c:v>
                </c:pt>
              </c:strCache>
            </c:strRef>
          </c:tx>
          <c:spPr>
            <a:solidFill>
              <a:schemeClr val="tx2"/>
            </a:solidFill>
            <a:ln>
              <a:noFill/>
            </a:ln>
            <a:effectLst/>
          </c:spPr>
          <c:invertIfNegative val="0"/>
          <c:cat>
            <c:strRef>
              <c:f>'climate change'!$A$4:$A$7</c:f>
              <c:strCache>
                <c:ptCount val="3"/>
                <c:pt idx="0">
                  <c:v>Developing Countries</c:v>
                </c:pt>
                <c:pt idx="1">
                  <c:v>South Asia</c:v>
                </c:pt>
                <c:pt idx="2">
                  <c:v>Sub-Saharan Africa</c:v>
                </c:pt>
              </c:strCache>
              <c:extLst/>
            </c:strRef>
          </c:cat>
          <c:val>
            <c:numRef>
              <c:f>'climate change'!$B$4:$B$7</c:f>
              <c:numCache>
                <c:formatCode>General</c:formatCode>
                <c:ptCount val="3"/>
                <c:pt idx="0">
                  <c:v>822.3</c:v>
                </c:pt>
                <c:pt idx="1">
                  <c:v>270.3</c:v>
                </c:pt>
                <c:pt idx="2">
                  <c:v>212.7</c:v>
                </c:pt>
              </c:numCache>
              <c:extLst/>
            </c:numRef>
          </c:val>
        </c:ser>
        <c:ser>
          <c:idx val="1"/>
          <c:order val="1"/>
          <c:tx>
            <c:strRef>
              <c:f>'climate change'!$C$3</c:f>
              <c:strCache>
                <c:ptCount val="1"/>
                <c:pt idx="0">
                  <c:v>2050, No Climate Change</c:v>
                </c:pt>
              </c:strCache>
            </c:strRef>
          </c:tx>
          <c:spPr>
            <a:solidFill>
              <a:schemeClr val="accent5"/>
            </a:solidFill>
            <a:ln>
              <a:noFill/>
            </a:ln>
            <a:effectLst/>
          </c:spPr>
          <c:invertIfNegative val="0"/>
          <c:cat>
            <c:strRef>
              <c:f>'climate change'!$A$4:$A$7</c:f>
              <c:strCache>
                <c:ptCount val="3"/>
                <c:pt idx="0">
                  <c:v>Developing Countries</c:v>
                </c:pt>
                <c:pt idx="1">
                  <c:v>South Asia</c:v>
                </c:pt>
                <c:pt idx="2">
                  <c:v>Sub-Saharan Africa</c:v>
                </c:pt>
              </c:strCache>
              <c:extLst/>
            </c:strRef>
          </c:cat>
          <c:val>
            <c:numRef>
              <c:f>'climate change'!$C$4:$C$7</c:f>
              <c:numCache>
                <c:formatCode>General</c:formatCode>
                <c:ptCount val="3"/>
                <c:pt idx="0">
                  <c:v>386.3</c:v>
                </c:pt>
                <c:pt idx="1">
                  <c:v>97.3</c:v>
                </c:pt>
                <c:pt idx="2">
                  <c:v>127.6</c:v>
                </c:pt>
              </c:numCache>
              <c:extLst/>
            </c:numRef>
          </c:val>
        </c:ser>
        <c:ser>
          <c:idx val="2"/>
          <c:order val="2"/>
          <c:tx>
            <c:strRef>
              <c:f>'climate change'!$D$3</c:f>
              <c:strCache>
                <c:ptCount val="1"/>
                <c:pt idx="0">
                  <c:v>2050, With Climate Change</c:v>
                </c:pt>
              </c:strCache>
            </c:strRef>
          </c:tx>
          <c:spPr>
            <a:solidFill>
              <a:srgbClr val="FF0000"/>
            </a:solidFill>
            <a:ln>
              <a:noFill/>
            </a:ln>
            <a:effectLst/>
          </c:spPr>
          <c:invertIfNegative val="0"/>
          <c:cat>
            <c:strRef>
              <c:f>'climate change'!$A$4:$A$7</c:f>
              <c:strCache>
                <c:ptCount val="3"/>
                <c:pt idx="0">
                  <c:v>Developing Countries</c:v>
                </c:pt>
                <c:pt idx="1">
                  <c:v>South Asia</c:v>
                </c:pt>
                <c:pt idx="2">
                  <c:v>Sub-Saharan Africa</c:v>
                </c:pt>
              </c:strCache>
              <c:extLst/>
            </c:strRef>
          </c:cat>
          <c:val>
            <c:numRef>
              <c:f>'climate change'!$D$4:$D$7</c:f>
              <c:numCache>
                <c:formatCode>General</c:formatCode>
                <c:ptCount val="3"/>
                <c:pt idx="0">
                  <c:v>446.2</c:v>
                </c:pt>
                <c:pt idx="1">
                  <c:v>113.1</c:v>
                </c:pt>
                <c:pt idx="2">
                  <c:v>151.69999999999999</c:v>
                </c:pt>
              </c:numCache>
              <c:extLst/>
            </c:numRef>
          </c:val>
        </c:ser>
        <c:dLbls>
          <c:showLegendKey val="0"/>
          <c:showVal val="0"/>
          <c:showCatName val="0"/>
          <c:showSerName val="0"/>
          <c:showPercent val="0"/>
          <c:showBubbleSize val="0"/>
        </c:dLbls>
        <c:gapWidth val="118"/>
        <c:axId val="195749832"/>
        <c:axId val="195747088"/>
      </c:barChart>
      <c:catAx>
        <c:axId val="195749832"/>
        <c:scaling>
          <c:orientation val="minMax"/>
        </c:scaling>
        <c:delete val="1"/>
        <c:axPos val="b"/>
        <c:numFmt formatCode="General" sourceLinked="1"/>
        <c:majorTickMark val="none"/>
        <c:minorTickMark val="none"/>
        <c:tickLblPos val="nextTo"/>
        <c:crossAx val="195747088"/>
        <c:crosses val="autoZero"/>
        <c:auto val="1"/>
        <c:lblAlgn val="ctr"/>
        <c:lblOffset val="100"/>
        <c:noMultiLvlLbl val="0"/>
      </c:catAx>
      <c:valAx>
        <c:axId val="19574708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accent1"/>
                </a:solidFill>
                <a:latin typeface="Arial" panose="020B0604020202020204" pitchFamily="34" charset="0"/>
                <a:ea typeface="+mn-ea"/>
                <a:cs typeface="Arial" panose="020B0604020202020204" pitchFamily="34" charset="0"/>
              </a:defRPr>
            </a:pPr>
            <a:endParaRPr lang="en-US"/>
          </a:p>
        </c:txPr>
        <c:crossAx val="195749832"/>
        <c:crosses val="autoZero"/>
        <c:crossBetween val="between"/>
      </c:valAx>
      <c:spPr>
        <a:noFill/>
        <a:ln>
          <a:noFill/>
        </a:ln>
        <a:effectLst/>
      </c:spPr>
    </c:plotArea>
    <c:legend>
      <c:legendPos val="t"/>
      <c:layout>
        <c:manualLayout>
          <c:xMode val="edge"/>
          <c:yMode val="edge"/>
          <c:x val="0.351847996878146"/>
          <c:y val="3.90024846464248E-2"/>
          <c:w val="0.28238669487002899"/>
          <c:h val="0.13019735301334101"/>
        </c:manualLayout>
      </c:layout>
      <c:overlay val="0"/>
      <c:spPr>
        <a:noFill/>
        <a:ln>
          <a:noFill/>
        </a:ln>
        <a:effectLst/>
      </c:spPr>
      <c:txPr>
        <a:bodyPr rot="0" spcFirstLastPara="1" vertOverflow="ellipsis" vert="horz" wrap="square" anchor="ctr" anchorCtr="1"/>
        <a:lstStyle/>
        <a:p>
          <a:pPr>
            <a:defRPr sz="105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r>
              <a:rPr lang="en-US" sz="2000" dirty="0"/>
              <a:t>Average </a:t>
            </a:r>
            <a:r>
              <a:rPr lang="en-US" sz="2000" dirty="0" smtClean="0"/>
              <a:t>Nominal Rates</a:t>
            </a:r>
            <a:r>
              <a:rPr lang="en-US" sz="2000" baseline="0" dirty="0" smtClean="0"/>
              <a:t> of Assistance (</a:t>
            </a:r>
            <a:r>
              <a:rPr lang="en-US" sz="2000" dirty="0" smtClean="0"/>
              <a:t>NRA)</a:t>
            </a:r>
            <a:r>
              <a:rPr lang="en-US" sz="2000" baseline="0" dirty="0" smtClean="0"/>
              <a:t> </a:t>
            </a:r>
            <a:r>
              <a:rPr lang="en-US" sz="2000" baseline="0" dirty="0"/>
              <a:t>through Border Measure</a:t>
            </a:r>
          </a:p>
        </c:rich>
      </c:tx>
      <c:overlay val="0"/>
      <c:spPr>
        <a:noFill/>
        <a:ln>
          <a:noFill/>
        </a:ln>
        <a:effectLst/>
      </c:spPr>
      <c:txPr>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Graphs!$L$25</c:f>
              <c:strCache>
                <c:ptCount val="1"/>
                <c:pt idx="0">
                  <c:v>1975</c:v>
                </c:pt>
              </c:strCache>
            </c:strRef>
          </c:tx>
          <c:spPr>
            <a:solidFill>
              <a:schemeClr val="accent1"/>
            </a:solidFill>
            <a:ln>
              <a:noFill/>
            </a:ln>
            <a:effectLst/>
          </c:spPr>
          <c:invertIfNegative val="0"/>
          <c:cat>
            <c:strRef>
              <c:f>Graphs!$M$24:$R$24</c:f>
              <c:strCache>
                <c:ptCount val="6"/>
                <c:pt idx="0">
                  <c:v>Africa</c:v>
                </c:pt>
                <c:pt idx="1">
                  <c:v>Asia</c:v>
                </c:pt>
                <c:pt idx="2">
                  <c:v>Eastern Europe</c:v>
                </c:pt>
                <c:pt idx="3">
                  <c:v>LAC</c:v>
                </c:pt>
                <c:pt idx="4">
                  <c:v>HIC</c:v>
                </c:pt>
                <c:pt idx="5">
                  <c:v>World</c:v>
                </c:pt>
              </c:strCache>
            </c:strRef>
          </c:cat>
          <c:val>
            <c:numRef>
              <c:f>Graphs!$M$25:$R$25</c:f>
              <c:numCache>
                <c:formatCode>0.0%</c:formatCode>
                <c:ptCount val="6"/>
                <c:pt idx="0">
                  <c:v>-0.42142360254360339</c:v>
                </c:pt>
                <c:pt idx="1">
                  <c:v>-0.34633975595147687</c:v>
                </c:pt>
                <c:pt idx="2">
                  <c:v>-0.17432800000000001</c:v>
                </c:pt>
                <c:pt idx="3">
                  <c:v>-0.4153427935036072</c:v>
                </c:pt>
                <c:pt idx="4">
                  <c:v>5.9876139547383307E-2</c:v>
                </c:pt>
                <c:pt idx="5">
                  <c:v>-0.1250608900706312</c:v>
                </c:pt>
              </c:numCache>
            </c:numRef>
          </c:val>
        </c:ser>
        <c:ser>
          <c:idx val="1"/>
          <c:order val="1"/>
          <c:tx>
            <c:strRef>
              <c:f>Graphs!$L$26</c:f>
              <c:strCache>
                <c:ptCount val="1"/>
                <c:pt idx="0">
                  <c:v>1985</c:v>
                </c:pt>
              </c:strCache>
            </c:strRef>
          </c:tx>
          <c:spPr>
            <a:solidFill>
              <a:schemeClr val="accent2"/>
            </a:solidFill>
            <a:ln>
              <a:noFill/>
            </a:ln>
            <a:effectLst/>
          </c:spPr>
          <c:invertIfNegative val="0"/>
          <c:cat>
            <c:strRef>
              <c:f>Graphs!$M$24:$R$24</c:f>
              <c:strCache>
                <c:ptCount val="6"/>
                <c:pt idx="0">
                  <c:v>Africa</c:v>
                </c:pt>
                <c:pt idx="1">
                  <c:v>Asia</c:v>
                </c:pt>
                <c:pt idx="2">
                  <c:v>Eastern Europe</c:v>
                </c:pt>
                <c:pt idx="3">
                  <c:v>LAC</c:v>
                </c:pt>
                <c:pt idx="4">
                  <c:v>HIC</c:v>
                </c:pt>
                <c:pt idx="5">
                  <c:v>World</c:v>
                </c:pt>
              </c:strCache>
            </c:strRef>
          </c:cat>
          <c:val>
            <c:numRef>
              <c:f>Graphs!$M$26:$R$26</c:f>
              <c:numCache>
                <c:formatCode>0.0%</c:formatCode>
                <c:ptCount val="6"/>
                <c:pt idx="0">
                  <c:v>-0.49877606764336696</c:v>
                </c:pt>
                <c:pt idx="1">
                  <c:v>-0.15623667140829287</c:v>
                </c:pt>
                <c:pt idx="2">
                  <c:v>-5.0093600000000002E-2</c:v>
                </c:pt>
                <c:pt idx="3">
                  <c:v>-0.27967324655200387</c:v>
                </c:pt>
                <c:pt idx="4">
                  <c:v>7.578268237278131E-2</c:v>
                </c:pt>
                <c:pt idx="5">
                  <c:v>-0.10042520191700298</c:v>
                </c:pt>
              </c:numCache>
            </c:numRef>
          </c:val>
        </c:ser>
        <c:ser>
          <c:idx val="2"/>
          <c:order val="2"/>
          <c:tx>
            <c:strRef>
              <c:f>Graphs!$L$27</c:f>
              <c:strCache>
                <c:ptCount val="1"/>
                <c:pt idx="0">
                  <c:v>1995</c:v>
                </c:pt>
              </c:strCache>
            </c:strRef>
          </c:tx>
          <c:spPr>
            <a:solidFill>
              <a:schemeClr val="accent3"/>
            </a:solidFill>
            <a:ln>
              <a:noFill/>
            </a:ln>
            <a:effectLst/>
          </c:spPr>
          <c:invertIfNegative val="0"/>
          <c:cat>
            <c:strRef>
              <c:f>Graphs!$M$24:$R$24</c:f>
              <c:strCache>
                <c:ptCount val="6"/>
                <c:pt idx="0">
                  <c:v>Africa</c:v>
                </c:pt>
                <c:pt idx="1">
                  <c:v>Asia</c:v>
                </c:pt>
                <c:pt idx="2">
                  <c:v>Eastern Europe</c:v>
                </c:pt>
                <c:pt idx="3">
                  <c:v>LAC</c:v>
                </c:pt>
                <c:pt idx="4">
                  <c:v>HIC</c:v>
                </c:pt>
                <c:pt idx="5">
                  <c:v>World</c:v>
                </c:pt>
              </c:strCache>
            </c:strRef>
          </c:cat>
          <c:val>
            <c:numRef>
              <c:f>Graphs!$M$27:$R$27</c:f>
              <c:numCache>
                <c:formatCode>0.0%</c:formatCode>
                <c:ptCount val="6"/>
                <c:pt idx="0">
                  <c:v>-0.21140860812224901</c:v>
                </c:pt>
                <c:pt idx="1">
                  <c:v>-7.8103365383591999E-2</c:v>
                </c:pt>
                <c:pt idx="2">
                  <c:v>-0.17424605303460447</c:v>
                </c:pt>
                <c:pt idx="3">
                  <c:v>-0.12618790484394998</c:v>
                </c:pt>
                <c:pt idx="4">
                  <c:v>3.12262589544989E-2</c:v>
                </c:pt>
                <c:pt idx="5">
                  <c:v>-6.2270329599470618E-2</c:v>
                </c:pt>
              </c:numCache>
            </c:numRef>
          </c:val>
        </c:ser>
        <c:ser>
          <c:idx val="3"/>
          <c:order val="3"/>
          <c:tx>
            <c:strRef>
              <c:f>Graphs!$L$28</c:f>
              <c:strCache>
                <c:ptCount val="1"/>
                <c:pt idx="0">
                  <c:v>2005</c:v>
                </c:pt>
              </c:strCache>
            </c:strRef>
          </c:tx>
          <c:spPr>
            <a:solidFill>
              <a:schemeClr val="accent4"/>
            </a:solidFill>
            <a:ln>
              <a:noFill/>
            </a:ln>
            <a:effectLst/>
          </c:spPr>
          <c:invertIfNegative val="0"/>
          <c:cat>
            <c:strRef>
              <c:f>Graphs!$M$24:$R$24</c:f>
              <c:strCache>
                <c:ptCount val="6"/>
                <c:pt idx="0">
                  <c:v>Africa</c:v>
                </c:pt>
                <c:pt idx="1">
                  <c:v>Asia</c:v>
                </c:pt>
                <c:pt idx="2">
                  <c:v>Eastern Europe</c:v>
                </c:pt>
                <c:pt idx="3">
                  <c:v>LAC</c:v>
                </c:pt>
                <c:pt idx="4">
                  <c:v>HIC</c:v>
                </c:pt>
                <c:pt idx="5">
                  <c:v>World</c:v>
                </c:pt>
              </c:strCache>
            </c:strRef>
          </c:cat>
          <c:val>
            <c:numRef>
              <c:f>Graphs!$M$28:$R$28</c:f>
              <c:numCache>
                <c:formatCode>0.0%</c:formatCode>
                <c:ptCount val="6"/>
                <c:pt idx="0">
                  <c:v>-3.7848430287195992E-2</c:v>
                </c:pt>
                <c:pt idx="1">
                  <c:v>-1.7314926773516908E-2</c:v>
                </c:pt>
                <c:pt idx="2">
                  <c:v>4.3740424976026496E-2</c:v>
                </c:pt>
                <c:pt idx="3">
                  <c:v>0.12272122237315222</c:v>
                </c:pt>
                <c:pt idx="4">
                  <c:v>2.9323883751212393E-2</c:v>
                </c:pt>
                <c:pt idx="5">
                  <c:v>2.1450444865131917E-2</c:v>
                </c:pt>
              </c:numCache>
            </c:numRef>
          </c:val>
        </c:ser>
        <c:dLbls>
          <c:showLegendKey val="0"/>
          <c:showVal val="0"/>
          <c:showCatName val="0"/>
          <c:showSerName val="0"/>
          <c:showPercent val="0"/>
          <c:showBubbleSize val="0"/>
        </c:dLbls>
        <c:gapWidth val="219"/>
        <c:overlap val="-27"/>
        <c:axId val="306807904"/>
        <c:axId val="243394776"/>
      </c:barChart>
      <c:catAx>
        <c:axId val="30680790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243394776"/>
        <c:crosses val="autoZero"/>
        <c:auto val="1"/>
        <c:lblAlgn val="ctr"/>
        <c:lblOffset val="100"/>
        <c:noMultiLvlLbl val="0"/>
      </c:catAx>
      <c:valAx>
        <c:axId val="243394776"/>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068079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r>
              <a:rPr lang="en-US" sz="1800" b="1" dirty="0"/>
              <a:t>SSA</a:t>
            </a:r>
            <a:r>
              <a:rPr lang="en-US" sz="1800" b="1" baseline="0" dirty="0"/>
              <a:t> </a:t>
            </a:r>
            <a:r>
              <a:rPr lang="en-US" sz="1800" b="1" baseline="0" dirty="0" smtClean="0"/>
              <a:t>TOTAL TRADE</a:t>
            </a:r>
            <a:endParaRPr lang="en-US" sz="1800" b="1" dirty="0"/>
          </a:p>
        </c:rich>
      </c:tx>
      <c:overlay val="0"/>
      <c:spPr>
        <a:noFill/>
        <a:ln>
          <a:noFill/>
        </a:ln>
        <a:effectLst/>
      </c:spPr>
      <c:txPr>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areaChart>
        <c:grouping val="stacked"/>
        <c:varyColors val="0"/>
        <c:ser>
          <c:idx val="0"/>
          <c:order val="0"/>
          <c:tx>
            <c:strRef>
              <c:f>Sheet1!$B$63</c:f>
              <c:strCache>
                <c:ptCount val="1"/>
                <c:pt idx="0">
                  <c:v>Agriculture</c:v>
                </c:pt>
              </c:strCache>
            </c:strRef>
          </c:tx>
          <c:spPr>
            <a:solidFill>
              <a:schemeClr val="accent1"/>
            </a:solidFill>
            <a:ln>
              <a:noFill/>
            </a:ln>
            <a:effectLst/>
          </c:spPr>
          <c:cat>
            <c:numRef>
              <c:f>Sheet1!$A$64:$A$80</c:f>
              <c:numCache>
                <c:formatCode>General</c:formatCode>
                <c:ptCount val="17"/>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numCache>
            </c:numRef>
          </c:cat>
          <c:val>
            <c:numRef>
              <c:f>Sheet1!$B$64:$B$80</c:f>
              <c:numCache>
                <c:formatCode>General</c:formatCode>
                <c:ptCount val="17"/>
                <c:pt idx="0">
                  <c:v>15.85917899</c:v>
                </c:pt>
                <c:pt idx="1">
                  <c:v>17.819111204000002</c:v>
                </c:pt>
                <c:pt idx="2">
                  <c:v>18.329605448999999</c:v>
                </c:pt>
                <c:pt idx="3">
                  <c:v>16.845832335000001</c:v>
                </c:pt>
                <c:pt idx="4">
                  <c:v>18.672598167</c:v>
                </c:pt>
                <c:pt idx="5">
                  <c:v>20.044288719000001</c:v>
                </c:pt>
                <c:pt idx="6">
                  <c:v>21.847959064999998</c:v>
                </c:pt>
                <c:pt idx="7">
                  <c:v>26.871215810000002</c:v>
                </c:pt>
                <c:pt idx="8">
                  <c:v>27.833832003000001</c:v>
                </c:pt>
                <c:pt idx="9">
                  <c:v>30.550823676</c:v>
                </c:pt>
                <c:pt idx="10">
                  <c:v>37.390742105999998</c:v>
                </c:pt>
                <c:pt idx="11">
                  <c:v>44.552772597000001</c:v>
                </c:pt>
                <c:pt idx="12">
                  <c:v>49.956813623999999</c:v>
                </c:pt>
                <c:pt idx="13">
                  <c:v>51.914706214999995</c:v>
                </c:pt>
                <c:pt idx="14">
                  <c:v>60.503567287999999</c:v>
                </c:pt>
                <c:pt idx="15">
                  <c:v>79.951671203999993</c:v>
                </c:pt>
                <c:pt idx="16">
                  <c:v>74.074234834000009</c:v>
                </c:pt>
              </c:numCache>
            </c:numRef>
          </c:val>
        </c:ser>
        <c:ser>
          <c:idx val="1"/>
          <c:order val="1"/>
          <c:tx>
            <c:strRef>
              <c:f>Sheet1!$C$63</c:f>
              <c:strCache>
                <c:ptCount val="1"/>
                <c:pt idx="0">
                  <c:v>All goods</c:v>
                </c:pt>
              </c:strCache>
            </c:strRef>
          </c:tx>
          <c:spPr>
            <a:solidFill>
              <a:schemeClr val="accent2"/>
            </a:solidFill>
            <a:ln>
              <a:noFill/>
            </a:ln>
            <a:effectLst/>
          </c:spPr>
          <c:cat>
            <c:numRef>
              <c:f>Sheet1!$A$64:$A$80</c:f>
              <c:numCache>
                <c:formatCode>General</c:formatCode>
                <c:ptCount val="17"/>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numCache>
            </c:numRef>
          </c:cat>
          <c:val>
            <c:numRef>
              <c:f>Sheet1!$C$64:$C$80</c:f>
              <c:numCache>
                <c:formatCode>General</c:formatCode>
                <c:ptCount val="17"/>
                <c:pt idx="0">
                  <c:v>83.207246538000007</c:v>
                </c:pt>
                <c:pt idx="1">
                  <c:v>90.824226456000005</c:v>
                </c:pt>
                <c:pt idx="2">
                  <c:v>81.612798893000004</c:v>
                </c:pt>
                <c:pt idx="3">
                  <c:v>92.852136444999999</c:v>
                </c:pt>
                <c:pt idx="4">
                  <c:v>122.33903405299999</c:v>
                </c:pt>
                <c:pt idx="5">
                  <c:v>121.78566106099998</c:v>
                </c:pt>
                <c:pt idx="6">
                  <c:v>121.40447036499998</c:v>
                </c:pt>
                <c:pt idx="7">
                  <c:v>154.49101378</c:v>
                </c:pt>
                <c:pt idx="8">
                  <c:v>153.50899786700001</c:v>
                </c:pt>
                <c:pt idx="9">
                  <c:v>188.152778794</c:v>
                </c:pt>
                <c:pt idx="10">
                  <c:v>303.25732342399999</c:v>
                </c:pt>
                <c:pt idx="11">
                  <c:v>351.664651553</c:v>
                </c:pt>
                <c:pt idx="12">
                  <c:v>431.67737936600003</c:v>
                </c:pt>
                <c:pt idx="13">
                  <c:v>332.92068932500001</c:v>
                </c:pt>
                <c:pt idx="14">
                  <c:v>441.37855014199994</c:v>
                </c:pt>
                <c:pt idx="15">
                  <c:v>536.125744156</c:v>
                </c:pt>
                <c:pt idx="16">
                  <c:v>523.32149454600005</c:v>
                </c:pt>
              </c:numCache>
            </c:numRef>
          </c:val>
        </c:ser>
        <c:dLbls>
          <c:showLegendKey val="0"/>
          <c:showVal val="0"/>
          <c:showCatName val="0"/>
          <c:showSerName val="0"/>
          <c:showPercent val="0"/>
          <c:showBubbleSize val="0"/>
        </c:dLbls>
        <c:axId val="300498320"/>
        <c:axId val="300498712"/>
      </c:areaChart>
      <c:catAx>
        <c:axId val="3004983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00498712"/>
        <c:crosses val="autoZero"/>
        <c:auto val="1"/>
        <c:lblAlgn val="ctr"/>
        <c:lblOffset val="100"/>
        <c:noMultiLvlLbl val="0"/>
      </c:catAx>
      <c:valAx>
        <c:axId val="30049871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US" sz="1600"/>
                  <a:t>Bns USD</a:t>
                </a:r>
              </a:p>
            </c:rich>
          </c:tx>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00498320"/>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318">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
  <cs:dataPoint3D>
    <cs:lnRef idx="0">
      <cs:styleClr val="auto"/>
    </cs:lnRef>
    <cs:fillRef idx="0">
      <cs:styleClr val="auto"/>
    </cs:fillRef>
    <cs:effectRef idx="0"/>
    <cs:fontRef idx="minor">
      <a:schemeClr val="tx1"/>
    </cs:fontRef>
    <cs:spPr>
      <a:solidFill>
        <a:schemeClr val="phClr">
          <a:alpha val="50196"/>
        </a:schemeClr>
      </a:solidFill>
      <a:ln w="25400">
        <a:solidFill>
          <a:schemeClr val="phClr"/>
        </a:solidFill>
        <a:prstDash val="sysDot"/>
      </a:ln>
    </cs:spPr>
  </cs:dataPoint3D>
  <cs:dataPointLine>
    <cs:lnRef idx="0">
      <cs:styleClr val="auto"/>
    </cs:lnRef>
    <cs:fillRef idx="0"/>
    <cs:effectRef idx="0"/>
    <cs:fontRef idx="minor">
      <a:schemeClr val="tx1"/>
    </cs:fontRef>
    <cs:spPr>
      <a:ln w="25400" cap="rnd" cmpd="sng" algn="ctr">
        <a:solidFill>
          <a:schemeClr val="phClr"/>
        </a:solidFill>
        <a:prstDash val="sysDot"/>
        <a:round/>
      </a:ln>
    </cs:spPr>
  </cs:dataPointLine>
  <cs:dataPointMarker>
    <cs:lnRef idx="0">
      <cs:styleClr val="auto"/>
    </cs:lnRef>
    <cs:fillRef idx="0">
      <cs:styleClr val="auto"/>
    </cs:fillRef>
    <cs:effectRef idx="0"/>
    <cs:fontRef idx="minor">
      <a:schemeClr val="tx1"/>
    </cs:fontRef>
    <cs:spPr>
      <a:solidFill>
        <a:schemeClr val="phClr"/>
      </a:solidFill>
    </cs:spPr>
  </cs:dataPointMarker>
  <cs:dataPointMarkerLayout symbol="circle" size="6"/>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11.xml><?xml version="1.0" encoding="utf-8"?>
<cs:chartStyle xmlns:cs="http://schemas.microsoft.com/office/drawing/2012/chartStyle" xmlns:a="http://schemas.openxmlformats.org/drawingml/2006/main" id="301">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7">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B35BA84-911D-4876-BE60-2E9B1175E026}" type="datetimeFigureOut">
              <a:rPr lang="en-US" smtClean="0"/>
              <a:t>3/2/2016</a:t>
            </a:fld>
            <a:endParaRPr lang="en-US" dirty="0"/>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E2AA979-2D7C-4A32-B310-91E7CEAF011E}" type="slidenum">
              <a:rPr lang="en-US" smtClean="0"/>
              <a:t>‹#›</a:t>
            </a:fld>
            <a:endParaRPr lang="en-US" dirty="0"/>
          </a:p>
        </p:txBody>
      </p:sp>
    </p:spTree>
    <p:extLst>
      <p:ext uri="{BB962C8B-B14F-4D97-AF65-F5344CB8AC3E}">
        <p14:creationId xmlns:p14="http://schemas.microsoft.com/office/powerpoint/2010/main" val="2200784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E2AA979-2D7C-4A32-B310-91E7CEAF011E}" type="slidenum">
              <a:rPr lang="en-US" smtClean="0"/>
              <a:t>1</a:t>
            </a:fld>
            <a:endParaRPr lang="en-US" dirty="0"/>
          </a:p>
        </p:txBody>
      </p:sp>
    </p:spTree>
    <p:extLst>
      <p:ext uri="{BB962C8B-B14F-4D97-AF65-F5344CB8AC3E}">
        <p14:creationId xmlns:p14="http://schemas.microsoft.com/office/powerpoint/2010/main" val="24084060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 will send examples of variance.</a:t>
            </a:r>
          </a:p>
          <a:p>
            <a:r>
              <a:rPr lang="en-US" dirty="0" smtClean="0"/>
              <a:t>The regions need to build their common tariff but they have</a:t>
            </a:r>
            <a:r>
              <a:rPr lang="en-US" baseline="0" dirty="0" smtClean="0"/>
              <a:t> not implemented</a:t>
            </a:r>
          </a:p>
          <a:p>
            <a:r>
              <a:rPr lang="en-US" baseline="0" dirty="0" smtClean="0"/>
              <a:t>Also they are signifying agreement with Economic partnership agreement.</a:t>
            </a:r>
          </a:p>
          <a:p>
            <a:r>
              <a:rPr lang="pt-BR" sz="1200" b="0" i="0" u="none" strike="noStrike" baseline="0" dirty="0" smtClean="0">
                <a:solidFill>
                  <a:srgbClr val="000000"/>
                </a:solidFill>
                <a:latin typeface="Calibri" panose="020F0502020204030204" pitchFamily="34" charset="0"/>
              </a:rPr>
              <a:t>(HS Code)		</a:t>
            </a:r>
            <a:r>
              <a:rPr lang="pt-BR" sz="1200" b="1" i="0" u="none" strike="noStrike" baseline="0" dirty="0" smtClean="0">
                <a:solidFill>
                  <a:srgbClr val="000000"/>
                </a:solidFill>
                <a:latin typeface="Calibri" panose="020F0502020204030204" pitchFamily="34" charset="0"/>
              </a:rPr>
              <a:t>CEMAC	ECOWAS	COMESA	Rwanda	SACU	</a:t>
            </a:r>
          </a:p>
          <a:p>
            <a:r>
              <a:rPr lang="it-IT" sz="900" b="0" i="0" u="none" strike="noStrike" baseline="0" dirty="0" smtClean="0">
                <a:solidFill>
                  <a:srgbClr val="000000"/>
                </a:solidFill>
                <a:latin typeface="Arial" panose="020B0604020202020204" pitchFamily="34" charset="0"/>
              </a:rPr>
              <a:t>1006.20.00	</a:t>
            </a:r>
            <a:r>
              <a:rPr lang="it-IT" sz="1200" b="0" i="0" u="none" strike="noStrike" baseline="0" dirty="0" smtClean="0">
                <a:solidFill>
                  <a:srgbClr val="000000"/>
                </a:solidFill>
                <a:latin typeface="Calibri" panose="020F0502020204030204" pitchFamily="34" charset="0"/>
              </a:rPr>
              <a:t>Rice	5%	10%	0%	75%	0%	</a:t>
            </a:r>
          </a:p>
          <a:p>
            <a:r>
              <a:rPr lang="en-US" sz="900" b="0" i="0" u="none" strike="noStrike" baseline="0" dirty="0" smtClean="0">
                <a:solidFill>
                  <a:srgbClr val="000000"/>
                </a:solidFill>
                <a:latin typeface="Arial" panose="020B0604020202020204" pitchFamily="34" charset="0"/>
              </a:rPr>
              <a:t>1001.10.90	</a:t>
            </a:r>
            <a:r>
              <a:rPr lang="en-US" sz="1200" b="0" i="0" u="none" strike="noStrike" baseline="0" dirty="0" smtClean="0">
                <a:solidFill>
                  <a:srgbClr val="000000"/>
                </a:solidFill>
                <a:latin typeface="Calibri" panose="020F0502020204030204" pitchFamily="34" charset="0"/>
              </a:rPr>
              <a:t>Wheat	10%	5%	0%	0%	0%	</a:t>
            </a:r>
          </a:p>
          <a:p>
            <a:r>
              <a:rPr lang="en-US" sz="900" b="0" i="0" u="none" strike="noStrike" baseline="0" dirty="0" smtClean="0">
                <a:solidFill>
                  <a:srgbClr val="000000"/>
                </a:solidFill>
                <a:latin typeface="Arial" panose="020B0604020202020204" pitchFamily="34" charset="0"/>
              </a:rPr>
              <a:t>0714.90.10	</a:t>
            </a:r>
            <a:r>
              <a:rPr lang="en-US" sz="1200" b="0" i="0" u="none" strike="noStrike" baseline="0" dirty="0" smtClean="0">
                <a:solidFill>
                  <a:srgbClr val="000000"/>
                </a:solidFill>
                <a:latin typeface="Calibri" panose="020F0502020204030204" pitchFamily="34" charset="0"/>
              </a:rPr>
              <a:t>Yams	30%	20%	0%	25%	5%	</a:t>
            </a:r>
          </a:p>
          <a:p>
            <a:r>
              <a:rPr lang="en-US" sz="900" b="0" i="0" u="none" strike="noStrike" baseline="0" dirty="0" smtClean="0">
                <a:solidFill>
                  <a:srgbClr val="000000"/>
                </a:solidFill>
                <a:latin typeface="Arial" panose="020B0604020202020204" pitchFamily="34" charset="0"/>
              </a:rPr>
              <a:t>0201.10.00	</a:t>
            </a:r>
            <a:r>
              <a:rPr lang="en-US" sz="1200" b="0" i="0" u="none" strike="noStrike" baseline="0" dirty="0" smtClean="0">
                <a:solidFill>
                  <a:srgbClr val="000000"/>
                </a:solidFill>
                <a:latin typeface="Calibri" panose="020F0502020204030204" pitchFamily="34" charset="0"/>
              </a:rPr>
              <a:t>Beef (carcass)	20%	35%	0%	25%	40%	</a:t>
            </a:r>
          </a:p>
          <a:p>
            <a:r>
              <a:rPr lang="en-US" sz="900" b="1" i="0" u="none" strike="noStrike" baseline="0" dirty="0" smtClean="0">
                <a:solidFill>
                  <a:srgbClr val="333399"/>
                </a:solidFill>
                <a:latin typeface="Arial" panose="020B0604020202020204" pitchFamily="34" charset="0"/>
              </a:rPr>
              <a:t>0207.11.00	</a:t>
            </a:r>
            <a:r>
              <a:rPr lang="en-US" sz="1200" b="0" i="0" u="none" strike="noStrike" baseline="0" dirty="0" smtClean="0">
                <a:solidFill>
                  <a:srgbClr val="000000"/>
                </a:solidFill>
                <a:latin typeface="Calibri" panose="020F0502020204030204" pitchFamily="34" charset="0"/>
              </a:rPr>
              <a:t>Chicken (cuts)	5%	35%	0%	25%	27%	</a:t>
            </a:r>
          </a:p>
          <a:p>
            <a:r>
              <a:rPr lang="en-US" sz="900" b="0" i="0" u="none" strike="noStrike" baseline="0" dirty="0" smtClean="0">
                <a:solidFill>
                  <a:srgbClr val="000000"/>
                </a:solidFill>
                <a:latin typeface="Arial" panose="020B0604020202020204" pitchFamily="34" charset="0"/>
              </a:rPr>
              <a:t>0402.10.00	</a:t>
            </a:r>
            <a:r>
              <a:rPr lang="en-US" sz="1200" b="0" i="0" u="none" strike="noStrike" baseline="0" dirty="0" smtClean="0">
                <a:solidFill>
                  <a:srgbClr val="000000"/>
                </a:solidFill>
                <a:latin typeface="Calibri" panose="020F0502020204030204" pitchFamily="34" charset="0"/>
              </a:rPr>
              <a:t>Milk Powder	5%	20%	15%	60%	96%	</a:t>
            </a:r>
          </a:p>
          <a:p>
            <a:endParaRPr lang="en-US" dirty="0" smtClean="0"/>
          </a:p>
        </p:txBody>
      </p:sp>
      <p:sp>
        <p:nvSpPr>
          <p:cNvPr id="4" name="Slide Number Placeholder 3"/>
          <p:cNvSpPr>
            <a:spLocks noGrp="1"/>
          </p:cNvSpPr>
          <p:nvPr>
            <p:ph type="sldNum" sz="quarter" idx="10"/>
          </p:nvPr>
        </p:nvSpPr>
        <p:spPr/>
        <p:txBody>
          <a:bodyPr/>
          <a:lstStyle/>
          <a:p>
            <a:fld id="{6FB3389F-5C1E-4C34-9CED-86494D8A573F}"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4464368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Long-term trends indicate a serious decline in investment in agricultural R&amp;D in Zambia. Public agricultural R&amp;D spending fell to an historical low of 18 billion kwacha or 7 million PPP dollars in 2005 (both in 2005 constant prices), compared with 52 billion kwacha or 22 million PPP dollars per year on average during the 1990s. Although expenditures recovered slightly in 2007, spending was still low in 2008. The combined </a:t>
            </a:r>
            <a:r>
              <a:rPr lang="en-US" dirty="0" err="1" smtClean="0"/>
              <a:t>efects</a:t>
            </a:r>
            <a:r>
              <a:rPr lang="en-US" dirty="0" smtClean="0"/>
              <a:t> of a government-sector hiring freeze and lack of training opportunities resulted in </a:t>
            </a:r>
            <a:r>
              <a:rPr lang="en-US" dirty="0" err="1" smtClean="0"/>
              <a:t>signiicant</a:t>
            </a:r>
            <a:r>
              <a:rPr lang="en-US" dirty="0" smtClean="0"/>
              <a:t> erosion of research </a:t>
            </a:r>
            <a:r>
              <a:rPr lang="en-US" dirty="0" err="1" smtClean="0"/>
              <a:t>staf</a:t>
            </a:r>
            <a:r>
              <a:rPr lang="en-US" dirty="0" smtClean="0"/>
              <a:t> capacity. Although </a:t>
            </a:r>
            <a:r>
              <a:rPr lang="en-US" dirty="0" err="1" smtClean="0"/>
              <a:t>staing</a:t>
            </a:r>
            <a:r>
              <a:rPr lang="en-US" dirty="0" smtClean="0"/>
              <a:t> levels increased to 209 FTE researchers in 2008, the composition shifted towards junior rather than senior researchers, meaning those holding BSc rather than PhD degrees. ZARI was particularly </a:t>
            </a:r>
            <a:r>
              <a:rPr lang="en-US" dirty="0" err="1" smtClean="0"/>
              <a:t>afected</a:t>
            </a:r>
            <a:r>
              <a:rPr lang="en-US" dirty="0" smtClean="0"/>
              <a:t> by a reduction in the number of PhD-</a:t>
            </a:r>
            <a:r>
              <a:rPr lang="en-US" dirty="0" err="1" smtClean="0"/>
              <a:t>qualiied</a:t>
            </a:r>
            <a:r>
              <a:rPr lang="en-US" dirty="0" smtClean="0"/>
              <a:t> researchers. In addition to training and capacity limitations, ZARI and the other government research agencies have also faced challenges in supporting the operating and capital costs associated with research. A number of needs have been </a:t>
            </a:r>
            <a:r>
              <a:rPr lang="en-US" dirty="0" err="1" smtClean="0"/>
              <a:t>identiied</a:t>
            </a:r>
            <a:r>
              <a:rPr lang="en-US" dirty="0" smtClean="0"/>
              <a:t> at ZARI, such as infrastructure, laboratory equipment, communication facilities, and vehicles. Delays and reductions in the disbursement of budgeted funding from both the national government and foreign donors continue to constrain the </a:t>
            </a:r>
            <a:r>
              <a:rPr lang="en-US" dirty="0" err="1" smtClean="0"/>
              <a:t>eicient</a:t>
            </a:r>
            <a:r>
              <a:rPr lang="en-US" dirty="0" smtClean="0"/>
              <a:t> management of research funding. Although GART has been successful in generating funding through the sales of goods and services, as well as attracting donor funding and strengthening linkages with UNZA, other trusts within the </a:t>
            </a:r>
            <a:r>
              <a:rPr lang="en-US" dirty="0" err="1" smtClean="0"/>
              <a:t>nonproit</a:t>
            </a:r>
            <a:r>
              <a:rPr lang="en-US" dirty="0" smtClean="0"/>
              <a:t> sector have not fared as well. They were originally created for the purpose of increasing the </a:t>
            </a:r>
            <a:r>
              <a:rPr lang="en-US" dirty="0" err="1" smtClean="0"/>
              <a:t>lexibility</a:t>
            </a:r>
            <a:r>
              <a:rPr lang="en-US" dirty="0" smtClean="0"/>
              <a:t> and </a:t>
            </a:r>
            <a:r>
              <a:rPr lang="en-US" dirty="0" err="1" smtClean="0"/>
              <a:t>eiciency</a:t>
            </a:r>
            <a:r>
              <a:rPr lang="en-US" dirty="0" smtClean="0"/>
              <a:t> of research funding and management, in addition to promoting public–private partnerships. They, however, still depend on national government funding and have yet to meet the expectations of their mandate. Although the recent rise in the number of agricultural researchers is positive—as is the upgrade of ZARI to a ministerial department, and increased investment under ADSP since 2007— Zambia’s agricultural R&amp;D agencies are still contending with the </a:t>
            </a:r>
            <a:r>
              <a:rPr lang="en-US" dirty="0" err="1" smtClean="0"/>
              <a:t>efects</a:t>
            </a:r>
            <a:r>
              <a:rPr lang="en-US" dirty="0" smtClean="0"/>
              <a:t> of long-term underinvestment and continue to struggle with funding issues that hinder their ability to contribute more </a:t>
            </a:r>
            <a:r>
              <a:rPr lang="en-US" dirty="0" err="1" smtClean="0"/>
              <a:t>efectively</a:t>
            </a:r>
            <a:r>
              <a:rPr lang="en-US" dirty="0" smtClean="0"/>
              <a:t> to the country’s agricultural and economic development.</a:t>
            </a:r>
          </a:p>
          <a:p>
            <a:endParaRPr lang="en-US" dirty="0"/>
          </a:p>
        </p:txBody>
      </p:sp>
      <p:sp>
        <p:nvSpPr>
          <p:cNvPr id="4" name="Slide Number Placeholder 3"/>
          <p:cNvSpPr>
            <a:spLocks noGrp="1"/>
          </p:cNvSpPr>
          <p:nvPr>
            <p:ph type="sldNum" sz="quarter" idx="10"/>
          </p:nvPr>
        </p:nvSpPr>
        <p:spPr/>
        <p:txBody>
          <a:bodyPr/>
          <a:lstStyle/>
          <a:p>
            <a:fld id="{9E2AA979-2D7C-4A32-B310-91E7CEAF011E}" type="slidenum">
              <a:rPr lang="en-US" smtClean="0"/>
              <a:t>25</a:t>
            </a:fld>
            <a:endParaRPr lang="en-US" dirty="0"/>
          </a:p>
        </p:txBody>
      </p:sp>
    </p:spTree>
    <p:extLst>
      <p:ext uri="{BB962C8B-B14F-4D97-AF65-F5344CB8AC3E}">
        <p14:creationId xmlns:p14="http://schemas.microsoft.com/office/powerpoint/2010/main" val="38675543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98EAEA2-015C-4DC0-85E7-94E88300466A}"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12803598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Ranking of August-October</a:t>
            </a:r>
            <a:r>
              <a:rPr lang="en-US" baseline="0" dirty="0" smtClean="0"/>
              <a:t> El </a:t>
            </a:r>
            <a:r>
              <a:rPr lang="en-US" dirty="0" smtClean="0">
                <a:solidFill>
                  <a:schemeClr val="accent6"/>
                </a:solidFill>
                <a:latin typeface="+mn-lt"/>
              </a:rPr>
              <a:t>Niño episodes</a:t>
            </a:r>
            <a:r>
              <a:rPr lang="en-US" baseline="0" dirty="0" smtClean="0">
                <a:solidFill>
                  <a:schemeClr val="accent6"/>
                </a:solidFill>
                <a:latin typeface="+mn-lt"/>
              </a:rPr>
              <a:t> (ONI) since 1950</a:t>
            </a:r>
            <a:endParaRPr lang="id-ID" b="1" dirty="0" smtClean="0">
              <a:solidFill>
                <a:schemeClr val="accent6"/>
              </a:solidFill>
              <a:latin typeface="+mn-lt"/>
            </a:endParaRPr>
          </a:p>
          <a:p>
            <a:endParaRPr lang="en-US" dirty="0"/>
          </a:p>
        </p:txBody>
      </p:sp>
      <p:sp>
        <p:nvSpPr>
          <p:cNvPr id="4" name="Slide Number Placeholder 3"/>
          <p:cNvSpPr>
            <a:spLocks noGrp="1"/>
          </p:cNvSpPr>
          <p:nvPr>
            <p:ph type="sldNum" sz="quarter" idx="10"/>
          </p:nvPr>
        </p:nvSpPr>
        <p:spPr/>
        <p:txBody>
          <a:bodyPr/>
          <a:lstStyle/>
          <a:p>
            <a:fld id="{F8650563-427F-4183-866C-89219368BC40}" type="slidenum">
              <a:rPr lang="en-US" smtClean="0">
                <a:solidFill>
                  <a:prstClr val="black"/>
                </a:solidFill>
              </a:rPr>
              <a:pPr/>
              <a:t>28</a:t>
            </a:fld>
            <a:endParaRPr lang="en-US">
              <a:solidFill>
                <a:prstClr val="black"/>
              </a:solidFill>
            </a:endParaRPr>
          </a:p>
        </p:txBody>
      </p:sp>
    </p:spTree>
    <p:extLst>
      <p:ext uri="{BB962C8B-B14F-4D97-AF65-F5344CB8AC3E}">
        <p14:creationId xmlns:p14="http://schemas.microsoft.com/office/powerpoint/2010/main" val="12449032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E2AA979-2D7C-4A32-B310-91E7CEAF011E}" type="slidenum">
              <a:rPr lang="en-US" smtClean="0"/>
              <a:t>3</a:t>
            </a:fld>
            <a:endParaRPr lang="en-US" dirty="0"/>
          </a:p>
        </p:txBody>
      </p:sp>
    </p:spTree>
    <p:extLst>
      <p:ext uri="{BB962C8B-B14F-4D97-AF65-F5344CB8AC3E}">
        <p14:creationId xmlns:p14="http://schemas.microsoft.com/office/powerpoint/2010/main" val="16553875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E2AA979-2D7C-4A32-B310-91E7CEAF011E}" type="slidenum">
              <a:rPr lang="en-US" smtClean="0"/>
              <a:t>5</a:t>
            </a:fld>
            <a:endParaRPr lang="en-US" dirty="0"/>
          </a:p>
        </p:txBody>
      </p:sp>
    </p:spTree>
    <p:extLst>
      <p:ext uri="{BB962C8B-B14F-4D97-AF65-F5344CB8AC3E}">
        <p14:creationId xmlns:p14="http://schemas.microsoft.com/office/powerpoint/2010/main" val="4727374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E2AA979-2D7C-4A32-B310-91E7CEAF011E}" type="slidenum">
              <a:rPr lang="en-US" smtClean="0"/>
              <a:t>6</a:t>
            </a:fld>
            <a:endParaRPr lang="en-US" dirty="0"/>
          </a:p>
        </p:txBody>
      </p:sp>
    </p:spTree>
    <p:extLst>
      <p:ext uri="{BB962C8B-B14F-4D97-AF65-F5344CB8AC3E}">
        <p14:creationId xmlns:p14="http://schemas.microsoft.com/office/powerpoint/2010/main" val="14896004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a:t>
            </a:r>
            <a:r>
              <a:rPr lang="en-US" baseline="0" dirty="0" smtClean="0"/>
              <a:t> have eliminated the “absolute” indicator to simplify the picture</a:t>
            </a:r>
            <a:endParaRPr lang="en-US" dirty="0"/>
          </a:p>
        </p:txBody>
      </p:sp>
      <p:sp>
        <p:nvSpPr>
          <p:cNvPr id="4" name="Slide Number Placeholder 3"/>
          <p:cNvSpPr>
            <a:spLocks noGrp="1"/>
          </p:cNvSpPr>
          <p:nvPr>
            <p:ph type="sldNum" sz="quarter" idx="10"/>
          </p:nvPr>
        </p:nvSpPr>
        <p:spPr/>
        <p:txBody>
          <a:bodyPr/>
          <a:lstStyle/>
          <a:p>
            <a:fld id="{B526561D-5048-484C-83C3-0FFD2C609CA7}" type="slidenum">
              <a:rPr lang="en-US" smtClean="0"/>
              <a:t>11</a:t>
            </a:fld>
            <a:endParaRPr lang="en-US"/>
          </a:p>
        </p:txBody>
      </p:sp>
    </p:spTree>
    <p:extLst>
      <p:ext uri="{BB962C8B-B14F-4D97-AF65-F5344CB8AC3E}">
        <p14:creationId xmlns:p14="http://schemas.microsoft.com/office/powerpoint/2010/main" val="35169842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ports + o,[</a:t>
            </a:r>
            <a:r>
              <a:rPr lang="en-US" dirty="0" err="1" smtClean="0"/>
              <a:t>prts</a:t>
            </a:r>
            <a:r>
              <a:rPr lang="en-US" baseline="0" dirty="0" smtClean="0"/>
              <a:t>. Billion nominal</a:t>
            </a:r>
          </a:p>
          <a:p>
            <a:r>
              <a:rPr lang="en-US" baseline="0" dirty="0" smtClean="0"/>
              <a:t>No official data for 2014</a:t>
            </a:r>
            <a:endParaRPr lang="en-US" dirty="0" smtClean="0"/>
          </a:p>
          <a:p>
            <a:endParaRPr lang="en-US" dirty="0"/>
          </a:p>
        </p:txBody>
      </p:sp>
      <p:sp>
        <p:nvSpPr>
          <p:cNvPr id="4" name="Slide Number Placeholder 3"/>
          <p:cNvSpPr>
            <a:spLocks noGrp="1"/>
          </p:cNvSpPr>
          <p:nvPr>
            <p:ph type="sldNum" sz="quarter" idx="10"/>
          </p:nvPr>
        </p:nvSpPr>
        <p:spPr/>
        <p:txBody>
          <a:bodyPr/>
          <a:lstStyle/>
          <a:p>
            <a:fld id="{6FB3389F-5C1E-4C34-9CED-86494D8A573F}" type="slidenum">
              <a:rPr lang="en-US" smtClean="0"/>
              <a:t>12</a:t>
            </a:fld>
            <a:endParaRPr lang="en-US"/>
          </a:p>
        </p:txBody>
      </p:sp>
    </p:spTree>
    <p:extLst>
      <p:ext uri="{BB962C8B-B14F-4D97-AF65-F5344CB8AC3E}">
        <p14:creationId xmlns:p14="http://schemas.microsoft.com/office/powerpoint/2010/main" val="9081436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ector: </a:t>
            </a:r>
            <a:r>
              <a:rPr lang="en-US" dirty="0" err="1" smtClean="0"/>
              <a:t>sectoral</a:t>
            </a:r>
            <a:r>
              <a:rPr lang="en-US" baseline="0" dirty="0" smtClean="0"/>
              <a:t> = global demand for my product evolve relative  = gray I am loosing share so selling products the world is not looking for</a:t>
            </a:r>
          </a:p>
          <a:p>
            <a:r>
              <a:rPr lang="en-US" baseline="0" dirty="0" smtClean="0"/>
              <a:t>Geographical= they are booming market for example from Niger is selling to Nigeria because of oil boom, same thing when you are selling to China.  </a:t>
            </a:r>
          </a:p>
          <a:p>
            <a:r>
              <a:rPr lang="en-US" baseline="0" dirty="0" smtClean="0"/>
              <a:t>The net effect is sum of blue and </a:t>
            </a:r>
            <a:r>
              <a:rPr lang="en-US" baseline="0" dirty="0" err="1" smtClean="0"/>
              <a:t>organge</a:t>
            </a:r>
            <a:r>
              <a:rPr lang="en-US" baseline="0" dirty="0" smtClean="0"/>
              <a:t> so Nigeria is not performing properly</a:t>
            </a:r>
          </a:p>
          <a:p>
            <a:r>
              <a:rPr lang="en-US" baseline="0" dirty="0" smtClean="0"/>
              <a:t>Domestic performance, due to structural reform they manage to </a:t>
            </a:r>
            <a:r>
              <a:rPr lang="en-US" baseline="0" dirty="0" err="1" smtClean="0"/>
              <a:t>eport</a:t>
            </a:r>
            <a:r>
              <a:rPr lang="en-US" baseline="0" dirty="0" smtClean="0"/>
              <a:t> more, in this case they are selling coffee</a:t>
            </a:r>
          </a:p>
          <a:p>
            <a:r>
              <a:rPr lang="en-US" baseline="0" dirty="0" smtClean="0"/>
              <a:t>Blue you increase market share because you are doing something on your own, in Rwanda is after war.</a:t>
            </a:r>
          </a:p>
          <a:p>
            <a:r>
              <a:rPr lang="en-US" baseline="0" dirty="0" smtClean="0"/>
              <a:t>CAR Central Africa</a:t>
            </a:r>
            <a:endParaRPr lang="en-US" dirty="0" smtClean="0"/>
          </a:p>
          <a:p>
            <a:endParaRPr lang="en-US" dirty="0"/>
          </a:p>
        </p:txBody>
      </p:sp>
      <p:sp>
        <p:nvSpPr>
          <p:cNvPr id="4" name="Slide Number Placeholder 3"/>
          <p:cNvSpPr>
            <a:spLocks noGrp="1"/>
          </p:cNvSpPr>
          <p:nvPr>
            <p:ph type="sldNum" sz="quarter" idx="10"/>
          </p:nvPr>
        </p:nvSpPr>
        <p:spPr/>
        <p:txBody>
          <a:bodyPr/>
          <a:lstStyle/>
          <a:p>
            <a:fld id="{6FB3389F-5C1E-4C34-9CED-86494D8A573F}" type="slidenum">
              <a:rPr lang="en-US" smtClean="0"/>
              <a:t>13</a:t>
            </a:fld>
            <a:endParaRPr lang="en-US"/>
          </a:p>
        </p:txBody>
      </p:sp>
    </p:spTree>
    <p:extLst>
      <p:ext uri="{BB962C8B-B14F-4D97-AF65-F5344CB8AC3E}">
        <p14:creationId xmlns:p14="http://schemas.microsoft.com/office/powerpoint/2010/main" val="40187095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smtClean="0">
                <a:solidFill>
                  <a:schemeClr val="tx1"/>
                </a:solidFill>
                <a:effectLst/>
                <a:latin typeface="+mn-lt"/>
                <a:ea typeface="+mn-ea"/>
                <a:cs typeface="+mn-cs"/>
              </a:rPr>
              <a:t>(HS Code)</a:t>
            </a:r>
            <a:r>
              <a:rPr lang="en-US" smtClean="0"/>
              <a:t> </a:t>
            </a:r>
            <a:r>
              <a:rPr lang="en-US" sz="1200" b="1" i="0" u="none" strike="noStrike" kern="1200" smtClean="0">
                <a:solidFill>
                  <a:schemeClr val="tx1"/>
                </a:solidFill>
                <a:effectLst/>
                <a:latin typeface="+mn-lt"/>
                <a:ea typeface="+mn-ea"/>
                <a:cs typeface="+mn-cs"/>
              </a:rPr>
              <a:t>CEMAC</a:t>
            </a:r>
            <a:r>
              <a:rPr lang="en-US" smtClean="0"/>
              <a:t> </a:t>
            </a:r>
            <a:r>
              <a:rPr lang="en-US" sz="1200" b="1" i="0" u="none" strike="noStrike" kern="1200" smtClean="0">
                <a:solidFill>
                  <a:schemeClr val="tx1"/>
                </a:solidFill>
                <a:effectLst/>
                <a:latin typeface="+mn-lt"/>
                <a:ea typeface="+mn-ea"/>
                <a:cs typeface="+mn-cs"/>
              </a:rPr>
              <a:t>ECOWAS</a:t>
            </a:r>
            <a:r>
              <a:rPr lang="en-US" smtClean="0"/>
              <a:t> </a:t>
            </a:r>
            <a:r>
              <a:rPr lang="en-US" sz="1200" b="1" i="0" u="none" strike="noStrike" kern="1200" smtClean="0">
                <a:solidFill>
                  <a:schemeClr val="tx1"/>
                </a:solidFill>
                <a:effectLst/>
                <a:latin typeface="+mn-lt"/>
                <a:ea typeface="+mn-ea"/>
                <a:cs typeface="+mn-cs"/>
              </a:rPr>
              <a:t>COMESA</a:t>
            </a:r>
            <a:r>
              <a:rPr lang="en-US" smtClean="0"/>
              <a:t> </a:t>
            </a:r>
            <a:r>
              <a:rPr lang="en-US" sz="1200" b="1" i="0" u="none" strike="noStrike" kern="1200" smtClean="0">
                <a:solidFill>
                  <a:schemeClr val="tx1"/>
                </a:solidFill>
                <a:effectLst/>
                <a:latin typeface="+mn-lt"/>
                <a:ea typeface="+mn-ea"/>
                <a:cs typeface="+mn-cs"/>
              </a:rPr>
              <a:t>Rwanda</a:t>
            </a:r>
            <a:r>
              <a:rPr lang="en-US" smtClean="0"/>
              <a:t> </a:t>
            </a:r>
            <a:r>
              <a:rPr lang="en-US" sz="1200" b="1" i="0" u="none" strike="noStrike" kern="1200" smtClean="0">
                <a:solidFill>
                  <a:schemeClr val="tx1"/>
                </a:solidFill>
                <a:effectLst/>
                <a:latin typeface="+mn-lt"/>
                <a:ea typeface="+mn-ea"/>
                <a:cs typeface="+mn-cs"/>
              </a:rPr>
              <a:t>SACU</a:t>
            </a:r>
            <a:r>
              <a:rPr lang="en-US" smtClean="0"/>
              <a:t> </a:t>
            </a:r>
            <a:r>
              <a:rPr lang="en-US" sz="1200" b="0" i="0" u="none" strike="noStrike" kern="1200" smtClean="0">
                <a:solidFill>
                  <a:schemeClr val="tx1"/>
                </a:solidFill>
                <a:effectLst/>
                <a:latin typeface="+mn-lt"/>
                <a:ea typeface="+mn-ea"/>
                <a:cs typeface="+mn-cs"/>
              </a:rPr>
              <a:t>1006.20.00</a:t>
            </a:r>
            <a:r>
              <a:rPr lang="en-US" smtClean="0"/>
              <a:t> </a:t>
            </a:r>
            <a:r>
              <a:rPr lang="en-US" sz="1200" b="0" i="0" u="none" strike="noStrike" kern="1200" smtClean="0">
                <a:solidFill>
                  <a:schemeClr val="tx1"/>
                </a:solidFill>
                <a:effectLst/>
                <a:latin typeface="+mn-lt"/>
                <a:ea typeface="+mn-ea"/>
                <a:cs typeface="+mn-cs"/>
              </a:rPr>
              <a:t>Rice</a:t>
            </a:r>
            <a:r>
              <a:rPr lang="en-US" smtClean="0"/>
              <a:t> </a:t>
            </a:r>
            <a:r>
              <a:rPr lang="en-US" sz="1200" b="0" i="0" u="none" strike="noStrike" kern="1200" smtClean="0">
                <a:solidFill>
                  <a:schemeClr val="tx1"/>
                </a:solidFill>
                <a:effectLst/>
                <a:latin typeface="+mn-lt"/>
                <a:ea typeface="+mn-ea"/>
                <a:cs typeface="+mn-cs"/>
              </a:rPr>
              <a:t>5%</a:t>
            </a:r>
            <a:r>
              <a:rPr lang="en-US" smtClean="0"/>
              <a:t> </a:t>
            </a:r>
            <a:r>
              <a:rPr lang="en-US" sz="1200" b="0" i="0" u="none" strike="noStrike" kern="1200" smtClean="0">
                <a:solidFill>
                  <a:schemeClr val="tx1"/>
                </a:solidFill>
                <a:effectLst/>
                <a:latin typeface="+mn-lt"/>
                <a:ea typeface="+mn-ea"/>
                <a:cs typeface="+mn-cs"/>
              </a:rPr>
              <a:t>10%</a:t>
            </a:r>
            <a:r>
              <a:rPr lang="en-US" smtClean="0"/>
              <a:t> </a:t>
            </a:r>
            <a:r>
              <a:rPr lang="en-US" sz="1200" b="0" i="0" u="none" strike="noStrike" kern="1200" smtClean="0">
                <a:solidFill>
                  <a:schemeClr val="tx1"/>
                </a:solidFill>
                <a:effectLst/>
                <a:latin typeface="+mn-lt"/>
                <a:ea typeface="+mn-ea"/>
                <a:cs typeface="+mn-cs"/>
              </a:rPr>
              <a:t>0%</a:t>
            </a:r>
            <a:r>
              <a:rPr lang="en-US" smtClean="0"/>
              <a:t> </a:t>
            </a:r>
            <a:r>
              <a:rPr lang="en-US" sz="1200" b="0" i="0" u="none" strike="noStrike" kern="1200" smtClean="0">
                <a:solidFill>
                  <a:schemeClr val="tx1"/>
                </a:solidFill>
                <a:effectLst/>
                <a:latin typeface="+mn-lt"/>
                <a:ea typeface="+mn-ea"/>
                <a:cs typeface="+mn-cs"/>
              </a:rPr>
              <a:t>75%</a:t>
            </a:r>
            <a:r>
              <a:rPr lang="en-US" smtClean="0"/>
              <a:t> </a:t>
            </a:r>
            <a:r>
              <a:rPr lang="en-US" sz="1200" b="0" i="0" u="none" strike="noStrike" kern="1200" smtClean="0">
                <a:solidFill>
                  <a:schemeClr val="tx1"/>
                </a:solidFill>
                <a:effectLst/>
                <a:latin typeface="+mn-lt"/>
                <a:ea typeface="+mn-ea"/>
                <a:cs typeface="+mn-cs"/>
              </a:rPr>
              <a:t>0%</a:t>
            </a:r>
            <a:r>
              <a:rPr lang="en-US" smtClean="0"/>
              <a:t> </a:t>
            </a:r>
            <a:r>
              <a:rPr lang="en-US" sz="1200" b="0" i="0" u="none" strike="noStrike" kern="1200" smtClean="0">
                <a:solidFill>
                  <a:schemeClr val="tx1"/>
                </a:solidFill>
                <a:effectLst/>
                <a:latin typeface="+mn-lt"/>
                <a:ea typeface="+mn-ea"/>
                <a:cs typeface="+mn-cs"/>
              </a:rPr>
              <a:t>1001.10.90</a:t>
            </a:r>
            <a:r>
              <a:rPr lang="en-US" smtClean="0"/>
              <a:t> </a:t>
            </a:r>
            <a:r>
              <a:rPr lang="en-US" sz="1200" b="0" i="0" u="none" strike="noStrike" kern="1200" smtClean="0">
                <a:solidFill>
                  <a:schemeClr val="tx1"/>
                </a:solidFill>
                <a:effectLst/>
                <a:latin typeface="+mn-lt"/>
                <a:ea typeface="+mn-ea"/>
                <a:cs typeface="+mn-cs"/>
              </a:rPr>
              <a:t>Wheat</a:t>
            </a:r>
            <a:r>
              <a:rPr lang="en-US" smtClean="0"/>
              <a:t> </a:t>
            </a:r>
            <a:r>
              <a:rPr lang="en-US" sz="1200" b="0" i="0" u="none" strike="noStrike" kern="1200" smtClean="0">
                <a:solidFill>
                  <a:schemeClr val="tx1"/>
                </a:solidFill>
                <a:effectLst/>
                <a:latin typeface="+mn-lt"/>
                <a:ea typeface="+mn-ea"/>
                <a:cs typeface="+mn-cs"/>
              </a:rPr>
              <a:t>10%</a:t>
            </a:r>
            <a:r>
              <a:rPr lang="en-US" smtClean="0"/>
              <a:t> </a:t>
            </a:r>
            <a:r>
              <a:rPr lang="en-US" sz="1200" b="0" i="0" u="none" strike="noStrike" kern="1200" smtClean="0">
                <a:solidFill>
                  <a:schemeClr val="tx1"/>
                </a:solidFill>
                <a:effectLst/>
                <a:latin typeface="+mn-lt"/>
                <a:ea typeface="+mn-ea"/>
                <a:cs typeface="+mn-cs"/>
              </a:rPr>
              <a:t>5%</a:t>
            </a:r>
            <a:r>
              <a:rPr lang="en-US" smtClean="0"/>
              <a:t> </a:t>
            </a:r>
            <a:r>
              <a:rPr lang="en-US" sz="1200" b="0" i="0" u="none" strike="noStrike" kern="1200" smtClean="0">
                <a:solidFill>
                  <a:schemeClr val="tx1"/>
                </a:solidFill>
                <a:effectLst/>
                <a:latin typeface="+mn-lt"/>
                <a:ea typeface="+mn-ea"/>
                <a:cs typeface="+mn-cs"/>
              </a:rPr>
              <a:t>0%</a:t>
            </a:r>
            <a:r>
              <a:rPr lang="en-US" smtClean="0"/>
              <a:t> </a:t>
            </a:r>
            <a:r>
              <a:rPr lang="en-US" sz="1200" b="0" i="0" u="none" strike="noStrike" kern="1200" smtClean="0">
                <a:solidFill>
                  <a:schemeClr val="tx1"/>
                </a:solidFill>
                <a:effectLst/>
                <a:latin typeface="+mn-lt"/>
                <a:ea typeface="+mn-ea"/>
                <a:cs typeface="+mn-cs"/>
              </a:rPr>
              <a:t>0%</a:t>
            </a:r>
            <a:r>
              <a:rPr lang="en-US" smtClean="0"/>
              <a:t> </a:t>
            </a:r>
            <a:r>
              <a:rPr lang="en-US" sz="1200" b="0" i="0" u="none" strike="noStrike" kern="1200" smtClean="0">
                <a:solidFill>
                  <a:schemeClr val="tx1"/>
                </a:solidFill>
                <a:effectLst/>
                <a:latin typeface="+mn-lt"/>
                <a:ea typeface="+mn-ea"/>
                <a:cs typeface="+mn-cs"/>
              </a:rPr>
              <a:t>0%</a:t>
            </a:r>
            <a:r>
              <a:rPr lang="en-US" smtClean="0"/>
              <a:t> </a:t>
            </a:r>
            <a:r>
              <a:rPr lang="en-US" sz="1200" b="0" i="0" u="none" strike="noStrike" kern="1200" smtClean="0">
                <a:solidFill>
                  <a:schemeClr val="tx1"/>
                </a:solidFill>
                <a:effectLst/>
                <a:latin typeface="+mn-lt"/>
                <a:ea typeface="+mn-ea"/>
                <a:cs typeface="+mn-cs"/>
              </a:rPr>
              <a:t>0714.90.10</a:t>
            </a:r>
            <a:r>
              <a:rPr lang="en-US" smtClean="0"/>
              <a:t> </a:t>
            </a:r>
            <a:r>
              <a:rPr lang="en-US" sz="1200" b="0" i="0" u="none" strike="noStrike" kern="1200" smtClean="0">
                <a:solidFill>
                  <a:schemeClr val="tx1"/>
                </a:solidFill>
                <a:effectLst/>
                <a:latin typeface="+mn-lt"/>
                <a:ea typeface="+mn-ea"/>
                <a:cs typeface="+mn-cs"/>
              </a:rPr>
              <a:t>Yams</a:t>
            </a:r>
            <a:r>
              <a:rPr lang="en-US" smtClean="0"/>
              <a:t> </a:t>
            </a:r>
            <a:r>
              <a:rPr lang="en-US" sz="1200" b="0" i="0" u="none" strike="noStrike" kern="1200" smtClean="0">
                <a:solidFill>
                  <a:schemeClr val="tx1"/>
                </a:solidFill>
                <a:effectLst/>
                <a:latin typeface="+mn-lt"/>
                <a:ea typeface="+mn-ea"/>
                <a:cs typeface="+mn-cs"/>
              </a:rPr>
              <a:t>30%</a:t>
            </a:r>
            <a:r>
              <a:rPr lang="en-US" smtClean="0"/>
              <a:t> </a:t>
            </a:r>
            <a:r>
              <a:rPr lang="en-US" sz="1200" b="0" i="0" u="none" strike="noStrike" kern="1200" smtClean="0">
                <a:solidFill>
                  <a:schemeClr val="tx1"/>
                </a:solidFill>
                <a:effectLst/>
                <a:latin typeface="+mn-lt"/>
                <a:ea typeface="+mn-ea"/>
                <a:cs typeface="+mn-cs"/>
              </a:rPr>
              <a:t>20%</a:t>
            </a:r>
            <a:r>
              <a:rPr lang="en-US" smtClean="0"/>
              <a:t> </a:t>
            </a:r>
            <a:r>
              <a:rPr lang="en-US" sz="1200" b="0" i="0" u="none" strike="noStrike" kern="1200" smtClean="0">
                <a:solidFill>
                  <a:schemeClr val="tx1"/>
                </a:solidFill>
                <a:effectLst/>
                <a:latin typeface="+mn-lt"/>
                <a:ea typeface="+mn-ea"/>
                <a:cs typeface="+mn-cs"/>
              </a:rPr>
              <a:t>0%</a:t>
            </a:r>
            <a:r>
              <a:rPr lang="en-US" smtClean="0"/>
              <a:t> </a:t>
            </a:r>
            <a:r>
              <a:rPr lang="en-US" sz="1200" b="0" i="0" u="none" strike="noStrike" kern="1200" smtClean="0">
                <a:solidFill>
                  <a:schemeClr val="tx1"/>
                </a:solidFill>
                <a:effectLst/>
                <a:latin typeface="+mn-lt"/>
                <a:ea typeface="+mn-ea"/>
                <a:cs typeface="+mn-cs"/>
              </a:rPr>
              <a:t>25%</a:t>
            </a:r>
            <a:r>
              <a:rPr lang="en-US" smtClean="0"/>
              <a:t> </a:t>
            </a:r>
            <a:r>
              <a:rPr lang="en-US" sz="1200" b="0" i="0" u="none" strike="noStrike" kern="1200" smtClean="0">
                <a:solidFill>
                  <a:schemeClr val="tx1"/>
                </a:solidFill>
                <a:effectLst/>
                <a:latin typeface="+mn-lt"/>
                <a:ea typeface="+mn-ea"/>
                <a:cs typeface="+mn-cs"/>
              </a:rPr>
              <a:t>5%</a:t>
            </a:r>
            <a:r>
              <a:rPr lang="en-US" smtClean="0"/>
              <a:t> </a:t>
            </a:r>
            <a:r>
              <a:rPr lang="en-US" sz="1200" b="0" i="0" u="none" strike="noStrike" kern="1200" smtClean="0">
                <a:solidFill>
                  <a:schemeClr val="tx1"/>
                </a:solidFill>
                <a:effectLst/>
                <a:latin typeface="+mn-lt"/>
                <a:ea typeface="+mn-ea"/>
                <a:cs typeface="+mn-cs"/>
              </a:rPr>
              <a:t>0201.10.00</a:t>
            </a:r>
            <a:r>
              <a:rPr lang="en-US" smtClean="0"/>
              <a:t> </a:t>
            </a:r>
            <a:r>
              <a:rPr lang="en-US" sz="1200" b="0" i="0" u="none" strike="noStrike" kern="1200" smtClean="0">
                <a:solidFill>
                  <a:schemeClr val="tx1"/>
                </a:solidFill>
                <a:effectLst/>
                <a:latin typeface="+mn-lt"/>
                <a:ea typeface="+mn-ea"/>
                <a:cs typeface="+mn-cs"/>
              </a:rPr>
              <a:t>Beef (carcass)</a:t>
            </a:r>
            <a:r>
              <a:rPr lang="en-US" smtClean="0"/>
              <a:t> </a:t>
            </a:r>
            <a:r>
              <a:rPr lang="en-US" sz="1200" b="0" i="0" u="none" strike="noStrike" kern="1200" smtClean="0">
                <a:solidFill>
                  <a:schemeClr val="tx1"/>
                </a:solidFill>
                <a:effectLst/>
                <a:latin typeface="+mn-lt"/>
                <a:ea typeface="+mn-ea"/>
                <a:cs typeface="+mn-cs"/>
              </a:rPr>
              <a:t>20%</a:t>
            </a:r>
            <a:r>
              <a:rPr lang="en-US" smtClean="0"/>
              <a:t> </a:t>
            </a:r>
            <a:r>
              <a:rPr lang="en-US" sz="1200" b="0" i="0" u="none" strike="noStrike" kern="1200" smtClean="0">
                <a:solidFill>
                  <a:schemeClr val="tx1"/>
                </a:solidFill>
                <a:effectLst/>
                <a:latin typeface="+mn-lt"/>
                <a:ea typeface="+mn-ea"/>
                <a:cs typeface="+mn-cs"/>
              </a:rPr>
              <a:t>35%</a:t>
            </a:r>
            <a:r>
              <a:rPr lang="en-US" smtClean="0"/>
              <a:t> </a:t>
            </a:r>
            <a:r>
              <a:rPr lang="en-US" sz="1200" b="0" i="0" u="none" strike="noStrike" kern="1200" smtClean="0">
                <a:solidFill>
                  <a:schemeClr val="tx1"/>
                </a:solidFill>
                <a:effectLst/>
                <a:latin typeface="+mn-lt"/>
                <a:ea typeface="+mn-ea"/>
                <a:cs typeface="+mn-cs"/>
              </a:rPr>
              <a:t>0%</a:t>
            </a:r>
            <a:r>
              <a:rPr lang="en-US" smtClean="0"/>
              <a:t> </a:t>
            </a:r>
            <a:r>
              <a:rPr lang="en-US" sz="1200" b="0" i="0" u="none" strike="noStrike" kern="1200" smtClean="0">
                <a:solidFill>
                  <a:schemeClr val="tx1"/>
                </a:solidFill>
                <a:effectLst/>
                <a:latin typeface="+mn-lt"/>
                <a:ea typeface="+mn-ea"/>
                <a:cs typeface="+mn-cs"/>
              </a:rPr>
              <a:t>25%</a:t>
            </a:r>
            <a:r>
              <a:rPr lang="en-US" smtClean="0"/>
              <a:t> </a:t>
            </a:r>
            <a:r>
              <a:rPr lang="en-US" sz="1200" b="0" i="0" u="none" strike="noStrike" kern="1200" smtClean="0">
                <a:solidFill>
                  <a:schemeClr val="tx1"/>
                </a:solidFill>
                <a:effectLst/>
                <a:latin typeface="+mn-lt"/>
                <a:ea typeface="+mn-ea"/>
                <a:cs typeface="+mn-cs"/>
              </a:rPr>
              <a:t>40%</a:t>
            </a:r>
            <a:r>
              <a:rPr lang="en-US" smtClean="0"/>
              <a:t> </a:t>
            </a:r>
            <a:r>
              <a:rPr lang="en-US" sz="1200" b="1" i="0" u="none" strike="noStrike" kern="1200" smtClean="0">
                <a:solidFill>
                  <a:schemeClr val="tx1"/>
                </a:solidFill>
                <a:effectLst/>
                <a:latin typeface="+mn-lt"/>
                <a:ea typeface="+mn-ea"/>
                <a:cs typeface="+mn-cs"/>
              </a:rPr>
              <a:t>0207.11.00</a:t>
            </a:r>
            <a:r>
              <a:rPr lang="en-US" smtClean="0"/>
              <a:t> </a:t>
            </a:r>
            <a:r>
              <a:rPr lang="en-US" sz="1200" b="0" i="0" u="none" strike="noStrike" kern="1200" smtClean="0">
                <a:solidFill>
                  <a:schemeClr val="tx1"/>
                </a:solidFill>
                <a:effectLst/>
                <a:latin typeface="+mn-lt"/>
                <a:ea typeface="+mn-ea"/>
                <a:cs typeface="+mn-cs"/>
              </a:rPr>
              <a:t>Chicken (cuts)</a:t>
            </a:r>
            <a:r>
              <a:rPr lang="en-US" smtClean="0"/>
              <a:t> </a:t>
            </a:r>
            <a:r>
              <a:rPr lang="en-US" sz="1200" b="0" i="0" u="none" strike="noStrike" kern="1200" smtClean="0">
                <a:solidFill>
                  <a:schemeClr val="tx1"/>
                </a:solidFill>
                <a:effectLst/>
                <a:latin typeface="+mn-lt"/>
                <a:ea typeface="+mn-ea"/>
                <a:cs typeface="+mn-cs"/>
              </a:rPr>
              <a:t>5%</a:t>
            </a:r>
            <a:r>
              <a:rPr lang="en-US" smtClean="0"/>
              <a:t> </a:t>
            </a:r>
            <a:r>
              <a:rPr lang="en-US" sz="1200" b="0" i="0" u="none" strike="noStrike" kern="1200" smtClean="0">
                <a:solidFill>
                  <a:schemeClr val="tx1"/>
                </a:solidFill>
                <a:effectLst/>
                <a:latin typeface="+mn-lt"/>
                <a:ea typeface="+mn-ea"/>
                <a:cs typeface="+mn-cs"/>
              </a:rPr>
              <a:t>35%</a:t>
            </a:r>
            <a:r>
              <a:rPr lang="en-US" smtClean="0"/>
              <a:t> </a:t>
            </a:r>
            <a:r>
              <a:rPr lang="en-US" sz="1200" b="0" i="0" u="none" strike="noStrike" kern="1200" smtClean="0">
                <a:solidFill>
                  <a:schemeClr val="tx1"/>
                </a:solidFill>
                <a:effectLst/>
                <a:latin typeface="+mn-lt"/>
                <a:ea typeface="+mn-ea"/>
                <a:cs typeface="+mn-cs"/>
              </a:rPr>
              <a:t>0%</a:t>
            </a:r>
            <a:r>
              <a:rPr lang="en-US" smtClean="0"/>
              <a:t> </a:t>
            </a:r>
            <a:r>
              <a:rPr lang="en-US" sz="1200" b="0" i="0" u="none" strike="noStrike" kern="1200" smtClean="0">
                <a:solidFill>
                  <a:schemeClr val="tx1"/>
                </a:solidFill>
                <a:effectLst/>
                <a:latin typeface="+mn-lt"/>
                <a:ea typeface="+mn-ea"/>
                <a:cs typeface="+mn-cs"/>
              </a:rPr>
              <a:t>25%</a:t>
            </a:r>
            <a:r>
              <a:rPr lang="en-US" smtClean="0"/>
              <a:t> </a:t>
            </a:r>
            <a:r>
              <a:rPr lang="en-US" sz="1200" b="0" i="0" u="none" strike="noStrike" kern="1200" smtClean="0">
                <a:solidFill>
                  <a:schemeClr val="tx1"/>
                </a:solidFill>
                <a:effectLst/>
                <a:latin typeface="+mn-lt"/>
                <a:ea typeface="+mn-ea"/>
                <a:cs typeface="+mn-cs"/>
              </a:rPr>
              <a:t>27%</a:t>
            </a:r>
            <a:r>
              <a:rPr lang="en-US" smtClean="0"/>
              <a:t> </a:t>
            </a:r>
            <a:r>
              <a:rPr lang="en-US" sz="1200" b="0" i="0" u="none" strike="noStrike" kern="1200" smtClean="0">
                <a:solidFill>
                  <a:schemeClr val="tx1"/>
                </a:solidFill>
                <a:effectLst/>
                <a:latin typeface="+mn-lt"/>
                <a:ea typeface="+mn-ea"/>
                <a:cs typeface="+mn-cs"/>
              </a:rPr>
              <a:t>0402.10.00</a:t>
            </a:r>
            <a:r>
              <a:rPr lang="en-US" smtClean="0"/>
              <a:t> </a:t>
            </a:r>
            <a:r>
              <a:rPr lang="en-US" sz="1200" b="0" i="0" u="none" strike="noStrike" kern="1200" smtClean="0">
                <a:solidFill>
                  <a:schemeClr val="tx1"/>
                </a:solidFill>
                <a:effectLst/>
                <a:latin typeface="+mn-lt"/>
                <a:ea typeface="+mn-ea"/>
                <a:cs typeface="+mn-cs"/>
              </a:rPr>
              <a:t>Milk Powder</a:t>
            </a:r>
            <a:r>
              <a:rPr lang="en-US" smtClean="0"/>
              <a:t> </a:t>
            </a:r>
            <a:r>
              <a:rPr lang="en-US" sz="1200" b="0" i="0" u="none" strike="noStrike" kern="1200" smtClean="0">
                <a:solidFill>
                  <a:schemeClr val="tx1"/>
                </a:solidFill>
                <a:effectLst/>
                <a:latin typeface="+mn-lt"/>
                <a:ea typeface="+mn-ea"/>
                <a:cs typeface="+mn-cs"/>
              </a:rPr>
              <a:t>5%</a:t>
            </a:r>
            <a:r>
              <a:rPr lang="en-US" smtClean="0"/>
              <a:t> </a:t>
            </a:r>
            <a:r>
              <a:rPr lang="en-US" sz="1200" b="0" i="0" u="none" strike="noStrike" kern="1200" smtClean="0">
                <a:solidFill>
                  <a:schemeClr val="tx1"/>
                </a:solidFill>
                <a:effectLst/>
                <a:latin typeface="+mn-lt"/>
                <a:ea typeface="+mn-ea"/>
                <a:cs typeface="+mn-cs"/>
              </a:rPr>
              <a:t>20%</a:t>
            </a:r>
            <a:r>
              <a:rPr lang="en-US" smtClean="0"/>
              <a:t> </a:t>
            </a:r>
            <a:r>
              <a:rPr lang="en-US" sz="1200" b="0" i="0" u="none" strike="noStrike" kern="1200" smtClean="0">
                <a:solidFill>
                  <a:schemeClr val="tx1"/>
                </a:solidFill>
                <a:effectLst/>
                <a:latin typeface="+mn-lt"/>
                <a:ea typeface="+mn-ea"/>
                <a:cs typeface="+mn-cs"/>
              </a:rPr>
              <a:t>15%</a:t>
            </a:r>
            <a:r>
              <a:rPr lang="en-US" smtClean="0"/>
              <a:t> </a:t>
            </a:r>
            <a:r>
              <a:rPr lang="en-US" sz="1200" b="0" i="0" u="none" strike="noStrike" kern="1200" smtClean="0">
                <a:solidFill>
                  <a:schemeClr val="tx1"/>
                </a:solidFill>
                <a:effectLst/>
                <a:latin typeface="+mn-lt"/>
                <a:ea typeface="+mn-ea"/>
                <a:cs typeface="+mn-cs"/>
              </a:rPr>
              <a:t>60%</a:t>
            </a:r>
            <a:r>
              <a:rPr lang="en-US" smtClean="0"/>
              <a:t> </a:t>
            </a:r>
            <a:r>
              <a:rPr lang="en-US" sz="1200" b="0" i="0" u="none" strike="noStrike" kern="1200" smtClean="0">
                <a:solidFill>
                  <a:schemeClr val="tx1"/>
                </a:solidFill>
                <a:effectLst/>
                <a:latin typeface="+mn-lt"/>
                <a:ea typeface="+mn-ea"/>
                <a:cs typeface="+mn-cs"/>
              </a:rPr>
              <a:t>96%</a:t>
            </a:r>
            <a:r>
              <a:rPr lang="en-US" smtClean="0"/>
              <a:t> </a:t>
            </a:r>
            <a:endParaRPr lang="en-US"/>
          </a:p>
        </p:txBody>
      </p:sp>
      <p:sp>
        <p:nvSpPr>
          <p:cNvPr id="4" name="Slide Number Placeholder 3"/>
          <p:cNvSpPr>
            <a:spLocks noGrp="1"/>
          </p:cNvSpPr>
          <p:nvPr>
            <p:ph type="sldNum" sz="quarter" idx="10"/>
          </p:nvPr>
        </p:nvSpPr>
        <p:spPr/>
        <p:txBody>
          <a:bodyPr/>
          <a:lstStyle/>
          <a:p>
            <a:fld id="{6FB3389F-5C1E-4C34-9CED-86494D8A573F}" type="slidenum">
              <a:rPr lang="en-US" smtClean="0"/>
              <a:t>14</a:t>
            </a:fld>
            <a:endParaRPr lang="en-US"/>
          </a:p>
        </p:txBody>
      </p:sp>
    </p:spTree>
    <p:extLst>
      <p:ext uri="{BB962C8B-B14F-4D97-AF65-F5344CB8AC3E}">
        <p14:creationId xmlns:p14="http://schemas.microsoft.com/office/powerpoint/2010/main" val="28642325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EMAC =central Africa</a:t>
            </a:r>
          </a:p>
          <a:p>
            <a:r>
              <a:rPr lang="en-US" dirty="0" smtClean="0"/>
              <a:t>COMESA positive</a:t>
            </a:r>
          </a:p>
          <a:p>
            <a:r>
              <a:rPr lang="en-US" dirty="0" err="1" smtClean="0"/>
              <a:t>Ecowas</a:t>
            </a:r>
            <a:r>
              <a:rPr lang="en-US" baseline="0" dirty="0" smtClean="0"/>
              <a:t> is moving to negative see slide before</a:t>
            </a:r>
            <a:endParaRPr lang="en-US" dirty="0" smtClean="0"/>
          </a:p>
          <a:p>
            <a:endParaRPr lang="en-US" dirty="0"/>
          </a:p>
        </p:txBody>
      </p:sp>
      <p:sp>
        <p:nvSpPr>
          <p:cNvPr id="4" name="Slide Number Placeholder 3"/>
          <p:cNvSpPr>
            <a:spLocks noGrp="1"/>
          </p:cNvSpPr>
          <p:nvPr>
            <p:ph type="sldNum" sz="quarter" idx="10"/>
          </p:nvPr>
        </p:nvSpPr>
        <p:spPr/>
        <p:txBody>
          <a:bodyPr/>
          <a:lstStyle/>
          <a:p>
            <a:fld id="{6FB3389F-5C1E-4C34-9CED-86494D8A573F}"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17070500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39167B0-FC4A-4B8C-81A9-216FC5FFBEB6}" type="datetimeFigureOut">
              <a:rPr lang="en-US" smtClean="0">
                <a:solidFill>
                  <a:prstClr val="black">
                    <a:tint val="75000"/>
                  </a:prstClr>
                </a:solidFill>
              </a:rPr>
              <a:pPr/>
              <a:t>3/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01474626-E59D-46A0-AF39-4CAD568801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6311367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39167B0-FC4A-4B8C-81A9-216FC5FFBEB6}" type="datetimeFigureOut">
              <a:rPr lang="en-US" smtClean="0">
                <a:solidFill>
                  <a:prstClr val="black">
                    <a:tint val="75000"/>
                  </a:prstClr>
                </a:solidFill>
              </a:rPr>
              <a:pPr/>
              <a:t>3/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01474626-E59D-46A0-AF39-4CAD568801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140410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2D3B2B8-EC0B-402B-A1C0-F8FD0F8D7F9D}" type="datetimeFigureOut">
              <a:rPr lang="en-US" smtClean="0">
                <a:solidFill>
                  <a:prstClr val="black">
                    <a:tint val="75000"/>
                  </a:prstClr>
                </a:solidFill>
              </a:rPr>
              <a:pPr/>
              <a:t>3/2/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4810EC03-89C6-4249-942A-FC2F5071A5F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989645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39167B0-FC4A-4B8C-81A9-216FC5FFBEB6}" type="datetimeFigureOut">
              <a:rPr lang="en-US" smtClean="0">
                <a:solidFill>
                  <a:prstClr val="black">
                    <a:tint val="75000"/>
                  </a:prstClr>
                </a:solidFill>
              </a:rPr>
              <a:pPr/>
              <a:t>3/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01474626-E59D-46A0-AF39-4CAD568801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810491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el en object">
    <p:spTree>
      <p:nvGrpSpPr>
        <p:cNvPr id="1" name=""/>
        <p:cNvGrpSpPr/>
        <p:nvPr/>
      </p:nvGrpSpPr>
      <p:grpSpPr>
        <a:xfrm>
          <a:off x="0" y="0"/>
          <a:ext cx="0" cy="0"/>
          <a:chOff x="0" y="0"/>
          <a:chExt cx="0" cy="0"/>
        </a:xfrm>
      </p:grpSpPr>
      <p:sp>
        <p:nvSpPr>
          <p:cNvPr id="3" name="Tijdelijke aanduiding voor inhoud 2"/>
          <p:cNvSpPr>
            <a:spLocks noGrp="1"/>
          </p:cNvSpPr>
          <p:nvPr>
            <p:ph idx="1" hasCustomPrompt="1"/>
          </p:nvPr>
        </p:nvSpPr>
        <p:spPr>
          <a:xfrm>
            <a:off x="468000" y="1398488"/>
            <a:ext cx="8229600" cy="4406776"/>
          </a:xfrm>
        </p:spPr>
        <p:txBody>
          <a:bodyPr lIns="0" tIns="0" rIns="0" bIns="0"/>
          <a:lstStyle>
            <a:lvl1pPr marL="360000" indent="-360000">
              <a:lnSpc>
                <a:spcPts val="3600"/>
              </a:lnSpc>
              <a:spcBef>
                <a:spcPts val="0"/>
              </a:spcBef>
              <a:buClr>
                <a:srgbClr val="EDC500"/>
              </a:buClr>
              <a:defRPr sz="2800" baseline="0">
                <a:solidFill>
                  <a:srgbClr val="602C14"/>
                </a:solidFill>
              </a:defRPr>
            </a:lvl1pPr>
            <a:lvl2pPr marL="720000" indent="-360000">
              <a:lnSpc>
                <a:spcPts val="3600"/>
              </a:lnSpc>
              <a:spcBef>
                <a:spcPts val="0"/>
              </a:spcBef>
              <a:buClr>
                <a:srgbClr val="602C14"/>
              </a:buClr>
              <a:buFont typeface="Arial" pitchFamily="34" charset="0"/>
              <a:buChar char="−"/>
              <a:defRPr sz="2100" baseline="0">
                <a:solidFill>
                  <a:srgbClr val="602C14"/>
                </a:solidFill>
              </a:defRPr>
            </a:lvl2pPr>
          </a:lstStyle>
          <a:p>
            <a:pPr lvl="0"/>
            <a:r>
              <a:rPr lang="nl-NL" dirty="0" smtClean="0"/>
              <a:t>Line 1</a:t>
            </a:r>
          </a:p>
          <a:p>
            <a:pPr lvl="1"/>
            <a:r>
              <a:rPr lang="nl-NL" dirty="0" smtClean="0"/>
              <a:t>Level 2</a:t>
            </a:r>
          </a:p>
          <a:p>
            <a:pPr lvl="0"/>
            <a:r>
              <a:rPr lang="nl-NL" dirty="0" smtClean="0"/>
              <a:t>Line 1</a:t>
            </a:r>
          </a:p>
          <a:p>
            <a:pPr lvl="1"/>
            <a:r>
              <a:rPr lang="nl-NL" dirty="0" smtClean="0"/>
              <a:t>Level 2</a:t>
            </a:r>
          </a:p>
          <a:p>
            <a:pPr lvl="1"/>
            <a:r>
              <a:rPr lang="nl-NL" dirty="0" smtClean="0"/>
              <a:t>Level 2</a:t>
            </a:r>
          </a:p>
          <a:p>
            <a:pPr lvl="0"/>
            <a:r>
              <a:rPr lang="nl-NL" dirty="0" smtClean="0"/>
              <a:t>Line 1</a:t>
            </a:r>
          </a:p>
          <a:p>
            <a:pPr lvl="0"/>
            <a:r>
              <a:rPr lang="nl-NL" dirty="0" smtClean="0"/>
              <a:t>Line 1</a:t>
            </a:r>
          </a:p>
          <a:p>
            <a:pPr lvl="0"/>
            <a:r>
              <a:rPr lang="nl-NL" dirty="0" smtClean="0"/>
              <a:t>Line 1</a:t>
            </a:r>
          </a:p>
          <a:p>
            <a:pPr lvl="1"/>
            <a:r>
              <a:rPr lang="nl-NL" dirty="0" smtClean="0"/>
              <a:t>Level 2</a:t>
            </a:r>
          </a:p>
        </p:txBody>
      </p:sp>
      <p:sp>
        <p:nvSpPr>
          <p:cNvPr id="9" name="Titel 8"/>
          <p:cNvSpPr>
            <a:spLocks noGrp="1"/>
          </p:cNvSpPr>
          <p:nvPr>
            <p:ph type="title" hasCustomPrompt="1"/>
          </p:nvPr>
        </p:nvSpPr>
        <p:spPr>
          <a:xfrm>
            <a:off x="468000" y="360934"/>
            <a:ext cx="8229600" cy="634082"/>
          </a:xfrm>
        </p:spPr>
        <p:txBody>
          <a:bodyPr lIns="0" tIns="0" rIns="0" bIns="0" anchor="t" anchorCtr="0">
            <a:normAutofit/>
          </a:bodyPr>
          <a:lstStyle>
            <a:lvl1pPr algn="l">
              <a:defRPr sz="3200" baseline="0">
                <a:solidFill>
                  <a:schemeClr val="bg1"/>
                </a:solidFill>
              </a:defRPr>
            </a:lvl1pPr>
          </a:lstStyle>
          <a:p>
            <a:r>
              <a:rPr lang="nl-NL" dirty="0" err="1" smtClean="0"/>
              <a:t>Text</a:t>
            </a:r>
            <a:r>
              <a:rPr lang="nl-NL" dirty="0" smtClean="0"/>
              <a:t> slide</a:t>
            </a:r>
            <a:endParaRPr lang="en-GB" dirty="0"/>
          </a:p>
        </p:txBody>
      </p:sp>
    </p:spTree>
    <p:extLst>
      <p:ext uri="{BB962C8B-B14F-4D97-AF65-F5344CB8AC3E}">
        <p14:creationId xmlns:p14="http://schemas.microsoft.com/office/powerpoint/2010/main" val="423843717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2A9B042C-3BCB-440A-A00C-6C44C10140D1}" type="datetime1">
              <a:rPr lang="en-US" smtClean="0">
                <a:solidFill>
                  <a:prstClr val="black">
                    <a:tint val="75000"/>
                  </a:prstClr>
                </a:solidFill>
              </a:rPr>
              <a:pPr/>
              <a:t>3/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6F4BD74-0DD2-4FBB-B79D-F4FBDC2C921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743096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D21871E-B401-403A-A69F-8A1C9690F4FB}" type="datetime1">
              <a:rPr lang="en-US" smtClean="0">
                <a:solidFill>
                  <a:prstClr val="black">
                    <a:tint val="75000"/>
                  </a:prstClr>
                </a:solidFill>
              </a:rPr>
              <a:pPr/>
              <a:t>3/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6F4BD74-0DD2-4FBB-B79D-F4FBDC2C921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502909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smtClean="0"/>
              <a:t>Click to edit Master title style</a:t>
            </a:r>
            <a:endParaRPr lang="en-US"/>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E5B4D311-D2A9-4C7B-B8B4-9B4004DF63DF}" type="datetime1">
              <a:rPr lang="en-US" smtClean="0">
                <a:solidFill>
                  <a:prstClr val="black">
                    <a:tint val="75000"/>
                  </a:prstClr>
                </a:solidFill>
              </a:rPr>
              <a:pPr/>
              <a:t>3/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6F4BD74-0DD2-4FBB-B79D-F4FBDC2C921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025421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91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B794A668-5B6D-4987-9028-24989CA55FE7}" type="datetime1">
              <a:rPr lang="en-US" smtClean="0">
                <a:solidFill>
                  <a:prstClr val="black">
                    <a:tint val="75000"/>
                  </a:prstClr>
                </a:solidFill>
              </a:rPr>
              <a:pPr/>
              <a:t>3/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36F4BD74-0DD2-4FBB-B79D-F4FBDC2C921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0990254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0CF86E87-6549-40E1-9E23-05DD01AE83A5}" type="datetime1">
              <a:rPr lang="en-US" smtClean="0">
                <a:solidFill>
                  <a:prstClr val="black">
                    <a:tint val="75000"/>
                  </a:prstClr>
                </a:solidFill>
              </a:rPr>
              <a:pPr/>
              <a:t>3/2/2016</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36F4BD74-0DD2-4FBB-B79D-F4FBDC2C921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115506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005773C-4830-44B1-8F23-CCCFC8CB4093}" type="datetime1">
              <a:rPr lang="en-US" smtClean="0">
                <a:solidFill>
                  <a:prstClr val="black">
                    <a:tint val="75000"/>
                  </a:prstClr>
                </a:solidFill>
              </a:rPr>
              <a:pPr/>
              <a:t>3/2/2016</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36F4BD74-0DD2-4FBB-B79D-F4FBDC2C921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98206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AF5B8A0-99B6-4381-9D2C-95BB34976A3D}" type="datetime1">
              <a:rPr lang="en-US" smtClean="0">
                <a:solidFill>
                  <a:prstClr val="black">
                    <a:tint val="75000"/>
                  </a:prstClr>
                </a:solidFill>
              </a:rPr>
              <a:pPr/>
              <a:t>3/2/2016</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36F4BD74-0DD2-4FBB-B79D-F4FBDC2C921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1489852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39167B0-FC4A-4B8C-81A9-216FC5FFBEB6}" type="datetimeFigureOut">
              <a:rPr lang="en-US" smtClean="0">
                <a:solidFill>
                  <a:prstClr val="black">
                    <a:tint val="75000"/>
                  </a:prstClr>
                </a:solidFill>
              </a:rPr>
              <a:pPr/>
              <a:t>3/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01474626-E59D-46A0-AF39-4CAD568801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5359727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269BF5F-DD2D-43A1-9DCF-BDA791634975}" type="datetime1">
              <a:rPr lang="en-US" smtClean="0">
                <a:solidFill>
                  <a:prstClr val="black">
                    <a:tint val="75000"/>
                  </a:prstClr>
                </a:solidFill>
              </a:rPr>
              <a:pPr/>
              <a:t>3/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36F4BD74-0DD2-4FBB-B79D-F4FBDC2C921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087722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742C511-CEC0-412D-B635-65689B0BB54A}" type="datetime1">
              <a:rPr lang="en-US" smtClean="0">
                <a:solidFill>
                  <a:prstClr val="black">
                    <a:tint val="75000"/>
                  </a:prstClr>
                </a:solidFill>
              </a:rPr>
              <a:pPr/>
              <a:t>3/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36F4BD74-0DD2-4FBB-B79D-F4FBDC2C921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2048063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BBF3107-909B-4987-8717-4F9C84B1EE64}" type="datetime1">
              <a:rPr lang="en-US" smtClean="0">
                <a:solidFill>
                  <a:prstClr val="black">
                    <a:tint val="75000"/>
                  </a:prstClr>
                </a:solidFill>
              </a:rPr>
              <a:pPr/>
              <a:t>3/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6F4BD74-0DD2-4FBB-B79D-F4FBDC2C921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0767039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59D9FE5-EA2D-4E28-9918-CAD2BACEC05C}" type="datetime1">
              <a:rPr lang="en-US" smtClean="0">
                <a:solidFill>
                  <a:prstClr val="black">
                    <a:tint val="75000"/>
                  </a:prstClr>
                </a:solidFill>
              </a:rPr>
              <a:pPr/>
              <a:t>3/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6F4BD74-0DD2-4FBB-B79D-F4FBDC2C921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134561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chartAndTx">
  <p:cSld name="Title, Ch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27025"/>
            <a:ext cx="8305800" cy="641350"/>
          </a:xfrm>
        </p:spPr>
        <p:txBody>
          <a:bodyPr/>
          <a:lstStyle/>
          <a:p>
            <a:r>
              <a:rPr lang="en-US" smtClean="0"/>
              <a:t>Click to edit Master title style</a:t>
            </a:r>
            <a:endParaRPr lang="en-US"/>
          </a:p>
        </p:txBody>
      </p:sp>
      <p:sp>
        <p:nvSpPr>
          <p:cNvPr id="3" name="Chart Placeholder 2"/>
          <p:cNvSpPr>
            <a:spLocks noGrp="1"/>
          </p:cNvSpPr>
          <p:nvPr>
            <p:ph type="chart" sz="half" idx="1"/>
          </p:nvPr>
        </p:nvSpPr>
        <p:spPr>
          <a:xfrm>
            <a:off x="304800" y="1219200"/>
            <a:ext cx="4648200" cy="4876800"/>
          </a:xfrm>
        </p:spPr>
        <p:txBody>
          <a:bodyPr/>
          <a:lstStyle/>
          <a:p>
            <a:r>
              <a:rPr lang="en-US" smtClean="0"/>
              <a:t>Click icon to add chart</a:t>
            </a:r>
            <a:endParaRPr lang="en-US" dirty="0"/>
          </a:p>
        </p:txBody>
      </p:sp>
      <p:sp>
        <p:nvSpPr>
          <p:cNvPr id="4" name="Text Placeholder 3"/>
          <p:cNvSpPr>
            <a:spLocks noGrp="1"/>
          </p:cNvSpPr>
          <p:nvPr>
            <p:ph type="body" sz="half" idx="2"/>
          </p:nvPr>
        </p:nvSpPr>
        <p:spPr>
          <a:xfrm>
            <a:off x="5105400" y="1219200"/>
            <a:ext cx="3505200" cy="4876800"/>
          </a:xfrm>
        </p:spPr>
        <p:txBody>
          <a:bodyPr/>
          <a:lstStyle>
            <a:lvl3pPr>
              <a:defRPr sz="18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Slide Number Placeholder 7"/>
          <p:cNvSpPr>
            <a:spLocks noGrp="1"/>
          </p:cNvSpPr>
          <p:nvPr>
            <p:ph type="sldNum" sz="quarter" idx="11"/>
          </p:nvPr>
        </p:nvSpPr>
        <p:spPr/>
        <p:txBody>
          <a:bodyPr/>
          <a:lstStyle/>
          <a:p>
            <a:fld id="{379936E7-3DF7-4A44-BD4D-1975B4F3921B}" type="slidenum">
              <a:rPr lang="en-US" smtClean="0">
                <a:solidFill>
                  <a:srgbClr val="0055A4">
                    <a:tint val="75000"/>
                  </a:srgbClr>
                </a:solidFill>
              </a:rPr>
              <a:pPr/>
              <a:t>‹#›</a:t>
            </a:fld>
            <a:endParaRPr lang="en-US">
              <a:solidFill>
                <a:srgbClr val="0055A4">
                  <a:tint val="75000"/>
                </a:srgbClr>
              </a:solidFill>
            </a:endParaRPr>
          </a:p>
        </p:txBody>
      </p:sp>
      <p:sp>
        <p:nvSpPr>
          <p:cNvPr id="9" name="Footer Placeholder 8"/>
          <p:cNvSpPr>
            <a:spLocks noGrp="1"/>
          </p:cNvSpPr>
          <p:nvPr>
            <p:ph type="ftr" sz="quarter" idx="12"/>
          </p:nvPr>
        </p:nvSpPr>
        <p:spPr/>
        <p:txBody>
          <a:bodyPr/>
          <a:lstStyle/>
          <a:p>
            <a:endParaRPr lang="en-US">
              <a:solidFill>
                <a:srgbClr val="0055A4">
                  <a:tint val="75000"/>
                </a:srgbClr>
              </a:solidFill>
            </a:endParaRPr>
          </a:p>
        </p:txBody>
      </p:sp>
    </p:spTree>
    <p:extLst>
      <p:ext uri="{BB962C8B-B14F-4D97-AF65-F5344CB8AC3E}">
        <p14:creationId xmlns:p14="http://schemas.microsoft.com/office/powerpoint/2010/main" val="11272850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8466" y="-8468"/>
            <a:ext cx="9169804" cy="6874935"/>
            <a:chOff x="-8466" y="-8468"/>
            <a:chExt cx="9169804" cy="6874935"/>
          </a:xfrm>
        </p:grpSpPr>
        <p:cxnSp>
          <p:nvCxnSpPr>
            <p:cNvPr id="17" name="Straight Connector 16"/>
            <p:cNvCxnSpPr/>
            <p:nvPr/>
          </p:nvCxnSpPr>
          <p:spPr>
            <a:xfrm flipV="1">
              <a:off x="5130830" y="4175605"/>
              <a:ext cx="4022475" cy="2682396"/>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7042707"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9" name="Freeform 18"/>
            <p:cNvSpPr/>
            <p:nvPr/>
          </p:nvSpPr>
          <p:spPr>
            <a:xfrm>
              <a:off x="6891896" y="1"/>
              <a:ext cx="2269442" cy="6866466"/>
            </a:xfrm>
            <a:custGeom>
              <a:avLst/>
              <a:gdLst/>
              <a:ahLst/>
              <a:cxnLst/>
              <a:rect l="l" t="t" r="r" b="b"/>
              <a:pathLst>
                <a:path w="2269442" h="6866466">
                  <a:moveTo>
                    <a:pt x="2023534" y="0"/>
                  </a:moveTo>
                  <a:lnTo>
                    <a:pt x="0" y="6858000"/>
                  </a:lnTo>
                  <a:lnTo>
                    <a:pt x="2269067" y="6866466"/>
                  </a:lnTo>
                  <a:cubicBezTo>
                    <a:pt x="2271889" y="4580466"/>
                    <a:pt x="2257778" y="2294466"/>
                    <a:pt x="2260600" y="8466"/>
                  </a:cubicBezTo>
                  <a:lnTo>
                    <a:pt x="2023534"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0" name="Freeform 19"/>
            <p:cNvSpPr/>
            <p:nvPr/>
          </p:nvSpPr>
          <p:spPr>
            <a:xfrm>
              <a:off x="7205158" y="-8467"/>
              <a:ext cx="1948147" cy="6866467"/>
            </a:xfrm>
            <a:custGeom>
              <a:avLst/>
              <a:gdLst/>
              <a:ahLst/>
              <a:cxnLst/>
              <a:rect l="l" t="t" r="r" b="b"/>
              <a:pathLst>
                <a:path w="1948147" h="6866467">
                  <a:moveTo>
                    <a:pt x="0" y="0"/>
                  </a:moveTo>
                  <a:lnTo>
                    <a:pt x="1202267" y="6866467"/>
                  </a:lnTo>
                  <a:lnTo>
                    <a:pt x="1947333" y="6866467"/>
                  </a:lnTo>
                  <a:cubicBezTo>
                    <a:pt x="1944511" y="4577645"/>
                    <a:pt x="1950155" y="2288822"/>
                    <a:pt x="1947333" y="0"/>
                  </a:cubicBez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1" name="Freeform 20"/>
            <p:cNvSpPr/>
            <p:nvPr/>
          </p:nvSpPr>
          <p:spPr>
            <a:xfrm>
              <a:off x="6637896" y="3920066"/>
              <a:ext cx="2513565" cy="2937933"/>
            </a:xfrm>
            <a:custGeom>
              <a:avLst/>
              <a:gdLst/>
              <a:ahLst/>
              <a:cxnLst/>
              <a:rect l="l" t="t" r="r" b="b"/>
              <a:pathLst>
                <a:path w="3259667" h="3810000">
                  <a:moveTo>
                    <a:pt x="0" y="3810000"/>
                  </a:moveTo>
                  <a:lnTo>
                    <a:pt x="3251200" y="0"/>
                  </a:lnTo>
                  <a:cubicBezTo>
                    <a:pt x="3254022" y="1270000"/>
                    <a:pt x="3256845" y="2540000"/>
                    <a:pt x="3259667" y="3810000"/>
                  </a:cubicBezTo>
                  <a:lnTo>
                    <a:pt x="0" y="3810000"/>
                  </a:lnTo>
                  <a:close/>
                </a:path>
              </a:pathLst>
            </a:cu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Freeform 21"/>
            <p:cNvSpPr/>
            <p:nvPr/>
          </p:nvSpPr>
          <p:spPr>
            <a:xfrm>
              <a:off x="7010429" y="-8467"/>
              <a:ext cx="2142876" cy="6866467"/>
            </a:xfrm>
            <a:custGeom>
              <a:avLst/>
              <a:gdLst/>
              <a:ahLst/>
              <a:cxnLst/>
              <a:rect l="l" t="t" r="r" b="b"/>
              <a:pathLst>
                <a:path w="2853267" h="6866467">
                  <a:moveTo>
                    <a:pt x="0" y="0"/>
                  </a:moveTo>
                  <a:lnTo>
                    <a:pt x="2472267" y="6866467"/>
                  </a:lnTo>
                  <a:lnTo>
                    <a:pt x="2853267" y="6858000"/>
                  </a:lnTo>
                  <a:lnTo>
                    <a:pt x="2853267" y="0"/>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Freeform 22"/>
            <p:cNvSpPr/>
            <p:nvPr/>
          </p:nvSpPr>
          <p:spPr>
            <a:xfrm>
              <a:off x="8295776" y="-8467"/>
              <a:ext cx="857530" cy="6866467"/>
            </a:xfrm>
            <a:custGeom>
              <a:avLst/>
              <a:gdLst/>
              <a:ahLst/>
              <a:cxnLst/>
              <a:rect l="l" t="t" r="r" b="b"/>
              <a:pathLst>
                <a:path w="1286933" h="6866467">
                  <a:moveTo>
                    <a:pt x="1016000" y="0"/>
                  </a:moveTo>
                  <a:lnTo>
                    <a:pt x="0" y="6866467"/>
                  </a:lnTo>
                  <a:lnTo>
                    <a:pt x="1286933" y="6866467"/>
                  </a:lnTo>
                  <a:cubicBezTo>
                    <a:pt x="1284111" y="4577645"/>
                    <a:pt x="1281288" y="2288822"/>
                    <a:pt x="1278466" y="0"/>
                  </a:cubicBezTo>
                  <a:lnTo>
                    <a:pt x="1016000"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Freeform 23"/>
            <p:cNvSpPr/>
            <p:nvPr/>
          </p:nvSpPr>
          <p:spPr>
            <a:xfrm>
              <a:off x="8077231" y="-8468"/>
              <a:ext cx="1066770" cy="6866467"/>
            </a:xfrm>
            <a:custGeom>
              <a:avLst/>
              <a:gdLst/>
              <a:ahLst/>
              <a:cxnLst/>
              <a:rect l="l" t="t" r="r" b="b"/>
              <a:pathLst>
                <a:path w="1270244" h="6866467">
                  <a:moveTo>
                    <a:pt x="0" y="0"/>
                  </a:moveTo>
                  <a:lnTo>
                    <a:pt x="1117600" y="6866467"/>
                  </a:lnTo>
                  <a:lnTo>
                    <a:pt x="1270000" y="6866467"/>
                  </a:lnTo>
                  <a:cubicBezTo>
                    <a:pt x="1272822" y="4574822"/>
                    <a:pt x="1250245" y="2291645"/>
                    <a:pt x="1253067" y="0"/>
                  </a:cubicBez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Freeform 24"/>
            <p:cNvSpPr/>
            <p:nvPr/>
          </p:nvSpPr>
          <p:spPr>
            <a:xfrm>
              <a:off x="8060297" y="4893733"/>
              <a:ext cx="1094086" cy="1964267"/>
            </a:xfrm>
            <a:custGeom>
              <a:avLst/>
              <a:gdLst/>
              <a:ahLst/>
              <a:cxnLst/>
              <a:rect l="l" t="t" r="r" b="b"/>
              <a:pathLst>
                <a:path w="1820333" h="3268133">
                  <a:moveTo>
                    <a:pt x="0" y="3268133"/>
                  </a:moveTo>
                  <a:lnTo>
                    <a:pt x="1811866" y="0"/>
                  </a:lnTo>
                  <a:cubicBezTo>
                    <a:pt x="1814688" y="1086555"/>
                    <a:pt x="1817511" y="2173111"/>
                    <a:pt x="1820333" y="3259666"/>
                  </a:cubicBezTo>
                  <a:lnTo>
                    <a:pt x="0" y="3268133"/>
                  </a:lnTo>
                  <a:close/>
                </a:path>
              </a:pathLst>
            </a:cu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Freeform 27"/>
            <p:cNvSpPr/>
            <p:nvPr/>
          </p:nvSpPr>
          <p:spPr>
            <a:xfrm>
              <a:off x="-8466" y="-8468"/>
              <a:ext cx="863600" cy="5698067"/>
            </a:xfrm>
            <a:custGeom>
              <a:avLst/>
              <a:gdLst/>
              <a:ahLst/>
              <a:cxnLst/>
              <a:rect l="l" t="t" r="r" b="b"/>
              <a:pathLst>
                <a:path w="863600" h="5698067">
                  <a:moveTo>
                    <a:pt x="0" y="8467"/>
                  </a:moveTo>
                  <a:lnTo>
                    <a:pt x="863600" y="0"/>
                  </a:lnTo>
                  <a:lnTo>
                    <a:pt x="863600" y="16934"/>
                  </a:lnTo>
                  <a:lnTo>
                    <a:pt x="0" y="5698067"/>
                  </a:lnTo>
                  <a:lnTo>
                    <a:pt x="0" y="8467"/>
                  </a:lnTo>
                  <a:close/>
                </a:path>
              </a:pathLst>
            </a:cu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130595" y="2404534"/>
            <a:ext cx="5826719" cy="1646302"/>
          </a:xfrm>
        </p:spPr>
        <p:txBody>
          <a:bodyPr anchor="b">
            <a:noAutofit/>
          </a:bodyPr>
          <a:lstStyle>
            <a:lvl1pPr algn="r">
              <a:defRPr sz="54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130595" y="4050834"/>
            <a:ext cx="5826719"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028915D5-38A2-4E1D-A0F7-A53DC63F6AE6}" type="datetimeFigureOut">
              <a:rPr lang="en-GB" smtClean="0"/>
              <a:t>02/03/2016</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1C8CEF30-8EB7-4935-BEFE-2FF986846F07}" type="slidenum">
              <a:rPr lang="en-GB" smtClean="0"/>
              <a:t>‹#›</a:t>
            </a:fld>
            <a:endParaRPr lang="en-GB" dirty="0"/>
          </a:p>
        </p:txBody>
      </p:sp>
    </p:spTree>
    <p:extLst>
      <p:ext uri="{BB962C8B-B14F-4D97-AF65-F5344CB8AC3E}">
        <p14:creationId xmlns:p14="http://schemas.microsoft.com/office/powerpoint/2010/main" val="33558800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028915D5-38A2-4E1D-A0F7-A53DC63F6AE6}" type="datetimeFigureOut">
              <a:rPr lang="en-GB" smtClean="0"/>
              <a:t>02/03/2016</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1C8CEF30-8EB7-4935-BEFE-2FF986846F07}" type="slidenum">
              <a:rPr lang="en-GB" smtClean="0"/>
              <a:t>‹#›</a:t>
            </a:fld>
            <a:endParaRPr lang="en-GB" dirty="0"/>
          </a:p>
        </p:txBody>
      </p:sp>
    </p:spTree>
    <p:extLst>
      <p:ext uri="{BB962C8B-B14F-4D97-AF65-F5344CB8AC3E}">
        <p14:creationId xmlns:p14="http://schemas.microsoft.com/office/powerpoint/2010/main" val="15859763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598" y="2700868"/>
            <a:ext cx="6347715" cy="1826581"/>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09598" y="4527448"/>
            <a:ext cx="6347715"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28915D5-38A2-4E1D-A0F7-A53DC63F6AE6}" type="datetimeFigureOut">
              <a:rPr lang="en-GB" smtClean="0"/>
              <a:t>02/03/2016</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1C8CEF30-8EB7-4935-BEFE-2FF986846F07}" type="slidenum">
              <a:rPr lang="en-GB" smtClean="0"/>
              <a:t>‹#›</a:t>
            </a:fld>
            <a:endParaRPr lang="en-GB" dirty="0"/>
          </a:p>
        </p:txBody>
      </p:sp>
    </p:spTree>
    <p:extLst>
      <p:ext uri="{BB962C8B-B14F-4D97-AF65-F5344CB8AC3E}">
        <p14:creationId xmlns:p14="http://schemas.microsoft.com/office/powerpoint/2010/main" val="19386172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6347714" cy="1320800"/>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09600" y="2160589"/>
            <a:ext cx="3088109" cy="3880772"/>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3869204" y="2160590"/>
            <a:ext cx="3088110" cy="388077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028915D5-38A2-4E1D-A0F7-A53DC63F6AE6}" type="datetimeFigureOut">
              <a:rPr lang="en-GB" smtClean="0"/>
              <a:t>02/03/2016</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1C8CEF30-8EB7-4935-BEFE-2FF986846F07}" type="slidenum">
              <a:rPr lang="en-GB" smtClean="0"/>
              <a:t>‹#›</a:t>
            </a:fld>
            <a:endParaRPr lang="en-GB" dirty="0"/>
          </a:p>
        </p:txBody>
      </p:sp>
    </p:spTree>
    <p:extLst>
      <p:ext uri="{BB962C8B-B14F-4D97-AF65-F5344CB8AC3E}">
        <p14:creationId xmlns:p14="http://schemas.microsoft.com/office/powerpoint/2010/main" val="14894162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599" y="609600"/>
            <a:ext cx="6347713" cy="1320800"/>
          </a:xfrm>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09599" y="2160983"/>
            <a:ext cx="309067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599" y="2737246"/>
            <a:ext cx="3090672"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3866640" y="2160983"/>
            <a:ext cx="309067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3866640" y="2737246"/>
            <a:ext cx="3090672"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028915D5-38A2-4E1D-A0F7-A53DC63F6AE6}" type="datetimeFigureOut">
              <a:rPr lang="en-GB" smtClean="0"/>
              <a:t>02/03/2016</a:t>
            </a:fld>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1C8CEF30-8EB7-4935-BEFE-2FF986846F07}" type="slidenum">
              <a:rPr lang="en-GB" smtClean="0"/>
              <a:t>‹#›</a:t>
            </a:fld>
            <a:endParaRPr lang="en-GB" dirty="0"/>
          </a:p>
        </p:txBody>
      </p:sp>
    </p:spTree>
    <p:extLst>
      <p:ext uri="{BB962C8B-B14F-4D97-AF65-F5344CB8AC3E}">
        <p14:creationId xmlns:p14="http://schemas.microsoft.com/office/powerpoint/2010/main" val="31610302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39167B0-FC4A-4B8C-81A9-216FC5FFBEB6}" type="datetimeFigureOut">
              <a:rPr lang="en-US" smtClean="0">
                <a:solidFill>
                  <a:prstClr val="black">
                    <a:tint val="75000"/>
                  </a:prstClr>
                </a:solidFill>
              </a:rPr>
              <a:pPr/>
              <a:t>3/2/2016</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01474626-E59D-46A0-AF39-4CAD568801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578838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599" y="609600"/>
            <a:ext cx="6347714" cy="1320800"/>
          </a:xfrm>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028915D5-38A2-4E1D-A0F7-A53DC63F6AE6}" type="datetimeFigureOut">
              <a:rPr lang="en-GB" smtClean="0"/>
              <a:t>02/03/2016</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1C8CEF30-8EB7-4935-BEFE-2FF986846F07}" type="slidenum">
              <a:rPr lang="en-GB" smtClean="0"/>
              <a:t>‹#›</a:t>
            </a:fld>
            <a:endParaRPr lang="en-GB" dirty="0"/>
          </a:p>
        </p:txBody>
      </p:sp>
    </p:spTree>
    <p:extLst>
      <p:ext uri="{BB962C8B-B14F-4D97-AF65-F5344CB8AC3E}">
        <p14:creationId xmlns:p14="http://schemas.microsoft.com/office/powerpoint/2010/main" val="19465278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17A23F2-FD17-47C5-BA17-FC90E60246D6}" type="datetime1">
              <a:rPr lang="id-ID" smtClean="0"/>
              <a:t>02/03/2016</a:t>
            </a:fld>
            <a:endParaRPr lang="id-ID"/>
          </a:p>
        </p:txBody>
      </p:sp>
      <p:sp>
        <p:nvSpPr>
          <p:cNvPr id="3" name="Footer Placeholder 2"/>
          <p:cNvSpPr>
            <a:spLocks noGrp="1"/>
          </p:cNvSpPr>
          <p:nvPr>
            <p:ph type="ftr" sz="quarter" idx="11"/>
          </p:nvPr>
        </p:nvSpPr>
        <p:spPr/>
        <p:txBody>
          <a:bodyPr/>
          <a:lstStyle/>
          <a:p>
            <a:endParaRPr lang="id-ID"/>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1443248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599" y="1498604"/>
            <a:ext cx="2790182" cy="1278466"/>
          </a:xfrm>
        </p:spPr>
        <p:txBody>
          <a:bodyPr anchor="b">
            <a:normAutofit/>
          </a:bodyPr>
          <a:lstStyle>
            <a:lvl1pPr>
              <a:defRPr sz="2000"/>
            </a:lvl1pPr>
          </a:lstStyle>
          <a:p>
            <a:r>
              <a:rPr lang="en-US" smtClean="0"/>
              <a:t>Click to edit Master title style</a:t>
            </a:r>
            <a:endParaRPr lang="en-US" dirty="0"/>
          </a:p>
        </p:txBody>
      </p:sp>
      <p:sp>
        <p:nvSpPr>
          <p:cNvPr id="3" name="Content Placeholder 2"/>
          <p:cNvSpPr>
            <a:spLocks noGrp="1"/>
          </p:cNvSpPr>
          <p:nvPr>
            <p:ph idx="1"/>
          </p:nvPr>
        </p:nvSpPr>
        <p:spPr>
          <a:xfrm>
            <a:off x="3571275" y="514925"/>
            <a:ext cx="3386037" cy="552643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09599" y="2777069"/>
            <a:ext cx="2790182" cy="2584449"/>
          </a:xfrm>
        </p:spPr>
        <p:txBody>
          <a:bodyPr>
            <a:normAutofit/>
          </a:bodyPr>
          <a:lstStyle>
            <a:lvl1pPr marL="0" indent="0">
              <a:buNone/>
              <a:defRPr sz="14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28915D5-38A2-4E1D-A0F7-A53DC63F6AE6}" type="datetimeFigureOut">
              <a:rPr lang="en-GB" smtClean="0"/>
              <a:t>02/03/2016</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1C8CEF30-8EB7-4935-BEFE-2FF986846F07}" type="slidenum">
              <a:rPr lang="en-GB" smtClean="0"/>
              <a:t>‹#›</a:t>
            </a:fld>
            <a:endParaRPr lang="en-GB" dirty="0"/>
          </a:p>
        </p:txBody>
      </p:sp>
    </p:spTree>
    <p:extLst>
      <p:ext uri="{BB962C8B-B14F-4D97-AF65-F5344CB8AC3E}">
        <p14:creationId xmlns:p14="http://schemas.microsoft.com/office/powerpoint/2010/main" val="15217776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599" y="4800600"/>
            <a:ext cx="6347714"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09599" y="609600"/>
            <a:ext cx="6347714"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609599" y="5367338"/>
            <a:ext cx="6347714"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28915D5-38A2-4E1D-A0F7-A53DC63F6AE6}" type="datetimeFigureOut">
              <a:rPr lang="en-GB" smtClean="0"/>
              <a:t>02/03/2016</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1C8CEF30-8EB7-4935-BEFE-2FF986846F07}" type="slidenum">
              <a:rPr lang="en-GB" smtClean="0"/>
              <a:t>‹#›</a:t>
            </a:fld>
            <a:endParaRPr lang="en-GB" dirty="0"/>
          </a:p>
        </p:txBody>
      </p:sp>
    </p:spTree>
    <p:extLst>
      <p:ext uri="{BB962C8B-B14F-4D97-AF65-F5344CB8AC3E}">
        <p14:creationId xmlns:p14="http://schemas.microsoft.com/office/powerpoint/2010/main" val="152643184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6347714" cy="3403600"/>
          </a:xfrm>
        </p:spPr>
        <p:txBody>
          <a:bodyPr anchor="ctr">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09600" y="4470400"/>
            <a:ext cx="6347714"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28915D5-38A2-4E1D-A0F7-A53DC63F6AE6}" type="datetimeFigureOut">
              <a:rPr lang="en-GB" smtClean="0"/>
              <a:t>02/03/2016</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1C8CEF30-8EB7-4935-BEFE-2FF986846F07}" type="slidenum">
              <a:rPr lang="en-GB" smtClean="0"/>
              <a:t>‹#›</a:t>
            </a:fld>
            <a:endParaRPr lang="en-GB" dirty="0"/>
          </a:p>
        </p:txBody>
      </p:sp>
    </p:spTree>
    <p:extLst>
      <p:ext uri="{BB962C8B-B14F-4D97-AF65-F5344CB8AC3E}">
        <p14:creationId xmlns:p14="http://schemas.microsoft.com/office/powerpoint/2010/main" val="39399975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74885" y="609600"/>
            <a:ext cx="6072182"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1101074" y="3632200"/>
            <a:ext cx="541980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09598" y="4470400"/>
            <a:ext cx="6347715"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28915D5-38A2-4E1D-A0F7-A53DC63F6AE6}" type="datetimeFigureOut">
              <a:rPr lang="en-GB" smtClean="0"/>
              <a:t>02/03/2016</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1C8CEF30-8EB7-4935-BEFE-2FF986846F07}" type="slidenum">
              <a:rPr lang="en-GB" smtClean="0"/>
              <a:t>‹#›</a:t>
            </a:fld>
            <a:endParaRPr lang="en-GB" dirty="0"/>
          </a:p>
        </p:txBody>
      </p:sp>
      <p:sp>
        <p:nvSpPr>
          <p:cNvPr id="24" name="TextBox 23"/>
          <p:cNvSpPr txBox="1"/>
          <p:nvPr/>
        </p:nvSpPr>
        <p:spPr>
          <a:xfrm>
            <a:off x="482711" y="790378"/>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6747699" y="2886556"/>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6665996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09598" y="1931988"/>
            <a:ext cx="6347715" cy="2595460"/>
          </a:xfrm>
        </p:spPr>
        <p:txBody>
          <a:bodyPr anchor="b">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09598" y="4527448"/>
            <a:ext cx="6347715"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28915D5-38A2-4E1D-A0F7-A53DC63F6AE6}" type="datetimeFigureOut">
              <a:rPr lang="en-GB" smtClean="0"/>
              <a:t>02/03/2016</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1C8CEF30-8EB7-4935-BEFE-2FF986846F07}" type="slidenum">
              <a:rPr lang="en-GB" smtClean="0"/>
              <a:t>‹#›</a:t>
            </a:fld>
            <a:endParaRPr lang="en-GB" dirty="0"/>
          </a:p>
        </p:txBody>
      </p:sp>
    </p:spTree>
    <p:extLst>
      <p:ext uri="{BB962C8B-B14F-4D97-AF65-F5344CB8AC3E}">
        <p14:creationId xmlns:p14="http://schemas.microsoft.com/office/powerpoint/2010/main" val="14015392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774885" y="609600"/>
            <a:ext cx="6072182"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09597" y="4013200"/>
            <a:ext cx="6347716"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09598" y="4527448"/>
            <a:ext cx="6347715"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28915D5-38A2-4E1D-A0F7-A53DC63F6AE6}" type="datetimeFigureOut">
              <a:rPr lang="en-GB" smtClean="0"/>
              <a:t>02/03/2016</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1C8CEF30-8EB7-4935-BEFE-2FF986846F07}" type="slidenum">
              <a:rPr lang="en-GB" smtClean="0"/>
              <a:t>‹#›</a:t>
            </a:fld>
            <a:endParaRPr lang="en-GB" dirty="0"/>
          </a:p>
        </p:txBody>
      </p:sp>
      <p:sp>
        <p:nvSpPr>
          <p:cNvPr id="24" name="TextBox 23"/>
          <p:cNvSpPr txBox="1"/>
          <p:nvPr/>
        </p:nvSpPr>
        <p:spPr>
          <a:xfrm>
            <a:off x="482711" y="790378"/>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6747699" y="2886556"/>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21909766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15848" y="609600"/>
            <a:ext cx="6341465"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09597" y="4013200"/>
            <a:ext cx="6347716"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09598" y="4527448"/>
            <a:ext cx="6347715"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28915D5-38A2-4E1D-A0F7-A53DC63F6AE6}" type="datetimeFigureOut">
              <a:rPr lang="en-GB" smtClean="0"/>
              <a:t>02/03/2016</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1C8CEF30-8EB7-4935-BEFE-2FF986846F07}" type="slidenum">
              <a:rPr lang="en-GB" smtClean="0"/>
              <a:t>‹#›</a:t>
            </a:fld>
            <a:endParaRPr lang="en-GB" dirty="0"/>
          </a:p>
        </p:txBody>
      </p:sp>
    </p:spTree>
    <p:extLst>
      <p:ext uri="{BB962C8B-B14F-4D97-AF65-F5344CB8AC3E}">
        <p14:creationId xmlns:p14="http://schemas.microsoft.com/office/powerpoint/2010/main" val="19681954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028915D5-38A2-4E1D-A0F7-A53DC63F6AE6}" type="datetimeFigureOut">
              <a:rPr lang="en-GB" smtClean="0"/>
              <a:t>02/03/2016</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1C8CEF30-8EB7-4935-BEFE-2FF986846F07}" type="slidenum">
              <a:rPr lang="en-GB" smtClean="0"/>
              <a:t>‹#›</a:t>
            </a:fld>
            <a:endParaRPr lang="en-GB" dirty="0"/>
          </a:p>
        </p:txBody>
      </p:sp>
    </p:spTree>
    <p:extLst>
      <p:ext uri="{BB962C8B-B14F-4D97-AF65-F5344CB8AC3E}">
        <p14:creationId xmlns:p14="http://schemas.microsoft.com/office/powerpoint/2010/main" val="30363897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39167B0-FC4A-4B8C-81A9-216FC5FFBEB6}" type="datetimeFigureOut">
              <a:rPr lang="en-US" smtClean="0">
                <a:solidFill>
                  <a:prstClr val="black">
                    <a:tint val="75000"/>
                  </a:prstClr>
                </a:solidFill>
              </a:rPr>
              <a:pPr/>
              <a:t>3/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01474626-E59D-46A0-AF39-4CAD568801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6846487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977312" y="609600"/>
            <a:ext cx="978812" cy="5251451"/>
          </a:xfrm>
        </p:spPr>
        <p:txBody>
          <a:bodyPr vert="eaVert" anchor="ct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09599" y="609600"/>
            <a:ext cx="5195026" cy="5251451"/>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028915D5-38A2-4E1D-A0F7-A53DC63F6AE6}" type="datetimeFigureOut">
              <a:rPr lang="en-GB" smtClean="0"/>
              <a:t>02/03/2016</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1C8CEF30-8EB7-4935-BEFE-2FF986846F07}" type="slidenum">
              <a:rPr lang="en-GB" smtClean="0"/>
              <a:t>‹#›</a:t>
            </a:fld>
            <a:endParaRPr lang="en-GB" dirty="0"/>
          </a:p>
        </p:txBody>
      </p:sp>
    </p:spTree>
    <p:extLst>
      <p:ext uri="{BB962C8B-B14F-4D97-AF65-F5344CB8AC3E}">
        <p14:creationId xmlns:p14="http://schemas.microsoft.com/office/powerpoint/2010/main" val="27595671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x">
  <p:cSld name="Title &amp; Subtitle">
    <p:spTree>
      <p:nvGrpSpPr>
        <p:cNvPr id="1" name=""/>
        <p:cNvGrpSpPr/>
        <p:nvPr/>
      </p:nvGrpSpPr>
      <p:grpSpPr>
        <a:xfrm>
          <a:off x="0" y="0"/>
          <a:ext cx="0" cy="0"/>
          <a:chOff x="0" y="0"/>
          <a:chExt cx="0" cy="0"/>
        </a:xfrm>
      </p:grpSpPr>
      <p:sp>
        <p:nvSpPr>
          <p:cNvPr id="20" name="Shape 20"/>
          <p:cNvSpPr>
            <a:spLocks noGrp="1"/>
          </p:cNvSpPr>
          <p:nvPr>
            <p:ph idx="3"/>
          </p:nvPr>
        </p:nvSpPr>
        <p:spPr>
          <a:xfrm>
            <a:off x="666750" y="889000"/>
            <a:ext cx="7810500" cy="5073650"/>
          </a:xfrm>
          <a:prstGeom prst="rect">
            <a:avLst/>
          </a:prstGeom>
        </p:spPr>
        <p:txBody>
          <a:bodyPr anchor="ctr"/>
          <a:lstStyle/>
          <a:p>
            <a:pPr lvl="0" defTabSz="384048">
              <a:defRPr sz="5600">
                <a:latin typeface="Gill Sans"/>
                <a:ea typeface="Gill Sans"/>
                <a:cs typeface="Gill Sans"/>
                <a:sym typeface="Gill Sans"/>
              </a:defRPr>
            </a:pPr>
            <a:endParaRPr/>
          </a:p>
        </p:txBody>
      </p:sp>
    </p:spTree>
    <p:extLst>
      <p:ext uri="{BB962C8B-B14F-4D97-AF65-F5344CB8AC3E}">
        <p14:creationId xmlns:p14="http://schemas.microsoft.com/office/powerpoint/2010/main" val="542856110"/>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el en object">
    <p:spTree>
      <p:nvGrpSpPr>
        <p:cNvPr id="1" name=""/>
        <p:cNvGrpSpPr/>
        <p:nvPr/>
      </p:nvGrpSpPr>
      <p:grpSpPr>
        <a:xfrm>
          <a:off x="0" y="0"/>
          <a:ext cx="0" cy="0"/>
          <a:chOff x="0" y="0"/>
          <a:chExt cx="0" cy="0"/>
        </a:xfrm>
      </p:grpSpPr>
      <p:sp>
        <p:nvSpPr>
          <p:cNvPr id="3" name="Tijdelijke aanduiding voor inhoud 2"/>
          <p:cNvSpPr>
            <a:spLocks noGrp="1"/>
          </p:cNvSpPr>
          <p:nvPr>
            <p:ph idx="1" hasCustomPrompt="1"/>
          </p:nvPr>
        </p:nvSpPr>
        <p:spPr>
          <a:xfrm>
            <a:off x="468000" y="1398488"/>
            <a:ext cx="8229600" cy="4406776"/>
          </a:xfrm>
        </p:spPr>
        <p:txBody>
          <a:bodyPr lIns="0" tIns="0" rIns="0" bIns="0"/>
          <a:lstStyle>
            <a:lvl1pPr marL="360000" indent="-360000">
              <a:lnSpc>
                <a:spcPts val="3600"/>
              </a:lnSpc>
              <a:spcBef>
                <a:spcPts val="0"/>
              </a:spcBef>
              <a:buClr>
                <a:srgbClr val="EDC500"/>
              </a:buClr>
              <a:defRPr sz="2800" baseline="0">
                <a:solidFill>
                  <a:srgbClr val="602C14"/>
                </a:solidFill>
              </a:defRPr>
            </a:lvl1pPr>
            <a:lvl2pPr marL="720000" indent="-360000">
              <a:lnSpc>
                <a:spcPts val="3600"/>
              </a:lnSpc>
              <a:spcBef>
                <a:spcPts val="0"/>
              </a:spcBef>
              <a:buClr>
                <a:srgbClr val="602C14"/>
              </a:buClr>
              <a:buFont typeface="Arial" pitchFamily="34" charset="0"/>
              <a:buChar char="−"/>
              <a:defRPr sz="2100" baseline="0">
                <a:solidFill>
                  <a:srgbClr val="602C14"/>
                </a:solidFill>
              </a:defRPr>
            </a:lvl2pPr>
          </a:lstStyle>
          <a:p>
            <a:pPr lvl="0"/>
            <a:r>
              <a:rPr lang="nl-NL" dirty="0" smtClean="0"/>
              <a:t>Line 1</a:t>
            </a:r>
          </a:p>
          <a:p>
            <a:pPr lvl="1"/>
            <a:r>
              <a:rPr lang="nl-NL" dirty="0" smtClean="0"/>
              <a:t>Level 2</a:t>
            </a:r>
          </a:p>
          <a:p>
            <a:pPr lvl="0"/>
            <a:r>
              <a:rPr lang="nl-NL" dirty="0" smtClean="0"/>
              <a:t>Line 1</a:t>
            </a:r>
          </a:p>
          <a:p>
            <a:pPr lvl="1"/>
            <a:r>
              <a:rPr lang="nl-NL" dirty="0" smtClean="0"/>
              <a:t>Level 2</a:t>
            </a:r>
          </a:p>
          <a:p>
            <a:pPr lvl="1"/>
            <a:r>
              <a:rPr lang="nl-NL" dirty="0" smtClean="0"/>
              <a:t>Level 2</a:t>
            </a:r>
          </a:p>
          <a:p>
            <a:pPr lvl="0"/>
            <a:r>
              <a:rPr lang="nl-NL" dirty="0" smtClean="0"/>
              <a:t>Line 1</a:t>
            </a:r>
          </a:p>
          <a:p>
            <a:pPr lvl="0"/>
            <a:r>
              <a:rPr lang="nl-NL" dirty="0" smtClean="0"/>
              <a:t>Line 1</a:t>
            </a:r>
          </a:p>
          <a:p>
            <a:pPr lvl="0"/>
            <a:r>
              <a:rPr lang="nl-NL" dirty="0" smtClean="0"/>
              <a:t>Line 1</a:t>
            </a:r>
          </a:p>
          <a:p>
            <a:pPr lvl="1"/>
            <a:r>
              <a:rPr lang="nl-NL" dirty="0" smtClean="0"/>
              <a:t>Level 2</a:t>
            </a:r>
          </a:p>
        </p:txBody>
      </p:sp>
      <p:sp>
        <p:nvSpPr>
          <p:cNvPr id="9" name="Titel 8"/>
          <p:cNvSpPr>
            <a:spLocks noGrp="1"/>
          </p:cNvSpPr>
          <p:nvPr>
            <p:ph type="title" hasCustomPrompt="1"/>
          </p:nvPr>
        </p:nvSpPr>
        <p:spPr>
          <a:xfrm>
            <a:off x="468000" y="360934"/>
            <a:ext cx="8229600" cy="634082"/>
          </a:xfrm>
        </p:spPr>
        <p:txBody>
          <a:bodyPr lIns="0" tIns="0" rIns="0" bIns="0" anchor="t" anchorCtr="0">
            <a:normAutofit/>
          </a:bodyPr>
          <a:lstStyle>
            <a:lvl1pPr algn="l">
              <a:defRPr sz="3200" baseline="0">
                <a:solidFill>
                  <a:schemeClr val="bg1"/>
                </a:solidFill>
              </a:defRPr>
            </a:lvl1pPr>
          </a:lstStyle>
          <a:p>
            <a:r>
              <a:rPr lang="nl-NL" dirty="0" err="1" smtClean="0"/>
              <a:t>Text</a:t>
            </a:r>
            <a:r>
              <a:rPr lang="nl-NL" dirty="0" smtClean="0"/>
              <a:t> slide</a:t>
            </a:r>
            <a:endParaRPr lang="en-GB" dirty="0"/>
          </a:p>
        </p:txBody>
      </p:sp>
    </p:spTree>
    <p:extLst>
      <p:ext uri="{BB962C8B-B14F-4D97-AF65-F5344CB8AC3E}">
        <p14:creationId xmlns:p14="http://schemas.microsoft.com/office/powerpoint/2010/main" val="231469823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0" y="0"/>
            <a:ext cx="9144000" cy="6858000"/>
          </a:xfrm>
        </p:spPr>
        <p:txBody>
          <a:bodyPr/>
          <a:lstStyle/>
          <a:p>
            <a:endParaRPr lang="id-ID"/>
          </a:p>
        </p:txBody>
      </p:sp>
    </p:spTree>
    <p:extLst>
      <p:ext uri="{BB962C8B-B14F-4D97-AF65-F5344CB8AC3E}">
        <p14:creationId xmlns:p14="http://schemas.microsoft.com/office/powerpoint/2010/main" val="32190815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10D2F48-CE7D-4E90-A944-962B8082647C}" type="datetimeFigureOut">
              <a:rPr lang="en-US" smtClean="0">
                <a:solidFill>
                  <a:prstClr val="black">
                    <a:tint val="75000"/>
                  </a:prstClr>
                </a:solidFill>
              </a:rPr>
              <a:pPr/>
              <a:t>3/2/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10DAA1-A36C-4D54-99A1-63D84667FB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2454301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10D2F48-CE7D-4E90-A944-962B8082647C}" type="datetimeFigureOut">
              <a:rPr lang="en-US" smtClean="0">
                <a:solidFill>
                  <a:prstClr val="black">
                    <a:tint val="75000"/>
                  </a:prstClr>
                </a:solidFill>
              </a:rPr>
              <a:pPr/>
              <a:t>3/2/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10DAA1-A36C-4D54-99A1-63D84667FB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334644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smtClean="0"/>
              <a:t>Click to edit Master title style</a:t>
            </a:r>
            <a:endParaRPr lang="en-US"/>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10D2F48-CE7D-4E90-A944-962B8082647C}" type="datetimeFigureOut">
              <a:rPr lang="en-US" smtClean="0">
                <a:solidFill>
                  <a:prstClr val="black">
                    <a:tint val="75000"/>
                  </a:prstClr>
                </a:solidFill>
              </a:rPr>
              <a:pPr/>
              <a:t>3/2/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10DAA1-A36C-4D54-99A1-63D84667FB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9980193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91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10D2F48-CE7D-4E90-A944-962B8082647C}" type="datetimeFigureOut">
              <a:rPr lang="en-US" smtClean="0">
                <a:solidFill>
                  <a:prstClr val="black">
                    <a:tint val="75000"/>
                  </a:prstClr>
                </a:solidFill>
              </a:rPr>
              <a:pPr/>
              <a:t>3/2/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010DAA1-A36C-4D54-99A1-63D84667FB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5490405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10D2F48-CE7D-4E90-A944-962B8082647C}" type="datetimeFigureOut">
              <a:rPr lang="en-US" smtClean="0">
                <a:solidFill>
                  <a:prstClr val="black">
                    <a:tint val="75000"/>
                  </a:prstClr>
                </a:solidFill>
              </a:rPr>
              <a:pPr/>
              <a:t>3/2/201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010DAA1-A36C-4D54-99A1-63D84667FB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4930582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10D2F48-CE7D-4E90-A944-962B8082647C}" type="datetimeFigureOut">
              <a:rPr lang="en-US" smtClean="0">
                <a:solidFill>
                  <a:prstClr val="black">
                    <a:tint val="75000"/>
                  </a:prstClr>
                </a:solidFill>
              </a:rPr>
              <a:pPr/>
              <a:t>3/2/201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010DAA1-A36C-4D54-99A1-63D84667FB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126445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39167B0-FC4A-4B8C-81A9-216FC5FFBEB6}" type="datetimeFigureOut">
              <a:rPr lang="en-US" smtClean="0">
                <a:solidFill>
                  <a:prstClr val="black">
                    <a:tint val="75000"/>
                  </a:prstClr>
                </a:solidFill>
              </a:rPr>
              <a:pPr/>
              <a:t>3/2/2016</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01474626-E59D-46A0-AF39-4CAD568801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032164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10D2F48-CE7D-4E90-A944-962B8082647C}" type="datetimeFigureOut">
              <a:rPr lang="en-US" smtClean="0">
                <a:solidFill>
                  <a:prstClr val="black">
                    <a:tint val="75000"/>
                  </a:prstClr>
                </a:solidFill>
              </a:rPr>
              <a:pPr/>
              <a:t>3/2/201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010DAA1-A36C-4D54-99A1-63D84667FB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595249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10D2F48-CE7D-4E90-A944-962B8082647C}" type="datetimeFigureOut">
              <a:rPr lang="en-US" smtClean="0">
                <a:solidFill>
                  <a:prstClr val="black">
                    <a:tint val="75000"/>
                  </a:prstClr>
                </a:solidFill>
              </a:rPr>
              <a:pPr/>
              <a:t>3/2/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010DAA1-A36C-4D54-99A1-63D84667FB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160346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10D2F48-CE7D-4E90-A944-962B8082647C}" type="datetimeFigureOut">
              <a:rPr lang="en-US" smtClean="0">
                <a:solidFill>
                  <a:prstClr val="black">
                    <a:tint val="75000"/>
                  </a:prstClr>
                </a:solidFill>
              </a:rPr>
              <a:pPr/>
              <a:t>3/2/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010DAA1-A36C-4D54-99A1-63D84667FB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9897920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10D2F48-CE7D-4E90-A944-962B8082647C}" type="datetimeFigureOut">
              <a:rPr lang="en-US" smtClean="0">
                <a:solidFill>
                  <a:prstClr val="black">
                    <a:tint val="75000"/>
                  </a:prstClr>
                </a:solidFill>
              </a:rPr>
              <a:pPr/>
              <a:t>3/2/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10DAA1-A36C-4D54-99A1-63D84667FB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5647600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10D2F48-CE7D-4E90-A944-962B8082647C}" type="datetimeFigureOut">
              <a:rPr lang="en-US" smtClean="0">
                <a:solidFill>
                  <a:prstClr val="black">
                    <a:tint val="75000"/>
                  </a:prstClr>
                </a:solidFill>
              </a:rPr>
              <a:pPr/>
              <a:t>3/2/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10DAA1-A36C-4D54-99A1-63D84667FB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281260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9" name="Title 28"/>
          <p:cNvSpPr>
            <a:spLocks noGrp="1"/>
          </p:cNvSpPr>
          <p:nvPr>
            <p:ph type="title"/>
          </p:nvPr>
        </p:nvSpPr>
        <p:spPr>
          <a:xfrm>
            <a:off x="413495" y="4394520"/>
            <a:ext cx="7886700" cy="1325563"/>
          </a:xfrm>
        </p:spPr>
        <p:txBody>
          <a:bodyPr/>
          <a:lstStyle>
            <a:lvl1pPr>
              <a:defRPr>
                <a:solidFill>
                  <a:schemeClr val="accent1"/>
                </a:solidFill>
              </a:defRPr>
            </a:lvl1pPr>
          </a:lstStyle>
          <a:p>
            <a:r>
              <a:rPr lang="en-US" smtClean="0"/>
              <a:t>Click to edit Master title style</a:t>
            </a:r>
            <a:endParaRPr lang="en-US" dirty="0"/>
          </a:p>
        </p:txBody>
      </p:sp>
      <p:sp>
        <p:nvSpPr>
          <p:cNvPr id="12" name="Rectangle 11"/>
          <p:cNvSpPr/>
          <p:nvPr userDrawn="1"/>
        </p:nvSpPr>
        <p:spPr>
          <a:xfrm>
            <a:off x="0" y="0"/>
            <a:ext cx="9155429" cy="20464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Rectangle 12"/>
          <p:cNvSpPr/>
          <p:nvPr userDrawn="1"/>
        </p:nvSpPr>
        <p:spPr>
          <a:xfrm>
            <a:off x="4937760" y="-83447"/>
            <a:ext cx="83685" cy="21299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prstClr val="white"/>
                </a:solidFill>
              </a:rPr>
              <a:t> </a:t>
            </a:r>
            <a:endParaRPr lang="en-US" dirty="0">
              <a:solidFill>
                <a:prstClr val="white"/>
              </a:solidFill>
            </a:endParaRP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0251" y="-14867"/>
            <a:ext cx="2537089" cy="2129929"/>
          </a:xfrm>
          <a:prstGeom prst="rect">
            <a:avLst/>
          </a:prstGeom>
        </p:spPr>
      </p:pic>
      <p:sp>
        <p:nvSpPr>
          <p:cNvPr id="15" name="TextBox 14"/>
          <p:cNvSpPr txBox="1"/>
          <p:nvPr userDrawn="1"/>
        </p:nvSpPr>
        <p:spPr>
          <a:xfrm>
            <a:off x="5141074" y="1217007"/>
            <a:ext cx="1482612" cy="654810"/>
          </a:xfrm>
          <a:custGeom>
            <a:avLst/>
            <a:gdLst/>
            <a:ahLst/>
            <a:cxnLst/>
            <a:rect l="l" t="t" r="r" b="b"/>
            <a:pathLst>
              <a:path w="2317522" h="1023556">
                <a:moveTo>
                  <a:pt x="1542001" y="715613"/>
                </a:moveTo>
                <a:lnTo>
                  <a:pt x="1474365" y="869585"/>
                </a:lnTo>
                <a:lnTo>
                  <a:pt x="1609636" y="869585"/>
                </a:lnTo>
                <a:close/>
                <a:moveTo>
                  <a:pt x="2072682" y="671126"/>
                </a:moveTo>
                <a:lnTo>
                  <a:pt x="2072682" y="964997"/>
                </a:lnTo>
                <a:lnTo>
                  <a:pt x="2089346" y="964997"/>
                </a:lnTo>
                <a:cubicBezTo>
                  <a:pt x="2122102" y="965231"/>
                  <a:pt x="2152089" y="960724"/>
                  <a:pt x="2179309" y="951476"/>
                </a:cubicBezTo>
                <a:cubicBezTo>
                  <a:pt x="2206528" y="942228"/>
                  <a:pt x="2228361" y="926837"/>
                  <a:pt x="2244807" y="905303"/>
                </a:cubicBezTo>
                <a:cubicBezTo>
                  <a:pt x="2261254" y="883768"/>
                  <a:pt x="2269695" y="854688"/>
                  <a:pt x="2270132" y="818061"/>
                </a:cubicBezTo>
                <a:cubicBezTo>
                  <a:pt x="2269695" y="781276"/>
                  <a:pt x="2261254" y="752121"/>
                  <a:pt x="2244807" y="730596"/>
                </a:cubicBezTo>
                <a:cubicBezTo>
                  <a:pt x="2228361" y="709071"/>
                  <a:pt x="2206528" y="693717"/>
                  <a:pt x="2179309" y="684534"/>
                </a:cubicBezTo>
                <a:cubicBezTo>
                  <a:pt x="2152089" y="675352"/>
                  <a:pt x="2122102" y="670882"/>
                  <a:pt x="2089346" y="671126"/>
                </a:cubicBezTo>
                <a:close/>
                <a:moveTo>
                  <a:pt x="1800496" y="670116"/>
                </a:moveTo>
                <a:lnTo>
                  <a:pt x="1800496" y="807996"/>
                </a:lnTo>
                <a:lnTo>
                  <a:pt x="1815649" y="807996"/>
                </a:lnTo>
                <a:cubicBezTo>
                  <a:pt x="1832161" y="808258"/>
                  <a:pt x="1848075" y="806724"/>
                  <a:pt x="1863390" y="803395"/>
                </a:cubicBezTo>
                <a:cubicBezTo>
                  <a:pt x="1878705" y="800065"/>
                  <a:pt x="1891326" y="793368"/>
                  <a:pt x="1901254" y="783305"/>
                </a:cubicBezTo>
                <a:cubicBezTo>
                  <a:pt x="1911181" y="773241"/>
                  <a:pt x="1916319" y="758239"/>
                  <a:pt x="1916668" y="738298"/>
                </a:cubicBezTo>
                <a:cubicBezTo>
                  <a:pt x="1916260" y="718695"/>
                  <a:pt x="1910791" y="703973"/>
                  <a:pt x="1900262" y="694134"/>
                </a:cubicBezTo>
                <a:cubicBezTo>
                  <a:pt x="1889733" y="684295"/>
                  <a:pt x="1876594" y="677767"/>
                  <a:pt x="1860846" y="674549"/>
                </a:cubicBezTo>
                <a:cubicBezTo>
                  <a:pt x="1845097" y="671332"/>
                  <a:pt x="1829190" y="669854"/>
                  <a:pt x="1813123" y="670116"/>
                </a:cubicBezTo>
                <a:close/>
                <a:moveTo>
                  <a:pt x="705121" y="670116"/>
                </a:moveTo>
                <a:lnTo>
                  <a:pt x="705121" y="807996"/>
                </a:lnTo>
                <a:lnTo>
                  <a:pt x="720274" y="807996"/>
                </a:lnTo>
                <a:cubicBezTo>
                  <a:pt x="736786" y="808258"/>
                  <a:pt x="752700" y="806724"/>
                  <a:pt x="768015" y="803395"/>
                </a:cubicBezTo>
                <a:cubicBezTo>
                  <a:pt x="783330" y="800065"/>
                  <a:pt x="795951" y="793368"/>
                  <a:pt x="805879" y="783305"/>
                </a:cubicBezTo>
                <a:cubicBezTo>
                  <a:pt x="815806" y="773241"/>
                  <a:pt x="820944" y="758239"/>
                  <a:pt x="821294" y="738298"/>
                </a:cubicBezTo>
                <a:cubicBezTo>
                  <a:pt x="820885" y="718695"/>
                  <a:pt x="815416" y="703973"/>
                  <a:pt x="804887" y="694134"/>
                </a:cubicBezTo>
                <a:cubicBezTo>
                  <a:pt x="794358" y="684295"/>
                  <a:pt x="781219" y="677767"/>
                  <a:pt x="765471" y="674549"/>
                </a:cubicBezTo>
                <a:cubicBezTo>
                  <a:pt x="749722" y="671332"/>
                  <a:pt x="733815" y="669854"/>
                  <a:pt x="717748" y="670116"/>
                </a:cubicBezTo>
                <a:close/>
                <a:moveTo>
                  <a:pt x="411250" y="664058"/>
                </a:moveTo>
                <a:cubicBezTo>
                  <a:pt x="381237" y="664407"/>
                  <a:pt x="354862" y="671507"/>
                  <a:pt x="332125" y="685359"/>
                </a:cubicBezTo>
                <a:cubicBezTo>
                  <a:pt x="309387" y="699210"/>
                  <a:pt x="291615" y="717718"/>
                  <a:pt x="278808" y="740883"/>
                </a:cubicBezTo>
                <a:cubicBezTo>
                  <a:pt x="266000" y="764047"/>
                  <a:pt x="259486" y="789774"/>
                  <a:pt x="259265" y="818062"/>
                </a:cubicBezTo>
                <a:cubicBezTo>
                  <a:pt x="259617" y="847304"/>
                  <a:pt x="266655" y="873479"/>
                  <a:pt x="280379" y="896587"/>
                </a:cubicBezTo>
                <a:cubicBezTo>
                  <a:pt x="294102" y="919696"/>
                  <a:pt x="312398" y="937979"/>
                  <a:pt x="335267" y="951437"/>
                </a:cubicBezTo>
                <a:cubicBezTo>
                  <a:pt x="358135" y="964896"/>
                  <a:pt x="383463" y="971771"/>
                  <a:pt x="411250" y="972064"/>
                </a:cubicBezTo>
                <a:cubicBezTo>
                  <a:pt x="439037" y="971771"/>
                  <a:pt x="464364" y="964896"/>
                  <a:pt x="487232" y="951437"/>
                </a:cubicBezTo>
                <a:cubicBezTo>
                  <a:pt x="510101" y="937979"/>
                  <a:pt x="528396" y="919696"/>
                  <a:pt x="542119" y="896587"/>
                </a:cubicBezTo>
                <a:cubicBezTo>
                  <a:pt x="555843" y="873479"/>
                  <a:pt x="562880" y="847304"/>
                  <a:pt x="563233" y="818062"/>
                </a:cubicBezTo>
                <a:cubicBezTo>
                  <a:pt x="563011" y="789774"/>
                  <a:pt x="556497" y="764047"/>
                  <a:pt x="543690" y="740883"/>
                </a:cubicBezTo>
                <a:cubicBezTo>
                  <a:pt x="530883" y="717718"/>
                  <a:pt x="513111" y="699210"/>
                  <a:pt x="490374" y="685359"/>
                </a:cubicBezTo>
                <a:cubicBezTo>
                  <a:pt x="467637" y="671507"/>
                  <a:pt x="441262" y="664407"/>
                  <a:pt x="411250" y="664058"/>
                </a:cubicBezTo>
                <a:close/>
                <a:moveTo>
                  <a:pt x="2025292" y="627774"/>
                </a:moveTo>
                <a:lnTo>
                  <a:pt x="2103991" y="627774"/>
                </a:lnTo>
                <a:cubicBezTo>
                  <a:pt x="2143351" y="627751"/>
                  <a:pt x="2179086" y="634633"/>
                  <a:pt x="2211196" y="648420"/>
                </a:cubicBezTo>
                <a:cubicBezTo>
                  <a:pt x="2243307" y="662207"/>
                  <a:pt x="2268936" y="683035"/>
                  <a:pt x="2288085" y="710903"/>
                </a:cubicBezTo>
                <a:cubicBezTo>
                  <a:pt x="2307234" y="738772"/>
                  <a:pt x="2317046" y="773818"/>
                  <a:pt x="2317522" y="816042"/>
                </a:cubicBezTo>
                <a:cubicBezTo>
                  <a:pt x="2317093" y="859269"/>
                  <a:pt x="2307411" y="895113"/>
                  <a:pt x="2288478" y="923574"/>
                </a:cubicBezTo>
                <a:cubicBezTo>
                  <a:pt x="2269544" y="952035"/>
                  <a:pt x="2243933" y="973286"/>
                  <a:pt x="2211645" y="987329"/>
                </a:cubicBezTo>
                <a:cubicBezTo>
                  <a:pt x="2179357" y="1001371"/>
                  <a:pt x="2142968" y="1008378"/>
                  <a:pt x="2102476" y="1008349"/>
                </a:cubicBezTo>
                <a:lnTo>
                  <a:pt x="2025292" y="1008349"/>
                </a:lnTo>
                <a:close/>
                <a:moveTo>
                  <a:pt x="1753105" y="627774"/>
                </a:moveTo>
                <a:lnTo>
                  <a:pt x="1810598" y="627774"/>
                </a:lnTo>
                <a:cubicBezTo>
                  <a:pt x="1827698" y="627438"/>
                  <a:pt x="1844892" y="628236"/>
                  <a:pt x="1862181" y="630168"/>
                </a:cubicBezTo>
                <a:cubicBezTo>
                  <a:pt x="1879471" y="632101"/>
                  <a:pt x="1895781" y="637183"/>
                  <a:pt x="1911113" y="645417"/>
                </a:cubicBezTo>
                <a:cubicBezTo>
                  <a:pt x="1927092" y="655089"/>
                  <a:pt x="1939382" y="668019"/>
                  <a:pt x="1947985" y="684205"/>
                </a:cubicBezTo>
                <a:cubicBezTo>
                  <a:pt x="1956587" y="700391"/>
                  <a:pt x="1960936" y="717749"/>
                  <a:pt x="1961030" y="736278"/>
                </a:cubicBezTo>
                <a:cubicBezTo>
                  <a:pt x="1960664" y="764170"/>
                  <a:pt x="1952322" y="787918"/>
                  <a:pt x="1936002" y="807523"/>
                </a:cubicBezTo>
                <a:cubicBezTo>
                  <a:pt x="1919683" y="827129"/>
                  <a:pt x="1897580" y="838879"/>
                  <a:pt x="1869695" y="842773"/>
                </a:cubicBezTo>
                <a:lnTo>
                  <a:pt x="1989805" y="1008349"/>
                </a:lnTo>
                <a:lnTo>
                  <a:pt x="1932296" y="1008349"/>
                </a:lnTo>
                <a:lnTo>
                  <a:pt x="1820195" y="847309"/>
                </a:lnTo>
                <a:lnTo>
                  <a:pt x="1800496" y="847309"/>
                </a:lnTo>
                <a:lnTo>
                  <a:pt x="1800496" y="1008349"/>
                </a:lnTo>
                <a:lnTo>
                  <a:pt x="1753105" y="1008349"/>
                </a:lnTo>
                <a:close/>
                <a:moveTo>
                  <a:pt x="657730" y="627774"/>
                </a:moveTo>
                <a:lnTo>
                  <a:pt x="715223" y="627774"/>
                </a:lnTo>
                <a:cubicBezTo>
                  <a:pt x="732322" y="627438"/>
                  <a:pt x="749517" y="628236"/>
                  <a:pt x="766806" y="630168"/>
                </a:cubicBezTo>
                <a:cubicBezTo>
                  <a:pt x="784096" y="632101"/>
                  <a:pt x="800406" y="637183"/>
                  <a:pt x="815738" y="645417"/>
                </a:cubicBezTo>
                <a:cubicBezTo>
                  <a:pt x="831717" y="655089"/>
                  <a:pt x="844007" y="668019"/>
                  <a:pt x="852610" y="684205"/>
                </a:cubicBezTo>
                <a:cubicBezTo>
                  <a:pt x="861212" y="700391"/>
                  <a:pt x="865561" y="717749"/>
                  <a:pt x="865655" y="736278"/>
                </a:cubicBezTo>
                <a:cubicBezTo>
                  <a:pt x="865289" y="764170"/>
                  <a:pt x="856947" y="787918"/>
                  <a:pt x="840627" y="807523"/>
                </a:cubicBezTo>
                <a:cubicBezTo>
                  <a:pt x="824308" y="827129"/>
                  <a:pt x="802205" y="838879"/>
                  <a:pt x="774320" y="842773"/>
                </a:cubicBezTo>
                <a:lnTo>
                  <a:pt x="894430" y="1008349"/>
                </a:lnTo>
                <a:lnTo>
                  <a:pt x="836921" y="1008349"/>
                </a:lnTo>
                <a:lnTo>
                  <a:pt x="724820" y="847309"/>
                </a:lnTo>
                <a:lnTo>
                  <a:pt x="705121" y="847309"/>
                </a:lnTo>
                <a:lnTo>
                  <a:pt x="705121" y="1008349"/>
                </a:lnTo>
                <a:lnTo>
                  <a:pt x="657730" y="1008349"/>
                </a:lnTo>
                <a:close/>
                <a:moveTo>
                  <a:pt x="0" y="627774"/>
                </a:moveTo>
                <a:lnTo>
                  <a:pt x="184198" y="627774"/>
                </a:lnTo>
                <a:lnTo>
                  <a:pt x="184198" y="671126"/>
                </a:lnTo>
                <a:lnTo>
                  <a:pt x="47391" y="671126"/>
                </a:lnTo>
                <a:lnTo>
                  <a:pt x="47391" y="778212"/>
                </a:lnTo>
                <a:lnTo>
                  <a:pt x="179655" y="778212"/>
                </a:lnTo>
                <a:lnTo>
                  <a:pt x="179655" y="821563"/>
                </a:lnTo>
                <a:lnTo>
                  <a:pt x="47391" y="821563"/>
                </a:lnTo>
                <a:lnTo>
                  <a:pt x="47391" y="1008349"/>
                </a:lnTo>
                <a:lnTo>
                  <a:pt x="0" y="1008349"/>
                </a:lnTo>
                <a:close/>
                <a:moveTo>
                  <a:pt x="1157055" y="619697"/>
                </a:moveTo>
                <a:lnTo>
                  <a:pt x="1264570" y="900379"/>
                </a:lnTo>
                <a:lnTo>
                  <a:pt x="1371075" y="627774"/>
                </a:lnTo>
                <a:lnTo>
                  <a:pt x="1422563" y="627774"/>
                </a:lnTo>
                <a:lnTo>
                  <a:pt x="1264570" y="1023556"/>
                </a:lnTo>
                <a:lnTo>
                  <a:pt x="1157055" y="744388"/>
                </a:lnTo>
                <a:lnTo>
                  <a:pt x="1049541" y="1023556"/>
                </a:lnTo>
                <a:lnTo>
                  <a:pt x="891550" y="627774"/>
                </a:lnTo>
                <a:lnTo>
                  <a:pt x="943036" y="627774"/>
                </a:lnTo>
                <a:lnTo>
                  <a:pt x="1049541" y="900379"/>
                </a:lnTo>
                <a:close/>
                <a:moveTo>
                  <a:pt x="411250" y="619697"/>
                </a:moveTo>
                <a:cubicBezTo>
                  <a:pt x="448047" y="620126"/>
                  <a:pt x="481434" y="629190"/>
                  <a:pt x="511413" y="646888"/>
                </a:cubicBezTo>
                <a:cubicBezTo>
                  <a:pt x="541391" y="664587"/>
                  <a:pt x="565310" y="688344"/>
                  <a:pt x="583171" y="718161"/>
                </a:cubicBezTo>
                <a:cubicBezTo>
                  <a:pt x="601031" y="747978"/>
                  <a:pt x="610181" y="781278"/>
                  <a:pt x="610623" y="818062"/>
                </a:cubicBezTo>
                <a:cubicBezTo>
                  <a:pt x="610200" y="856118"/>
                  <a:pt x="601124" y="890016"/>
                  <a:pt x="583395" y="919758"/>
                </a:cubicBezTo>
                <a:cubicBezTo>
                  <a:pt x="565666" y="949500"/>
                  <a:pt x="541821" y="972958"/>
                  <a:pt x="511862" y="990132"/>
                </a:cubicBezTo>
                <a:cubicBezTo>
                  <a:pt x="481902" y="1007307"/>
                  <a:pt x="448364" y="1016071"/>
                  <a:pt x="411250" y="1016426"/>
                </a:cubicBezTo>
                <a:cubicBezTo>
                  <a:pt x="374135" y="1016071"/>
                  <a:pt x="340597" y="1007307"/>
                  <a:pt x="310637" y="990132"/>
                </a:cubicBezTo>
                <a:cubicBezTo>
                  <a:pt x="280677" y="972958"/>
                  <a:pt x="256833" y="949500"/>
                  <a:pt x="239103" y="919758"/>
                </a:cubicBezTo>
                <a:cubicBezTo>
                  <a:pt x="221374" y="890016"/>
                  <a:pt x="212297" y="856118"/>
                  <a:pt x="211874" y="818062"/>
                </a:cubicBezTo>
                <a:cubicBezTo>
                  <a:pt x="212316" y="781278"/>
                  <a:pt x="221467" y="747978"/>
                  <a:pt x="239328" y="718161"/>
                </a:cubicBezTo>
                <a:cubicBezTo>
                  <a:pt x="257188" y="688344"/>
                  <a:pt x="281108" y="664587"/>
                  <a:pt x="311086" y="646888"/>
                </a:cubicBezTo>
                <a:cubicBezTo>
                  <a:pt x="341065" y="629190"/>
                  <a:pt x="374453" y="620126"/>
                  <a:pt x="411250" y="619697"/>
                </a:cubicBezTo>
                <a:close/>
                <a:moveTo>
                  <a:pt x="1542001" y="611619"/>
                </a:moveTo>
                <a:lnTo>
                  <a:pt x="1723705" y="1008349"/>
                </a:lnTo>
                <a:lnTo>
                  <a:pt x="1672728" y="1008349"/>
                </a:lnTo>
                <a:lnTo>
                  <a:pt x="1629321" y="912937"/>
                </a:lnTo>
                <a:lnTo>
                  <a:pt x="1454681" y="912937"/>
                </a:lnTo>
                <a:lnTo>
                  <a:pt x="1411273" y="1008349"/>
                </a:lnTo>
                <a:lnTo>
                  <a:pt x="1360294" y="1008349"/>
                </a:lnTo>
                <a:close/>
                <a:moveTo>
                  <a:pt x="782725" y="54458"/>
                </a:moveTo>
                <a:cubicBezTo>
                  <a:pt x="752712" y="54807"/>
                  <a:pt x="726337" y="61907"/>
                  <a:pt x="703600" y="75759"/>
                </a:cubicBezTo>
                <a:cubicBezTo>
                  <a:pt x="680862" y="89610"/>
                  <a:pt x="663090" y="108118"/>
                  <a:pt x="650283" y="131283"/>
                </a:cubicBezTo>
                <a:cubicBezTo>
                  <a:pt x="637475" y="154447"/>
                  <a:pt x="630961" y="180174"/>
                  <a:pt x="630740" y="208462"/>
                </a:cubicBezTo>
                <a:cubicBezTo>
                  <a:pt x="631092" y="237704"/>
                  <a:pt x="638130" y="263879"/>
                  <a:pt x="651854" y="286987"/>
                </a:cubicBezTo>
                <a:cubicBezTo>
                  <a:pt x="665577" y="310096"/>
                  <a:pt x="683873" y="328379"/>
                  <a:pt x="706742" y="341837"/>
                </a:cubicBezTo>
                <a:cubicBezTo>
                  <a:pt x="729610" y="355296"/>
                  <a:pt x="754938" y="362171"/>
                  <a:pt x="782725" y="362464"/>
                </a:cubicBezTo>
                <a:cubicBezTo>
                  <a:pt x="810512" y="362171"/>
                  <a:pt x="835839" y="355296"/>
                  <a:pt x="858707" y="341837"/>
                </a:cubicBezTo>
                <a:cubicBezTo>
                  <a:pt x="881575" y="328379"/>
                  <a:pt x="899871" y="310096"/>
                  <a:pt x="913594" y="286987"/>
                </a:cubicBezTo>
                <a:cubicBezTo>
                  <a:pt x="927318" y="263879"/>
                  <a:pt x="934355" y="237704"/>
                  <a:pt x="934708" y="208462"/>
                </a:cubicBezTo>
                <a:cubicBezTo>
                  <a:pt x="934486" y="180174"/>
                  <a:pt x="927972" y="154447"/>
                  <a:pt x="915165" y="131283"/>
                </a:cubicBezTo>
                <a:cubicBezTo>
                  <a:pt x="902358" y="108118"/>
                  <a:pt x="884586" y="89610"/>
                  <a:pt x="861849" y="75759"/>
                </a:cubicBezTo>
                <a:cubicBezTo>
                  <a:pt x="839112" y="61907"/>
                  <a:pt x="812737" y="54807"/>
                  <a:pt x="782725" y="54458"/>
                </a:cubicBezTo>
                <a:close/>
                <a:moveTo>
                  <a:pt x="363625" y="54458"/>
                </a:moveTo>
                <a:cubicBezTo>
                  <a:pt x="333612" y="54807"/>
                  <a:pt x="307237" y="61907"/>
                  <a:pt x="284500" y="75759"/>
                </a:cubicBezTo>
                <a:cubicBezTo>
                  <a:pt x="261762" y="89610"/>
                  <a:pt x="243990" y="108118"/>
                  <a:pt x="231183" y="131283"/>
                </a:cubicBezTo>
                <a:cubicBezTo>
                  <a:pt x="218375" y="154447"/>
                  <a:pt x="211861" y="180174"/>
                  <a:pt x="211640" y="208462"/>
                </a:cubicBezTo>
                <a:cubicBezTo>
                  <a:pt x="211992" y="237704"/>
                  <a:pt x="219030" y="263879"/>
                  <a:pt x="232754" y="286987"/>
                </a:cubicBezTo>
                <a:cubicBezTo>
                  <a:pt x="246477" y="310096"/>
                  <a:pt x="264773" y="328379"/>
                  <a:pt x="287642" y="341837"/>
                </a:cubicBezTo>
                <a:cubicBezTo>
                  <a:pt x="310510" y="355296"/>
                  <a:pt x="335838" y="362171"/>
                  <a:pt x="363625" y="362464"/>
                </a:cubicBezTo>
                <a:cubicBezTo>
                  <a:pt x="391412" y="362171"/>
                  <a:pt x="416739" y="355296"/>
                  <a:pt x="439607" y="341837"/>
                </a:cubicBezTo>
                <a:cubicBezTo>
                  <a:pt x="462475" y="328379"/>
                  <a:pt x="480771" y="310096"/>
                  <a:pt x="494494" y="286987"/>
                </a:cubicBezTo>
                <a:cubicBezTo>
                  <a:pt x="508218" y="263879"/>
                  <a:pt x="515255" y="237704"/>
                  <a:pt x="515608" y="208462"/>
                </a:cubicBezTo>
                <a:cubicBezTo>
                  <a:pt x="515386" y="180174"/>
                  <a:pt x="508872" y="154447"/>
                  <a:pt x="496065" y="131283"/>
                </a:cubicBezTo>
                <a:cubicBezTo>
                  <a:pt x="483258" y="108118"/>
                  <a:pt x="465486" y="89610"/>
                  <a:pt x="442749" y="75759"/>
                </a:cubicBezTo>
                <a:cubicBezTo>
                  <a:pt x="420012" y="61907"/>
                  <a:pt x="393637" y="54807"/>
                  <a:pt x="363625" y="54458"/>
                </a:cubicBezTo>
                <a:close/>
                <a:moveTo>
                  <a:pt x="1332491" y="18174"/>
                </a:moveTo>
                <a:lnTo>
                  <a:pt x="1379881" y="18174"/>
                </a:lnTo>
                <a:lnTo>
                  <a:pt x="1379881" y="398749"/>
                </a:lnTo>
                <a:lnTo>
                  <a:pt x="1332491" y="398749"/>
                </a:lnTo>
                <a:close/>
                <a:moveTo>
                  <a:pt x="1029205" y="18174"/>
                </a:moveTo>
                <a:lnTo>
                  <a:pt x="1076596" y="18174"/>
                </a:lnTo>
                <a:lnTo>
                  <a:pt x="1076596" y="183225"/>
                </a:lnTo>
                <a:lnTo>
                  <a:pt x="1238140" y="18174"/>
                </a:lnTo>
                <a:lnTo>
                  <a:pt x="1300233" y="18174"/>
                </a:lnTo>
                <a:lnTo>
                  <a:pt x="1129097" y="189281"/>
                </a:lnTo>
                <a:lnTo>
                  <a:pt x="1303262" y="398749"/>
                </a:lnTo>
                <a:lnTo>
                  <a:pt x="1239149" y="398749"/>
                </a:lnTo>
                <a:lnTo>
                  <a:pt x="1095779" y="221585"/>
                </a:lnTo>
                <a:lnTo>
                  <a:pt x="1076596" y="239756"/>
                </a:lnTo>
                <a:lnTo>
                  <a:pt x="1076596" y="398749"/>
                </a:lnTo>
                <a:lnTo>
                  <a:pt x="1029205" y="398749"/>
                </a:lnTo>
                <a:close/>
                <a:moveTo>
                  <a:pt x="505" y="18174"/>
                </a:moveTo>
                <a:lnTo>
                  <a:pt x="47896" y="18174"/>
                </a:lnTo>
                <a:lnTo>
                  <a:pt x="47896" y="355397"/>
                </a:lnTo>
                <a:lnTo>
                  <a:pt x="163501" y="355397"/>
                </a:lnTo>
                <a:lnTo>
                  <a:pt x="163501" y="398749"/>
                </a:lnTo>
                <a:lnTo>
                  <a:pt x="505" y="398749"/>
                </a:lnTo>
                <a:close/>
                <a:moveTo>
                  <a:pt x="2019967" y="10097"/>
                </a:moveTo>
                <a:cubicBezTo>
                  <a:pt x="2049938" y="10232"/>
                  <a:pt x="2078486" y="16640"/>
                  <a:pt x="2105612" y="29322"/>
                </a:cubicBezTo>
                <a:cubicBezTo>
                  <a:pt x="2132737" y="42004"/>
                  <a:pt x="2155846" y="60146"/>
                  <a:pt x="2174938" y="83750"/>
                </a:cubicBezTo>
                <a:lnTo>
                  <a:pt x="2141658" y="115567"/>
                </a:lnTo>
                <a:cubicBezTo>
                  <a:pt x="2127645" y="96629"/>
                  <a:pt x="2110099" y="81604"/>
                  <a:pt x="2089017" y="70493"/>
                </a:cubicBezTo>
                <a:cubicBezTo>
                  <a:pt x="2067936" y="59383"/>
                  <a:pt x="2045593" y="53701"/>
                  <a:pt x="2021987" y="53448"/>
                </a:cubicBezTo>
                <a:cubicBezTo>
                  <a:pt x="1993245" y="53776"/>
                  <a:pt x="1967469" y="60809"/>
                  <a:pt x="1944656" y="74547"/>
                </a:cubicBezTo>
                <a:cubicBezTo>
                  <a:pt x="1921843" y="88286"/>
                  <a:pt x="1903771" y="106766"/>
                  <a:pt x="1890440" y="129988"/>
                </a:cubicBezTo>
                <a:cubicBezTo>
                  <a:pt x="1877109" y="153210"/>
                  <a:pt x="1870296" y="179209"/>
                  <a:pt x="1870000" y="207986"/>
                </a:cubicBezTo>
                <a:cubicBezTo>
                  <a:pt x="1870302" y="235003"/>
                  <a:pt x="1876991" y="260251"/>
                  <a:pt x="1890066" y="283730"/>
                </a:cubicBezTo>
                <a:cubicBezTo>
                  <a:pt x="1903142" y="307208"/>
                  <a:pt x="1920790" y="326258"/>
                  <a:pt x="1943010" y="340878"/>
                </a:cubicBezTo>
                <a:cubicBezTo>
                  <a:pt x="1965231" y="355499"/>
                  <a:pt x="1990210" y="363031"/>
                  <a:pt x="2017947" y="363474"/>
                </a:cubicBezTo>
                <a:cubicBezTo>
                  <a:pt x="2038048" y="363228"/>
                  <a:pt x="2057429" y="358052"/>
                  <a:pt x="2076090" y="347947"/>
                </a:cubicBezTo>
                <a:cubicBezTo>
                  <a:pt x="2094751" y="337841"/>
                  <a:pt x="2110242" y="324284"/>
                  <a:pt x="2122563" y="307276"/>
                </a:cubicBezTo>
                <a:cubicBezTo>
                  <a:pt x="2134885" y="290268"/>
                  <a:pt x="2141586" y="271286"/>
                  <a:pt x="2142668" y="250330"/>
                </a:cubicBezTo>
                <a:lnTo>
                  <a:pt x="2044204" y="250330"/>
                </a:lnTo>
                <a:lnTo>
                  <a:pt x="2044204" y="206978"/>
                </a:lnTo>
                <a:lnTo>
                  <a:pt x="2195107" y="206978"/>
                </a:lnTo>
                <a:lnTo>
                  <a:pt x="2195107" y="222101"/>
                </a:lnTo>
                <a:cubicBezTo>
                  <a:pt x="2194855" y="257280"/>
                  <a:pt x="2187175" y="288725"/>
                  <a:pt x="2172067" y="316437"/>
                </a:cubicBezTo>
                <a:cubicBezTo>
                  <a:pt x="2156959" y="344149"/>
                  <a:pt x="2135932" y="366056"/>
                  <a:pt x="2108985" y="382156"/>
                </a:cubicBezTo>
                <a:cubicBezTo>
                  <a:pt x="2082039" y="398257"/>
                  <a:pt x="2050683" y="406481"/>
                  <a:pt x="2014917" y="406826"/>
                </a:cubicBezTo>
                <a:cubicBezTo>
                  <a:pt x="1979002" y="406343"/>
                  <a:pt x="1946599" y="397104"/>
                  <a:pt x="1917708" y="379108"/>
                </a:cubicBezTo>
                <a:cubicBezTo>
                  <a:pt x="1888816" y="361112"/>
                  <a:pt x="1865844" y="337256"/>
                  <a:pt x="1848791" y="307540"/>
                </a:cubicBezTo>
                <a:cubicBezTo>
                  <a:pt x="1831738" y="277823"/>
                  <a:pt x="1823010" y="245143"/>
                  <a:pt x="1822609" y="209499"/>
                </a:cubicBezTo>
                <a:cubicBezTo>
                  <a:pt x="1823017" y="172537"/>
                  <a:pt x="1831956" y="139070"/>
                  <a:pt x="1849427" y="109096"/>
                </a:cubicBezTo>
                <a:cubicBezTo>
                  <a:pt x="1866898" y="79123"/>
                  <a:pt x="1890456" y="55238"/>
                  <a:pt x="1920101" y="37441"/>
                </a:cubicBezTo>
                <a:cubicBezTo>
                  <a:pt x="1949747" y="19644"/>
                  <a:pt x="1983035" y="10529"/>
                  <a:pt x="2019967" y="10097"/>
                </a:cubicBezTo>
                <a:close/>
                <a:moveTo>
                  <a:pt x="782725" y="10097"/>
                </a:moveTo>
                <a:cubicBezTo>
                  <a:pt x="819522" y="10526"/>
                  <a:pt x="852909" y="19590"/>
                  <a:pt x="882888" y="37288"/>
                </a:cubicBezTo>
                <a:cubicBezTo>
                  <a:pt x="912866" y="54987"/>
                  <a:pt x="936785" y="78744"/>
                  <a:pt x="954645" y="108561"/>
                </a:cubicBezTo>
                <a:cubicBezTo>
                  <a:pt x="972506" y="138378"/>
                  <a:pt x="981656" y="171678"/>
                  <a:pt x="982098" y="208462"/>
                </a:cubicBezTo>
                <a:cubicBezTo>
                  <a:pt x="981675" y="246518"/>
                  <a:pt x="972599" y="280416"/>
                  <a:pt x="954870" y="310158"/>
                </a:cubicBezTo>
                <a:cubicBezTo>
                  <a:pt x="937141" y="339900"/>
                  <a:pt x="913296" y="363358"/>
                  <a:pt x="883337" y="380532"/>
                </a:cubicBezTo>
                <a:cubicBezTo>
                  <a:pt x="853377" y="397707"/>
                  <a:pt x="819839" y="406471"/>
                  <a:pt x="782725" y="406826"/>
                </a:cubicBezTo>
                <a:cubicBezTo>
                  <a:pt x="745610" y="406471"/>
                  <a:pt x="712072" y="397707"/>
                  <a:pt x="682112" y="380532"/>
                </a:cubicBezTo>
                <a:cubicBezTo>
                  <a:pt x="652152" y="363358"/>
                  <a:pt x="628308" y="339900"/>
                  <a:pt x="610578" y="310158"/>
                </a:cubicBezTo>
                <a:cubicBezTo>
                  <a:pt x="592849" y="280416"/>
                  <a:pt x="583772" y="246518"/>
                  <a:pt x="583349" y="208462"/>
                </a:cubicBezTo>
                <a:cubicBezTo>
                  <a:pt x="583791" y="171678"/>
                  <a:pt x="592942" y="138378"/>
                  <a:pt x="610803" y="108561"/>
                </a:cubicBezTo>
                <a:cubicBezTo>
                  <a:pt x="628663" y="78744"/>
                  <a:pt x="652582" y="54987"/>
                  <a:pt x="682561" y="37288"/>
                </a:cubicBezTo>
                <a:cubicBezTo>
                  <a:pt x="712540" y="19590"/>
                  <a:pt x="745928" y="10526"/>
                  <a:pt x="782725" y="10097"/>
                </a:cubicBezTo>
                <a:close/>
                <a:moveTo>
                  <a:pt x="363625" y="10097"/>
                </a:moveTo>
                <a:cubicBezTo>
                  <a:pt x="400422" y="10526"/>
                  <a:pt x="433809" y="19590"/>
                  <a:pt x="463788" y="37288"/>
                </a:cubicBezTo>
                <a:cubicBezTo>
                  <a:pt x="493766" y="54987"/>
                  <a:pt x="517685" y="78744"/>
                  <a:pt x="535546" y="108561"/>
                </a:cubicBezTo>
                <a:cubicBezTo>
                  <a:pt x="553406" y="138378"/>
                  <a:pt x="562556" y="171678"/>
                  <a:pt x="562998" y="208462"/>
                </a:cubicBezTo>
                <a:cubicBezTo>
                  <a:pt x="562575" y="246518"/>
                  <a:pt x="553499" y="280416"/>
                  <a:pt x="535770" y="310158"/>
                </a:cubicBezTo>
                <a:cubicBezTo>
                  <a:pt x="518041" y="339900"/>
                  <a:pt x="494196" y="363358"/>
                  <a:pt x="464236" y="380532"/>
                </a:cubicBezTo>
                <a:cubicBezTo>
                  <a:pt x="434277" y="397707"/>
                  <a:pt x="400739" y="406471"/>
                  <a:pt x="363625" y="406826"/>
                </a:cubicBezTo>
                <a:cubicBezTo>
                  <a:pt x="326510" y="406471"/>
                  <a:pt x="292972" y="397707"/>
                  <a:pt x="263012" y="380532"/>
                </a:cubicBezTo>
                <a:cubicBezTo>
                  <a:pt x="233052" y="363358"/>
                  <a:pt x="209208" y="339900"/>
                  <a:pt x="191478" y="310158"/>
                </a:cubicBezTo>
                <a:cubicBezTo>
                  <a:pt x="173749" y="280416"/>
                  <a:pt x="164672" y="246518"/>
                  <a:pt x="164250" y="208462"/>
                </a:cubicBezTo>
                <a:cubicBezTo>
                  <a:pt x="164691" y="171678"/>
                  <a:pt x="173842" y="138378"/>
                  <a:pt x="191703" y="108561"/>
                </a:cubicBezTo>
                <a:cubicBezTo>
                  <a:pt x="209563" y="78744"/>
                  <a:pt x="233483" y="54987"/>
                  <a:pt x="263461" y="37288"/>
                </a:cubicBezTo>
                <a:cubicBezTo>
                  <a:pt x="293440" y="19590"/>
                  <a:pt x="326828" y="10526"/>
                  <a:pt x="363625" y="10097"/>
                </a:cubicBezTo>
                <a:close/>
                <a:moveTo>
                  <a:pt x="1443762" y="0"/>
                </a:moveTo>
                <a:lnTo>
                  <a:pt x="1729493" y="299315"/>
                </a:lnTo>
                <a:lnTo>
                  <a:pt x="1729493" y="18174"/>
                </a:lnTo>
                <a:lnTo>
                  <a:pt x="1776883" y="18174"/>
                </a:lnTo>
                <a:lnTo>
                  <a:pt x="1776883" y="414398"/>
                </a:lnTo>
                <a:lnTo>
                  <a:pt x="1491152" y="115085"/>
                </a:lnTo>
                <a:lnTo>
                  <a:pt x="1491152" y="398749"/>
                </a:lnTo>
                <a:lnTo>
                  <a:pt x="1443762" y="398749"/>
                </a:lnTo>
                <a:close/>
              </a:path>
            </a:pathLst>
          </a:custGeom>
          <a:solidFill>
            <a:schemeClr val="bg1"/>
          </a:solidFill>
          <a:ln>
            <a:noFill/>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4000" dirty="0">
              <a:solidFill>
                <a:prstClr val="white"/>
              </a:solidFill>
              <a:latin typeface="Futura Std Medium" panose="020B0502020204020303" pitchFamily="34" charset="0"/>
            </a:endParaRPr>
          </a:p>
        </p:txBody>
      </p:sp>
      <p:sp>
        <p:nvSpPr>
          <p:cNvPr id="16" name="Freeform 15"/>
          <p:cNvSpPr/>
          <p:nvPr userDrawn="1"/>
        </p:nvSpPr>
        <p:spPr>
          <a:xfrm>
            <a:off x="3355193" y="828334"/>
            <a:ext cx="1462955" cy="647988"/>
          </a:xfrm>
          <a:custGeom>
            <a:avLst/>
            <a:gdLst/>
            <a:ahLst/>
            <a:cxnLst/>
            <a:rect l="l" t="t" r="r" b="b"/>
            <a:pathLst>
              <a:path w="2286795" h="1012892">
                <a:moveTo>
                  <a:pt x="1061518" y="829641"/>
                </a:moveTo>
                <a:lnTo>
                  <a:pt x="1061518" y="967016"/>
                </a:lnTo>
                <a:lnTo>
                  <a:pt x="1103942" y="967016"/>
                </a:lnTo>
                <a:cubicBezTo>
                  <a:pt x="1120092" y="967231"/>
                  <a:pt x="1135549" y="965511"/>
                  <a:pt x="1150314" y="961854"/>
                </a:cubicBezTo>
                <a:cubicBezTo>
                  <a:pt x="1165079" y="958197"/>
                  <a:pt x="1177206" y="951313"/>
                  <a:pt x="1186696" y="941202"/>
                </a:cubicBezTo>
                <a:cubicBezTo>
                  <a:pt x="1196186" y="931092"/>
                  <a:pt x="1201093" y="916464"/>
                  <a:pt x="1201417" y="897319"/>
                </a:cubicBezTo>
                <a:cubicBezTo>
                  <a:pt x="1201006" y="877880"/>
                  <a:pt x="1195544" y="863277"/>
                  <a:pt x="1185031" y="853510"/>
                </a:cubicBezTo>
                <a:cubicBezTo>
                  <a:pt x="1174519" y="843742"/>
                  <a:pt x="1161425" y="837257"/>
                  <a:pt x="1145750" y="834056"/>
                </a:cubicBezTo>
                <a:cubicBezTo>
                  <a:pt x="1130074" y="830854"/>
                  <a:pt x="1114287" y="829382"/>
                  <a:pt x="1098387" y="829641"/>
                </a:cubicBezTo>
                <a:close/>
                <a:moveTo>
                  <a:pt x="1444225" y="706527"/>
                </a:moveTo>
                <a:lnTo>
                  <a:pt x="1379115" y="858984"/>
                </a:lnTo>
                <a:lnTo>
                  <a:pt x="1507821" y="858984"/>
                </a:lnTo>
                <a:close/>
                <a:moveTo>
                  <a:pt x="1061518" y="665068"/>
                </a:moveTo>
                <a:lnTo>
                  <a:pt x="1061518" y="793357"/>
                </a:lnTo>
                <a:lnTo>
                  <a:pt x="1077682" y="793357"/>
                </a:lnTo>
                <a:cubicBezTo>
                  <a:pt x="1093886" y="793653"/>
                  <a:pt x="1108678" y="792443"/>
                  <a:pt x="1122058" y="789728"/>
                </a:cubicBezTo>
                <a:cubicBezTo>
                  <a:pt x="1135438" y="787012"/>
                  <a:pt x="1146151" y="781014"/>
                  <a:pt x="1154199" y="771732"/>
                </a:cubicBezTo>
                <a:cubicBezTo>
                  <a:pt x="1162247" y="762451"/>
                  <a:pt x="1166375" y="748109"/>
                  <a:pt x="1166584" y="728707"/>
                </a:cubicBezTo>
                <a:cubicBezTo>
                  <a:pt x="1166456" y="709795"/>
                  <a:pt x="1162671" y="695766"/>
                  <a:pt x="1155228" y="686618"/>
                </a:cubicBezTo>
                <a:cubicBezTo>
                  <a:pt x="1147785" y="677471"/>
                  <a:pt x="1137452" y="671522"/>
                  <a:pt x="1124228" y="668772"/>
                </a:cubicBezTo>
                <a:cubicBezTo>
                  <a:pt x="1111004" y="666022"/>
                  <a:pt x="1095657" y="664787"/>
                  <a:pt x="1078187" y="665068"/>
                </a:cubicBezTo>
                <a:close/>
                <a:moveTo>
                  <a:pt x="2019300" y="625755"/>
                </a:moveTo>
                <a:lnTo>
                  <a:pt x="2061643" y="625755"/>
                </a:lnTo>
                <a:lnTo>
                  <a:pt x="2061643" y="788787"/>
                </a:lnTo>
                <a:lnTo>
                  <a:pt x="2223691" y="625755"/>
                </a:lnTo>
                <a:lnTo>
                  <a:pt x="2280736" y="625755"/>
                </a:lnTo>
                <a:lnTo>
                  <a:pt x="2102029" y="802919"/>
                </a:lnTo>
                <a:lnTo>
                  <a:pt x="2286795" y="1006330"/>
                </a:lnTo>
                <a:lnTo>
                  <a:pt x="2228235" y="1006330"/>
                </a:lnTo>
                <a:lnTo>
                  <a:pt x="2072244" y="831690"/>
                </a:lnTo>
                <a:lnTo>
                  <a:pt x="2061643" y="842289"/>
                </a:lnTo>
                <a:lnTo>
                  <a:pt x="2061643" y="1006330"/>
                </a:lnTo>
                <a:lnTo>
                  <a:pt x="2019300" y="1006330"/>
                </a:lnTo>
                <a:close/>
                <a:moveTo>
                  <a:pt x="1019175" y="625755"/>
                </a:moveTo>
                <a:lnTo>
                  <a:pt x="1081723" y="625755"/>
                </a:lnTo>
                <a:cubicBezTo>
                  <a:pt x="1105079" y="625586"/>
                  <a:pt x="1126324" y="628724"/>
                  <a:pt x="1145458" y="635168"/>
                </a:cubicBezTo>
                <a:cubicBezTo>
                  <a:pt x="1164592" y="641612"/>
                  <a:pt x="1179881" y="652376"/>
                  <a:pt x="1191326" y="667460"/>
                </a:cubicBezTo>
                <a:cubicBezTo>
                  <a:pt x="1202771" y="682543"/>
                  <a:pt x="1208638" y="702959"/>
                  <a:pt x="1208927" y="728707"/>
                </a:cubicBezTo>
                <a:cubicBezTo>
                  <a:pt x="1208979" y="744207"/>
                  <a:pt x="1205975" y="758285"/>
                  <a:pt x="1199915" y="770941"/>
                </a:cubicBezTo>
                <a:cubicBezTo>
                  <a:pt x="1193856" y="783598"/>
                  <a:pt x="1184424" y="794261"/>
                  <a:pt x="1171620" y="802932"/>
                </a:cubicBezTo>
                <a:cubicBezTo>
                  <a:pt x="1194499" y="809000"/>
                  <a:pt x="1212200" y="820941"/>
                  <a:pt x="1224724" y="838752"/>
                </a:cubicBezTo>
                <a:cubicBezTo>
                  <a:pt x="1237247" y="856564"/>
                  <a:pt x="1243593" y="877096"/>
                  <a:pt x="1243759" y="900349"/>
                </a:cubicBezTo>
                <a:cubicBezTo>
                  <a:pt x="1243470" y="925501"/>
                  <a:pt x="1237267" y="945881"/>
                  <a:pt x="1225150" y="961488"/>
                </a:cubicBezTo>
                <a:cubicBezTo>
                  <a:pt x="1213033" y="977094"/>
                  <a:pt x="1196735" y="988493"/>
                  <a:pt x="1176256" y="995684"/>
                </a:cubicBezTo>
                <a:cubicBezTo>
                  <a:pt x="1155777" y="1002875"/>
                  <a:pt x="1132851" y="1006424"/>
                  <a:pt x="1107478" y="1006330"/>
                </a:cubicBezTo>
                <a:lnTo>
                  <a:pt x="1019175" y="1006330"/>
                </a:lnTo>
                <a:close/>
                <a:moveTo>
                  <a:pt x="1833976" y="619192"/>
                </a:moveTo>
                <a:cubicBezTo>
                  <a:pt x="1855147" y="619171"/>
                  <a:pt x="1875151" y="622237"/>
                  <a:pt x="1893987" y="628390"/>
                </a:cubicBezTo>
                <a:cubicBezTo>
                  <a:pt x="1912823" y="634543"/>
                  <a:pt x="1930682" y="643910"/>
                  <a:pt x="1947562" y="656489"/>
                </a:cubicBezTo>
                <a:lnTo>
                  <a:pt x="1947562" y="708998"/>
                </a:lnTo>
                <a:cubicBezTo>
                  <a:pt x="1932217" y="693198"/>
                  <a:pt x="1914569" y="680870"/>
                  <a:pt x="1894618" y="672012"/>
                </a:cubicBezTo>
                <a:cubicBezTo>
                  <a:pt x="1874667" y="663155"/>
                  <a:pt x="1853612" y="658653"/>
                  <a:pt x="1831452" y="658505"/>
                </a:cubicBezTo>
                <a:cubicBezTo>
                  <a:pt x="1802858" y="658898"/>
                  <a:pt x="1777031" y="666304"/>
                  <a:pt x="1753971" y="680722"/>
                </a:cubicBezTo>
                <a:cubicBezTo>
                  <a:pt x="1730911" y="695141"/>
                  <a:pt x="1712562" y="714216"/>
                  <a:pt x="1698926" y="737947"/>
                </a:cubicBezTo>
                <a:cubicBezTo>
                  <a:pt x="1685289" y="761679"/>
                  <a:pt x="1678309" y="787711"/>
                  <a:pt x="1677985" y="816042"/>
                </a:cubicBezTo>
                <a:cubicBezTo>
                  <a:pt x="1678312" y="844374"/>
                  <a:pt x="1685342" y="870406"/>
                  <a:pt x="1699075" y="894138"/>
                </a:cubicBezTo>
                <a:cubicBezTo>
                  <a:pt x="1712809" y="917869"/>
                  <a:pt x="1731282" y="936944"/>
                  <a:pt x="1754494" y="951362"/>
                </a:cubicBezTo>
                <a:cubicBezTo>
                  <a:pt x="1777707" y="965781"/>
                  <a:pt x="1803696" y="973186"/>
                  <a:pt x="1832462" y="973579"/>
                </a:cubicBezTo>
                <a:cubicBezTo>
                  <a:pt x="1854138" y="973369"/>
                  <a:pt x="1874898" y="968740"/>
                  <a:pt x="1894744" y="959694"/>
                </a:cubicBezTo>
                <a:cubicBezTo>
                  <a:pt x="1914590" y="950647"/>
                  <a:pt x="1932196" y="938445"/>
                  <a:pt x="1947562" y="923087"/>
                </a:cubicBezTo>
                <a:lnTo>
                  <a:pt x="1947562" y="975595"/>
                </a:lnTo>
                <a:cubicBezTo>
                  <a:pt x="1930997" y="987513"/>
                  <a:pt x="1913013" y="996690"/>
                  <a:pt x="1893608" y="1003127"/>
                </a:cubicBezTo>
                <a:cubicBezTo>
                  <a:pt x="1874204" y="1009564"/>
                  <a:pt x="1854327" y="1012819"/>
                  <a:pt x="1833976" y="1012892"/>
                </a:cubicBezTo>
                <a:cubicBezTo>
                  <a:pt x="1797676" y="1012482"/>
                  <a:pt x="1764606" y="1003605"/>
                  <a:pt x="1734766" y="986262"/>
                </a:cubicBezTo>
                <a:cubicBezTo>
                  <a:pt x="1704926" y="968919"/>
                  <a:pt x="1681060" y="945573"/>
                  <a:pt x="1663168" y="916224"/>
                </a:cubicBezTo>
                <a:cubicBezTo>
                  <a:pt x="1645275" y="886875"/>
                  <a:pt x="1636100" y="853986"/>
                  <a:pt x="1635643" y="817557"/>
                </a:cubicBezTo>
                <a:cubicBezTo>
                  <a:pt x="1636072" y="780773"/>
                  <a:pt x="1645135" y="747473"/>
                  <a:pt x="1662831" y="717656"/>
                </a:cubicBezTo>
                <a:cubicBezTo>
                  <a:pt x="1680527" y="687840"/>
                  <a:pt x="1704281" y="664082"/>
                  <a:pt x="1734093" y="646384"/>
                </a:cubicBezTo>
                <a:cubicBezTo>
                  <a:pt x="1763905" y="628685"/>
                  <a:pt x="1797199" y="619621"/>
                  <a:pt x="1833976" y="619192"/>
                </a:cubicBezTo>
                <a:close/>
                <a:moveTo>
                  <a:pt x="1445235" y="607581"/>
                </a:moveTo>
                <a:lnTo>
                  <a:pt x="1616339" y="1006330"/>
                </a:lnTo>
                <a:lnTo>
                  <a:pt x="1569399" y="1006330"/>
                </a:lnTo>
                <a:lnTo>
                  <a:pt x="1524478" y="898297"/>
                </a:lnTo>
                <a:lnTo>
                  <a:pt x="1361954" y="898297"/>
                </a:lnTo>
                <a:lnTo>
                  <a:pt x="1316023" y="1006330"/>
                </a:lnTo>
                <a:lnTo>
                  <a:pt x="1269588" y="1006330"/>
                </a:lnTo>
                <a:close/>
                <a:moveTo>
                  <a:pt x="807831" y="48905"/>
                </a:moveTo>
                <a:cubicBezTo>
                  <a:pt x="778405" y="49251"/>
                  <a:pt x="751981" y="56470"/>
                  <a:pt x="728558" y="70561"/>
                </a:cubicBezTo>
                <a:cubicBezTo>
                  <a:pt x="705135" y="84652"/>
                  <a:pt x="686565" y="103540"/>
                  <a:pt x="672848" y="127225"/>
                </a:cubicBezTo>
                <a:cubicBezTo>
                  <a:pt x="659131" y="150910"/>
                  <a:pt x="652118" y="177316"/>
                  <a:pt x="651809" y="206442"/>
                </a:cubicBezTo>
                <a:cubicBezTo>
                  <a:pt x="652137" y="235410"/>
                  <a:pt x="659224" y="261741"/>
                  <a:pt x="673072" y="285435"/>
                </a:cubicBezTo>
                <a:cubicBezTo>
                  <a:pt x="686920" y="309129"/>
                  <a:pt x="705565" y="328055"/>
                  <a:pt x="729007" y="342211"/>
                </a:cubicBezTo>
                <a:cubicBezTo>
                  <a:pt x="752448" y="356368"/>
                  <a:pt x="778723" y="363624"/>
                  <a:pt x="807831" y="363979"/>
                </a:cubicBezTo>
                <a:cubicBezTo>
                  <a:pt x="836939" y="363624"/>
                  <a:pt x="863214" y="356368"/>
                  <a:pt x="886656" y="342211"/>
                </a:cubicBezTo>
                <a:cubicBezTo>
                  <a:pt x="910098" y="328055"/>
                  <a:pt x="928743" y="309129"/>
                  <a:pt x="942591" y="285435"/>
                </a:cubicBezTo>
                <a:cubicBezTo>
                  <a:pt x="956439" y="261741"/>
                  <a:pt x="963527" y="235410"/>
                  <a:pt x="963854" y="206442"/>
                </a:cubicBezTo>
                <a:cubicBezTo>
                  <a:pt x="963546" y="177316"/>
                  <a:pt x="956533" y="150910"/>
                  <a:pt x="942815" y="127225"/>
                </a:cubicBezTo>
                <a:cubicBezTo>
                  <a:pt x="929098" y="103540"/>
                  <a:pt x="910528" y="84652"/>
                  <a:pt x="887105" y="70561"/>
                </a:cubicBezTo>
                <a:cubicBezTo>
                  <a:pt x="863682" y="56470"/>
                  <a:pt x="837257" y="49251"/>
                  <a:pt x="807831" y="48905"/>
                </a:cubicBezTo>
                <a:close/>
                <a:moveTo>
                  <a:pt x="369681" y="48905"/>
                </a:moveTo>
                <a:cubicBezTo>
                  <a:pt x="340255" y="49251"/>
                  <a:pt x="313831" y="56470"/>
                  <a:pt x="290408" y="70561"/>
                </a:cubicBezTo>
                <a:cubicBezTo>
                  <a:pt x="266985" y="84652"/>
                  <a:pt x="248415" y="103540"/>
                  <a:pt x="234698" y="127225"/>
                </a:cubicBezTo>
                <a:cubicBezTo>
                  <a:pt x="220981" y="150910"/>
                  <a:pt x="213968" y="177316"/>
                  <a:pt x="213659" y="206442"/>
                </a:cubicBezTo>
                <a:cubicBezTo>
                  <a:pt x="213986" y="235410"/>
                  <a:pt x="221074" y="261741"/>
                  <a:pt x="234922" y="285435"/>
                </a:cubicBezTo>
                <a:cubicBezTo>
                  <a:pt x="248770" y="309129"/>
                  <a:pt x="267415" y="328055"/>
                  <a:pt x="290857" y="342211"/>
                </a:cubicBezTo>
                <a:cubicBezTo>
                  <a:pt x="314298" y="356368"/>
                  <a:pt x="340573" y="363624"/>
                  <a:pt x="369681" y="363979"/>
                </a:cubicBezTo>
                <a:cubicBezTo>
                  <a:pt x="398789" y="363624"/>
                  <a:pt x="425064" y="356368"/>
                  <a:pt x="448506" y="342211"/>
                </a:cubicBezTo>
                <a:cubicBezTo>
                  <a:pt x="471948" y="328055"/>
                  <a:pt x="490593" y="309129"/>
                  <a:pt x="504441" y="285435"/>
                </a:cubicBezTo>
                <a:cubicBezTo>
                  <a:pt x="518289" y="261741"/>
                  <a:pt x="525377" y="235410"/>
                  <a:pt x="525704" y="206442"/>
                </a:cubicBezTo>
                <a:cubicBezTo>
                  <a:pt x="525396" y="177316"/>
                  <a:pt x="518383" y="150910"/>
                  <a:pt x="504665" y="127225"/>
                </a:cubicBezTo>
                <a:cubicBezTo>
                  <a:pt x="490948" y="103540"/>
                  <a:pt x="472378" y="84652"/>
                  <a:pt x="448955" y="70561"/>
                </a:cubicBezTo>
                <a:cubicBezTo>
                  <a:pt x="425532" y="56470"/>
                  <a:pt x="399107" y="49251"/>
                  <a:pt x="369681" y="48905"/>
                </a:cubicBezTo>
                <a:close/>
                <a:moveTo>
                  <a:pt x="1372610" y="16155"/>
                </a:moveTo>
                <a:lnTo>
                  <a:pt x="1414952" y="16155"/>
                </a:lnTo>
                <a:lnTo>
                  <a:pt x="1414952" y="396730"/>
                </a:lnTo>
                <a:lnTo>
                  <a:pt x="1372610" y="396730"/>
                </a:lnTo>
                <a:close/>
                <a:moveTo>
                  <a:pt x="1066800" y="16155"/>
                </a:moveTo>
                <a:lnTo>
                  <a:pt x="1109143" y="16155"/>
                </a:lnTo>
                <a:lnTo>
                  <a:pt x="1109143" y="179187"/>
                </a:lnTo>
                <a:lnTo>
                  <a:pt x="1271191" y="16155"/>
                </a:lnTo>
                <a:lnTo>
                  <a:pt x="1328237" y="16155"/>
                </a:lnTo>
                <a:lnTo>
                  <a:pt x="1149529" y="193319"/>
                </a:lnTo>
                <a:lnTo>
                  <a:pt x="1334295" y="396730"/>
                </a:lnTo>
                <a:lnTo>
                  <a:pt x="1275735" y="396730"/>
                </a:lnTo>
                <a:lnTo>
                  <a:pt x="1119744" y="222089"/>
                </a:lnTo>
                <a:lnTo>
                  <a:pt x="1109143" y="232689"/>
                </a:lnTo>
                <a:lnTo>
                  <a:pt x="1109143" y="396730"/>
                </a:lnTo>
                <a:lnTo>
                  <a:pt x="1066800" y="396730"/>
                </a:lnTo>
                <a:close/>
                <a:moveTo>
                  <a:pt x="0" y="16155"/>
                </a:moveTo>
                <a:lnTo>
                  <a:pt x="42343" y="16155"/>
                </a:lnTo>
                <a:lnTo>
                  <a:pt x="42343" y="357416"/>
                </a:lnTo>
                <a:lnTo>
                  <a:pt x="147346" y="357416"/>
                </a:lnTo>
                <a:lnTo>
                  <a:pt x="147346" y="396730"/>
                </a:lnTo>
                <a:lnTo>
                  <a:pt x="0" y="396730"/>
                </a:lnTo>
                <a:close/>
                <a:moveTo>
                  <a:pt x="2090679" y="9592"/>
                </a:moveTo>
                <a:cubicBezTo>
                  <a:pt x="2124027" y="9737"/>
                  <a:pt x="2154153" y="16881"/>
                  <a:pt x="2181057" y="31023"/>
                </a:cubicBezTo>
                <a:cubicBezTo>
                  <a:pt x="2207961" y="45166"/>
                  <a:pt x="2231512" y="65436"/>
                  <a:pt x="2251708" y="91833"/>
                </a:cubicBezTo>
                <a:lnTo>
                  <a:pt x="2220952" y="120620"/>
                </a:lnTo>
                <a:cubicBezTo>
                  <a:pt x="2205089" y="97967"/>
                  <a:pt x="2186322" y="80396"/>
                  <a:pt x="2164652" y="67907"/>
                </a:cubicBezTo>
                <a:cubicBezTo>
                  <a:pt x="2142982" y="55418"/>
                  <a:pt x="2118156" y="49084"/>
                  <a:pt x="2090175" y="48905"/>
                </a:cubicBezTo>
                <a:cubicBezTo>
                  <a:pt x="2060913" y="49279"/>
                  <a:pt x="2034607" y="56668"/>
                  <a:pt x="2011256" y="71070"/>
                </a:cubicBezTo>
                <a:cubicBezTo>
                  <a:pt x="1987904" y="85473"/>
                  <a:pt x="1969377" y="104645"/>
                  <a:pt x="1955676" y="128586"/>
                </a:cubicBezTo>
                <a:cubicBezTo>
                  <a:pt x="1941974" y="152528"/>
                  <a:pt x="1934967" y="178994"/>
                  <a:pt x="1934655" y="207984"/>
                </a:cubicBezTo>
                <a:cubicBezTo>
                  <a:pt x="1934740" y="228308"/>
                  <a:pt x="1938611" y="247668"/>
                  <a:pt x="1946269" y="266064"/>
                </a:cubicBezTo>
                <a:cubicBezTo>
                  <a:pt x="1953927" y="284460"/>
                  <a:pt x="1964867" y="300935"/>
                  <a:pt x="1979090" y="315490"/>
                </a:cubicBezTo>
                <a:cubicBezTo>
                  <a:pt x="1993249" y="329664"/>
                  <a:pt x="2009743" y="341218"/>
                  <a:pt x="2028573" y="350152"/>
                </a:cubicBezTo>
                <a:cubicBezTo>
                  <a:pt x="2047402" y="359086"/>
                  <a:pt x="2066927" y="363695"/>
                  <a:pt x="2087145" y="363979"/>
                </a:cubicBezTo>
                <a:cubicBezTo>
                  <a:pt x="2109646" y="363817"/>
                  <a:pt x="2131183" y="358754"/>
                  <a:pt x="2151758" y="348789"/>
                </a:cubicBezTo>
                <a:cubicBezTo>
                  <a:pt x="2172333" y="338824"/>
                  <a:pt x="2189233" y="324931"/>
                  <a:pt x="2202458" y="307109"/>
                </a:cubicBezTo>
                <a:cubicBezTo>
                  <a:pt x="2215683" y="289288"/>
                  <a:pt x="2222521" y="268510"/>
                  <a:pt x="2222973" y="244777"/>
                </a:cubicBezTo>
                <a:lnTo>
                  <a:pt x="2109867" y="244777"/>
                </a:lnTo>
                <a:lnTo>
                  <a:pt x="2109867" y="205464"/>
                </a:lnTo>
                <a:lnTo>
                  <a:pt x="2268345" y="205464"/>
                </a:lnTo>
                <a:cubicBezTo>
                  <a:pt x="2269322" y="231036"/>
                  <a:pt x="2267243" y="254793"/>
                  <a:pt x="2262107" y="276735"/>
                </a:cubicBezTo>
                <a:cubicBezTo>
                  <a:pt x="2256971" y="298676"/>
                  <a:pt x="2245943" y="319676"/>
                  <a:pt x="2229023" y="339735"/>
                </a:cubicBezTo>
                <a:cubicBezTo>
                  <a:pt x="2211228" y="360046"/>
                  <a:pt x="2190023" y="375686"/>
                  <a:pt x="2165408" y="386653"/>
                </a:cubicBezTo>
                <a:cubicBezTo>
                  <a:pt x="2140794" y="397621"/>
                  <a:pt x="2115043" y="403167"/>
                  <a:pt x="2088155" y="403292"/>
                </a:cubicBezTo>
                <a:cubicBezTo>
                  <a:pt x="2052038" y="402856"/>
                  <a:pt x="2019254" y="393860"/>
                  <a:pt x="1989805" y="376304"/>
                </a:cubicBezTo>
                <a:cubicBezTo>
                  <a:pt x="1960356" y="358748"/>
                  <a:pt x="1936854" y="335247"/>
                  <a:pt x="1919299" y="305802"/>
                </a:cubicBezTo>
                <a:cubicBezTo>
                  <a:pt x="1901744" y="276356"/>
                  <a:pt x="1892749" y="243583"/>
                  <a:pt x="1892313" y="207480"/>
                </a:cubicBezTo>
                <a:cubicBezTo>
                  <a:pt x="1892733" y="170697"/>
                  <a:pt x="1901759" y="137435"/>
                  <a:pt x="1919393" y="107695"/>
                </a:cubicBezTo>
                <a:cubicBezTo>
                  <a:pt x="1937026" y="77955"/>
                  <a:pt x="1960746" y="54276"/>
                  <a:pt x="1990553" y="36656"/>
                </a:cubicBezTo>
                <a:cubicBezTo>
                  <a:pt x="2020361" y="19036"/>
                  <a:pt x="2053736" y="10015"/>
                  <a:pt x="2090679" y="9592"/>
                </a:cubicBezTo>
                <a:close/>
                <a:moveTo>
                  <a:pt x="807831" y="9592"/>
                </a:moveTo>
                <a:cubicBezTo>
                  <a:pt x="844456" y="10009"/>
                  <a:pt x="877682" y="18985"/>
                  <a:pt x="907508" y="36522"/>
                </a:cubicBezTo>
                <a:cubicBezTo>
                  <a:pt x="937334" y="54058"/>
                  <a:pt x="961129" y="77654"/>
                  <a:pt x="978893" y="107308"/>
                </a:cubicBezTo>
                <a:cubicBezTo>
                  <a:pt x="996657" y="136963"/>
                  <a:pt x="1005758" y="170176"/>
                  <a:pt x="1006196" y="206947"/>
                </a:cubicBezTo>
                <a:cubicBezTo>
                  <a:pt x="1005758" y="243865"/>
                  <a:pt x="996657" y="277066"/>
                  <a:pt x="978893" y="306549"/>
                </a:cubicBezTo>
                <a:cubicBezTo>
                  <a:pt x="961129" y="336032"/>
                  <a:pt x="937334" y="359428"/>
                  <a:pt x="907508" y="376737"/>
                </a:cubicBezTo>
                <a:cubicBezTo>
                  <a:pt x="877682" y="394046"/>
                  <a:pt x="844456" y="402897"/>
                  <a:pt x="807831" y="403292"/>
                </a:cubicBezTo>
                <a:cubicBezTo>
                  <a:pt x="771206" y="402897"/>
                  <a:pt x="737981" y="394046"/>
                  <a:pt x="708155" y="376737"/>
                </a:cubicBezTo>
                <a:cubicBezTo>
                  <a:pt x="678329" y="359428"/>
                  <a:pt x="654534" y="336032"/>
                  <a:pt x="636771" y="306549"/>
                </a:cubicBezTo>
                <a:cubicBezTo>
                  <a:pt x="619007" y="277066"/>
                  <a:pt x="609906" y="243865"/>
                  <a:pt x="609467" y="206947"/>
                </a:cubicBezTo>
                <a:cubicBezTo>
                  <a:pt x="609906" y="170176"/>
                  <a:pt x="619007" y="136963"/>
                  <a:pt x="636771" y="107308"/>
                </a:cubicBezTo>
                <a:cubicBezTo>
                  <a:pt x="654534" y="77654"/>
                  <a:pt x="678329" y="54058"/>
                  <a:pt x="708155" y="36522"/>
                </a:cubicBezTo>
                <a:cubicBezTo>
                  <a:pt x="737981" y="18985"/>
                  <a:pt x="771206" y="10009"/>
                  <a:pt x="807831" y="9592"/>
                </a:cubicBezTo>
                <a:close/>
                <a:moveTo>
                  <a:pt x="369681" y="9592"/>
                </a:moveTo>
                <a:cubicBezTo>
                  <a:pt x="406306" y="10009"/>
                  <a:pt x="439532" y="18985"/>
                  <a:pt x="469358" y="36522"/>
                </a:cubicBezTo>
                <a:cubicBezTo>
                  <a:pt x="499184" y="54058"/>
                  <a:pt x="522979" y="77654"/>
                  <a:pt x="540743" y="107308"/>
                </a:cubicBezTo>
                <a:cubicBezTo>
                  <a:pt x="558507" y="136963"/>
                  <a:pt x="567608" y="170176"/>
                  <a:pt x="568046" y="206947"/>
                </a:cubicBezTo>
                <a:cubicBezTo>
                  <a:pt x="567608" y="243865"/>
                  <a:pt x="558507" y="277066"/>
                  <a:pt x="540743" y="306549"/>
                </a:cubicBezTo>
                <a:cubicBezTo>
                  <a:pt x="522979" y="336032"/>
                  <a:pt x="499184" y="359428"/>
                  <a:pt x="469358" y="376737"/>
                </a:cubicBezTo>
                <a:cubicBezTo>
                  <a:pt x="439532" y="394046"/>
                  <a:pt x="406306" y="402897"/>
                  <a:pt x="369681" y="403292"/>
                </a:cubicBezTo>
                <a:cubicBezTo>
                  <a:pt x="333056" y="402897"/>
                  <a:pt x="299831" y="394046"/>
                  <a:pt x="270005" y="376737"/>
                </a:cubicBezTo>
                <a:cubicBezTo>
                  <a:pt x="240179" y="359428"/>
                  <a:pt x="216384" y="336032"/>
                  <a:pt x="198621" y="306549"/>
                </a:cubicBezTo>
                <a:cubicBezTo>
                  <a:pt x="180857" y="277066"/>
                  <a:pt x="171756" y="243865"/>
                  <a:pt x="171317" y="206947"/>
                </a:cubicBezTo>
                <a:cubicBezTo>
                  <a:pt x="171756" y="170176"/>
                  <a:pt x="180857" y="136963"/>
                  <a:pt x="198621" y="107308"/>
                </a:cubicBezTo>
                <a:cubicBezTo>
                  <a:pt x="216384" y="77654"/>
                  <a:pt x="240179" y="54058"/>
                  <a:pt x="270005" y="36522"/>
                </a:cubicBezTo>
                <a:cubicBezTo>
                  <a:pt x="299831" y="18985"/>
                  <a:pt x="333056" y="10009"/>
                  <a:pt x="369681" y="9592"/>
                </a:cubicBezTo>
                <a:close/>
                <a:moveTo>
                  <a:pt x="1497950" y="0"/>
                </a:moveTo>
                <a:lnTo>
                  <a:pt x="1794787" y="310924"/>
                </a:lnTo>
                <a:lnTo>
                  <a:pt x="1794787" y="16155"/>
                </a:lnTo>
                <a:lnTo>
                  <a:pt x="1837129" y="16155"/>
                </a:lnTo>
                <a:lnTo>
                  <a:pt x="1837129" y="413894"/>
                </a:lnTo>
                <a:lnTo>
                  <a:pt x="1540292" y="103475"/>
                </a:lnTo>
                <a:lnTo>
                  <a:pt x="1540292" y="396730"/>
                </a:lnTo>
                <a:lnTo>
                  <a:pt x="1497950" y="396730"/>
                </a:lnTo>
                <a:close/>
              </a:path>
            </a:pathLst>
          </a:cu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Isosceles Triangle 19"/>
          <p:cNvSpPr/>
          <p:nvPr userDrawn="1"/>
        </p:nvSpPr>
        <p:spPr>
          <a:xfrm flipH="1" flipV="1">
            <a:off x="5485" y="-3"/>
            <a:ext cx="3114905" cy="941764"/>
          </a:xfrm>
          <a:prstGeom prst="triangle">
            <a:avLst>
              <a:gd name="adj" fmla="val 100000"/>
            </a:avLst>
          </a:prstGeom>
          <a:solidFill>
            <a:srgbClr val="63EEFD">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4" name="Isosceles Triangle 23"/>
          <p:cNvSpPr/>
          <p:nvPr userDrawn="1"/>
        </p:nvSpPr>
        <p:spPr>
          <a:xfrm flipV="1">
            <a:off x="2686050" y="0"/>
            <a:ext cx="6469379" cy="1333500"/>
          </a:xfrm>
          <a:prstGeom prst="triangle">
            <a:avLst>
              <a:gd name="adj" fmla="val 100000"/>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121952080"/>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33400" y="1371600"/>
            <a:ext cx="8229600" cy="4754563"/>
          </a:xfrm>
          <a:prstGeom prst="rect">
            <a:avLst/>
          </a:prstGeom>
        </p:spPr>
        <p:txBody>
          <a:bodyPr/>
          <a:lstStyle>
            <a:lvl1pPr>
              <a:defRPr>
                <a:solidFill>
                  <a:srgbClr val="435363"/>
                </a:solidFill>
              </a:defRPr>
            </a:lvl1pPr>
            <a:lvl2pPr>
              <a:defRPr>
                <a:solidFill>
                  <a:srgbClr val="435363"/>
                </a:solidFill>
              </a:defRPr>
            </a:lvl2pPr>
            <a:lvl3pPr>
              <a:defRPr>
                <a:solidFill>
                  <a:srgbClr val="435363"/>
                </a:solidFill>
              </a:defRPr>
            </a:lvl3pPr>
            <a:lvl4pPr>
              <a:defRPr>
                <a:solidFill>
                  <a:srgbClr val="435363"/>
                </a:solidFill>
              </a:defRPr>
            </a:lvl4pPr>
            <a:lvl5pPr>
              <a:defRPr>
                <a:solidFill>
                  <a:srgbClr val="43536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4990FBF4-B477-48FF-8766-E89449F5D72E}" type="datetimeFigureOut">
              <a:rPr lang="en-US" smtClean="0"/>
              <a:pPr/>
              <a:t>3/2/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E690F16D-DDB2-4478-9C14-107CE5A37253}" type="slidenum">
              <a:rPr lang="en-US" smtClean="0"/>
              <a:pPr/>
              <a:t>‹#›</a:t>
            </a:fld>
            <a:endParaRPr lang="en-US"/>
          </a:p>
        </p:txBody>
      </p:sp>
      <p:sp>
        <p:nvSpPr>
          <p:cNvPr id="2" name="Title 1"/>
          <p:cNvSpPr>
            <a:spLocks noGrp="1"/>
          </p:cNvSpPr>
          <p:nvPr userDrawn="1">
            <p:ph type="title"/>
          </p:nvPr>
        </p:nvSpPr>
        <p:spPr>
          <a:xfrm>
            <a:off x="533400" y="172528"/>
            <a:ext cx="8229600" cy="868362"/>
          </a:xfrm>
          <a:prstGeom prst="rect">
            <a:avLst/>
          </a:prstGeom>
        </p:spPr>
        <p:txBody>
          <a:bodyPr>
            <a:normAutofit/>
          </a:bodyPr>
          <a:lstStyle>
            <a:lvl1pPr algn="l">
              <a:defRPr sz="4000">
                <a:solidFill>
                  <a:srgbClr val="88A53D"/>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356639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4990FBF4-B477-48FF-8766-E89449F5D72E}" type="datetimeFigureOut">
              <a:rPr lang="en-US" smtClean="0"/>
              <a:pPr/>
              <a:t>3/2/2016</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p>
        </p:txBody>
      </p:sp>
      <p:sp>
        <p:nvSpPr>
          <p:cNvPr id="5" name="Slide Number Placeholder 4"/>
          <p:cNvSpPr>
            <a:spLocks noGrp="1"/>
          </p:cNvSpPr>
          <p:nvPr>
            <p:ph type="sldNum" sz="quarter" idx="12"/>
          </p:nvPr>
        </p:nvSpPr>
        <p:spPr/>
        <p:txBody>
          <a:bodyPr/>
          <a:lstStyle/>
          <a:p>
            <a:fld id="{E690F16D-DDB2-4478-9C14-107CE5A37253}" type="slidenum">
              <a:rPr lang="en-US" smtClean="0"/>
              <a:pPr/>
              <a:t>‹#›</a:t>
            </a:fld>
            <a:endParaRPr lang="en-US"/>
          </a:p>
        </p:txBody>
      </p:sp>
      <p:sp>
        <p:nvSpPr>
          <p:cNvPr id="6" name="Title 1"/>
          <p:cNvSpPr>
            <a:spLocks noGrp="1"/>
          </p:cNvSpPr>
          <p:nvPr>
            <p:ph type="title"/>
          </p:nvPr>
        </p:nvSpPr>
        <p:spPr>
          <a:xfrm>
            <a:off x="533400" y="172528"/>
            <a:ext cx="8229600" cy="868362"/>
          </a:xfrm>
          <a:prstGeom prst="rect">
            <a:avLst/>
          </a:prstGeom>
        </p:spPr>
        <p:txBody>
          <a:bodyPr>
            <a:normAutofit/>
          </a:bodyPr>
          <a:lstStyle>
            <a:lvl1pPr algn="l">
              <a:defRPr sz="4000">
                <a:solidFill>
                  <a:srgbClr val="88A53D"/>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23303087"/>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600200"/>
            <a:ext cx="4038600" cy="4525963"/>
          </a:xfrm>
          <a:prstGeom prst="rect">
            <a:avLst/>
          </a:prstGeom>
        </p:spPr>
        <p:txBody>
          <a:bodyPr/>
          <a:lstStyle>
            <a:lvl1pPr>
              <a:defRPr sz="2800" b="0">
                <a:solidFill>
                  <a:srgbClr val="435363"/>
                </a:solidFill>
              </a:defRPr>
            </a:lvl1pPr>
            <a:lvl2pPr>
              <a:defRPr sz="2400">
                <a:solidFill>
                  <a:srgbClr val="435363"/>
                </a:solidFill>
              </a:defRPr>
            </a:lvl2pPr>
            <a:lvl3pPr>
              <a:defRPr sz="2000">
                <a:solidFill>
                  <a:srgbClr val="435363"/>
                </a:solidFill>
              </a:defRPr>
            </a:lvl3pPr>
            <a:lvl4pPr>
              <a:defRPr sz="1800">
                <a:solidFill>
                  <a:srgbClr val="435363"/>
                </a:solidFill>
              </a:defRPr>
            </a:lvl4pPr>
            <a:lvl5pPr>
              <a:defRPr sz="1800">
                <a:solidFill>
                  <a:srgbClr val="435363"/>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solidFill>
                  <a:srgbClr val="435363"/>
                </a:solidFill>
              </a:defRPr>
            </a:lvl1pPr>
            <a:lvl2pPr>
              <a:defRPr sz="2400">
                <a:solidFill>
                  <a:srgbClr val="435363"/>
                </a:solidFill>
              </a:defRPr>
            </a:lvl2pPr>
            <a:lvl3pPr>
              <a:defRPr sz="2000">
                <a:solidFill>
                  <a:srgbClr val="435363"/>
                </a:solidFill>
              </a:defRPr>
            </a:lvl3pPr>
            <a:lvl4pPr>
              <a:defRPr sz="1800">
                <a:solidFill>
                  <a:srgbClr val="435363"/>
                </a:solidFill>
              </a:defRPr>
            </a:lvl4pPr>
            <a:lvl5pPr>
              <a:defRPr sz="1800">
                <a:solidFill>
                  <a:srgbClr val="435363"/>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08211CBA-5DB9-429B-8B3E-12331F4F1196}" type="datetimeFigureOut">
              <a:rPr lang="en-US" smtClean="0"/>
              <a:t>3/2/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p:txBody>
          <a:bodyPr/>
          <a:lstStyle/>
          <a:p>
            <a:fld id="{996A4E87-AC6F-40F4-ABB3-7BADD60952C2}" type="slidenum">
              <a:rPr lang="en-US" smtClean="0"/>
              <a:t>‹#›</a:t>
            </a:fld>
            <a:endParaRPr lang="en-US"/>
          </a:p>
        </p:txBody>
      </p:sp>
      <p:sp>
        <p:nvSpPr>
          <p:cNvPr id="8" name="Title 1"/>
          <p:cNvSpPr>
            <a:spLocks noGrp="1"/>
          </p:cNvSpPr>
          <p:nvPr>
            <p:ph type="title"/>
          </p:nvPr>
        </p:nvSpPr>
        <p:spPr>
          <a:xfrm>
            <a:off x="533400" y="172528"/>
            <a:ext cx="8229600" cy="868362"/>
          </a:xfrm>
          <a:prstGeom prst="rect">
            <a:avLst/>
          </a:prstGeom>
        </p:spPr>
        <p:txBody>
          <a:bodyPr>
            <a:normAutofit/>
          </a:bodyPr>
          <a:lstStyle>
            <a:lvl1pPr algn="l">
              <a:defRPr sz="4000">
                <a:solidFill>
                  <a:srgbClr val="88A53D"/>
                </a:solidFill>
                <a:latin typeface="Arial" pitchFamily="34" charset="0"/>
                <a:cs typeface="Arial" pitchFamily="34" charset="0"/>
              </a:defRPr>
            </a:lvl1pPr>
          </a:lstStyle>
          <a:p>
            <a:r>
              <a:rPr lang="en-US" smtClean="0"/>
              <a:t>Click to edit Master title style</a:t>
            </a:r>
            <a:endParaRPr lang="en-US" dirty="0"/>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2400" y="304800"/>
            <a:ext cx="323193" cy="592520"/>
          </a:xfrm>
          <a:prstGeom prst="rect">
            <a:avLst/>
          </a:prstGeom>
        </p:spPr>
      </p:pic>
    </p:spTree>
    <p:extLst>
      <p:ext uri="{BB962C8B-B14F-4D97-AF65-F5344CB8AC3E}">
        <p14:creationId xmlns:p14="http://schemas.microsoft.com/office/powerpoint/2010/main" val="409824867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7C9ABD9C-6AB4-4AF6-90BF-4C0E107DB8BF}" type="datetimeFigureOut">
              <a:rPr lang="en-US" smtClean="0">
                <a:solidFill>
                  <a:prstClr val="black">
                    <a:tint val="75000"/>
                  </a:prstClr>
                </a:solidFill>
              </a:rPr>
              <a:pPr/>
              <a:t>3/2/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D648358-22DB-446E-8262-D5A221A6CA7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126254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39167B0-FC4A-4B8C-81A9-216FC5FFBEB6}" type="datetimeFigureOut">
              <a:rPr lang="en-US" smtClean="0">
                <a:solidFill>
                  <a:prstClr val="black">
                    <a:tint val="75000"/>
                  </a:prstClr>
                </a:solidFill>
              </a:rPr>
              <a:pPr/>
              <a:t>3/2/2016</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01474626-E59D-46A0-AF39-4CAD568801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037569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C9ABD9C-6AB4-4AF6-90BF-4C0E107DB8BF}" type="datetimeFigureOut">
              <a:rPr lang="en-US" smtClean="0">
                <a:solidFill>
                  <a:prstClr val="black">
                    <a:tint val="75000"/>
                  </a:prstClr>
                </a:solidFill>
              </a:rPr>
              <a:pPr/>
              <a:t>3/2/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D648358-22DB-446E-8262-D5A221A6CA7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7991901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smtClean="0"/>
              <a:t>Click to edit Master title style</a:t>
            </a:r>
            <a:endParaRPr lang="en-US"/>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C9ABD9C-6AB4-4AF6-90BF-4C0E107DB8BF}" type="datetimeFigureOut">
              <a:rPr lang="en-US" smtClean="0">
                <a:solidFill>
                  <a:prstClr val="black">
                    <a:tint val="75000"/>
                  </a:prstClr>
                </a:solidFill>
              </a:rPr>
              <a:pPr/>
              <a:t>3/2/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D648358-22DB-446E-8262-D5A221A6CA7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910762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91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7C9ABD9C-6AB4-4AF6-90BF-4C0E107DB8BF}" type="datetimeFigureOut">
              <a:rPr lang="en-US" smtClean="0">
                <a:solidFill>
                  <a:prstClr val="black">
                    <a:tint val="75000"/>
                  </a:prstClr>
                </a:solidFill>
              </a:rPr>
              <a:pPr/>
              <a:t>3/2/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D648358-22DB-446E-8262-D5A221A6CA7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939573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7C9ABD9C-6AB4-4AF6-90BF-4C0E107DB8BF}" type="datetimeFigureOut">
              <a:rPr lang="en-US" smtClean="0">
                <a:solidFill>
                  <a:prstClr val="black">
                    <a:tint val="75000"/>
                  </a:prstClr>
                </a:solidFill>
              </a:rPr>
              <a:pPr/>
              <a:t>3/2/201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D648358-22DB-446E-8262-D5A221A6CA7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3935547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7C9ABD9C-6AB4-4AF6-90BF-4C0E107DB8BF}" type="datetimeFigureOut">
              <a:rPr lang="en-US" smtClean="0">
                <a:solidFill>
                  <a:prstClr val="black">
                    <a:tint val="75000"/>
                  </a:prstClr>
                </a:solidFill>
              </a:rPr>
              <a:pPr/>
              <a:t>3/2/201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D648358-22DB-446E-8262-D5A221A6CA7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4950581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C9ABD9C-6AB4-4AF6-90BF-4C0E107DB8BF}" type="datetimeFigureOut">
              <a:rPr lang="en-US" smtClean="0">
                <a:solidFill>
                  <a:prstClr val="black">
                    <a:tint val="75000"/>
                  </a:prstClr>
                </a:solidFill>
              </a:rPr>
              <a:pPr/>
              <a:t>3/2/201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D648358-22DB-446E-8262-D5A221A6CA7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2309519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C9ABD9C-6AB4-4AF6-90BF-4C0E107DB8BF}" type="datetimeFigureOut">
              <a:rPr lang="en-US" smtClean="0">
                <a:solidFill>
                  <a:prstClr val="black">
                    <a:tint val="75000"/>
                  </a:prstClr>
                </a:solidFill>
              </a:rPr>
              <a:pPr/>
              <a:t>3/2/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D648358-22DB-446E-8262-D5A221A6CA7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557674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C9ABD9C-6AB4-4AF6-90BF-4C0E107DB8BF}" type="datetimeFigureOut">
              <a:rPr lang="en-US" smtClean="0">
                <a:solidFill>
                  <a:prstClr val="black">
                    <a:tint val="75000"/>
                  </a:prstClr>
                </a:solidFill>
              </a:rPr>
              <a:pPr/>
              <a:t>3/2/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D648358-22DB-446E-8262-D5A221A6CA7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3719632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C9ABD9C-6AB4-4AF6-90BF-4C0E107DB8BF}" type="datetimeFigureOut">
              <a:rPr lang="en-US" smtClean="0">
                <a:solidFill>
                  <a:prstClr val="black">
                    <a:tint val="75000"/>
                  </a:prstClr>
                </a:solidFill>
              </a:rPr>
              <a:pPr/>
              <a:t>3/2/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D648358-22DB-446E-8262-D5A221A6CA7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4059546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C9ABD9C-6AB4-4AF6-90BF-4C0E107DB8BF}" type="datetimeFigureOut">
              <a:rPr lang="en-US" smtClean="0">
                <a:solidFill>
                  <a:prstClr val="black">
                    <a:tint val="75000"/>
                  </a:prstClr>
                </a:solidFill>
              </a:rPr>
              <a:pPr/>
              <a:t>3/2/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D648358-22DB-446E-8262-D5A221A6CA7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75681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39167B0-FC4A-4B8C-81A9-216FC5FFBEB6}" type="datetimeFigureOut">
              <a:rPr lang="en-US" smtClean="0">
                <a:solidFill>
                  <a:prstClr val="black">
                    <a:tint val="75000"/>
                  </a:prstClr>
                </a:solidFill>
              </a:rPr>
              <a:pPr/>
              <a:t>3/2/2016</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01474626-E59D-46A0-AF39-4CAD568801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6475732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524000" y="585789"/>
            <a:ext cx="7239000" cy="579437"/>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1524000" y="1524000"/>
            <a:ext cx="7239000" cy="4572000"/>
          </a:xfrm>
        </p:spPr>
        <p:txBody>
          <a:bodyPr/>
          <a:lstStyle/>
          <a:p>
            <a:pPr lvl="0"/>
            <a:endParaRPr lang="en-US" noProof="0" smtClean="0"/>
          </a:p>
        </p:txBody>
      </p:sp>
      <p:sp>
        <p:nvSpPr>
          <p:cNvPr id="4" name="Rectangle 5"/>
          <p:cNvSpPr>
            <a:spLocks noGrp="1" noChangeArrowheads="1"/>
          </p:cNvSpPr>
          <p:nvPr>
            <p:ph type="ftr" sz="quarter" idx="10"/>
          </p:nvPr>
        </p:nvSpPr>
        <p:spPr/>
        <p:txBody>
          <a:bodyPr/>
          <a:lstStyle>
            <a:lvl1pPr>
              <a:defRPr/>
            </a:lvl1pPr>
          </a:lstStyle>
          <a:p>
            <a:pPr>
              <a:defRPr/>
            </a:pPr>
            <a:r>
              <a:rPr lang="en-US">
                <a:solidFill>
                  <a:prstClr val="black">
                    <a:tint val="75000"/>
                  </a:prstClr>
                </a:solidFill>
              </a:rPr>
              <a:t>Page </a:t>
            </a:r>
            <a:fld id="{38CF0C6F-89C4-4BAF-B485-E5497427EA56}"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47617389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7A066B5-C034-4792-AE73-54831E1E5416}" type="datetimeFigureOut">
              <a:rPr lang="en-US" smtClean="0">
                <a:solidFill>
                  <a:prstClr val="black">
                    <a:tint val="75000"/>
                  </a:prstClr>
                </a:solidFill>
              </a:rPr>
              <a:pPr/>
              <a:t>3/2/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BF80F2-423C-4492-A7A8-B59DFC011B1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4909103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7A066B5-C034-4792-AE73-54831E1E5416}" type="datetimeFigureOut">
              <a:rPr lang="en-US" smtClean="0">
                <a:solidFill>
                  <a:prstClr val="black">
                    <a:tint val="75000"/>
                  </a:prstClr>
                </a:solidFill>
              </a:rPr>
              <a:pPr/>
              <a:t>3/2/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BF80F2-423C-4492-A7A8-B59DFC011B1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9776007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smtClean="0"/>
              <a:t>Click to edit Master title style</a:t>
            </a:r>
            <a:endParaRPr lang="en-US"/>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7A066B5-C034-4792-AE73-54831E1E5416}" type="datetimeFigureOut">
              <a:rPr lang="en-US" smtClean="0">
                <a:solidFill>
                  <a:prstClr val="black">
                    <a:tint val="75000"/>
                  </a:prstClr>
                </a:solidFill>
              </a:rPr>
              <a:pPr/>
              <a:t>3/2/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BF80F2-423C-4492-A7A8-B59DFC011B1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0396983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91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7A066B5-C034-4792-AE73-54831E1E5416}" type="datetimeFigureOut">
              <a:rPr lang="en-US" smtClean="0">
                <a:solidFill>
                  <a:prstClr val="black">
                    <a:tint val="75000"/>
                  </a:prstClr>
                </a:solidFill>
              </a:rPr>
              <a:pPr/>
              <a:t>3/2/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BF80F2-423C-4492-A7A8-B59DFC011B1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3985682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7A066B5-C034-4792-AE73-54831E1E5416}" type="datetimeFigureOut">
              <a:rPr lang="en-US" smtClean="0">
                <a:solidFill>
                  <a:prstClr val="black">
                    <a:tint val="75000"/>
                  </a:prstClr>
                </a:solidFill>
              </a:rPr>
              <a:pPr/>
              <a:t>3/2/201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ABF80F2-423C-4492-A7A8-B59DFC011B1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3274669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57A066B5-C034-4792-AE73-54831E1E5416}" type="datetimeFigureOut">
              <a:rPr lang="en-US" smtClean="0">
                <a:solidFill>
                  <a:prstClr val="black">
                    <a:tint val="75000"/>
                  </a:prstClr>
                </a:solidFill>
              </a:rPr>
              <a:pPr/>
              <a:t>3/2/201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ABF80F2-423C-4492-A7A8-B59DFC011B1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2868694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7A066B5-C034-4792-AE73-54831E1E5416}" type="datetimeFigureOut">
              <a:rPr lang="en-US" smtClean="0">
                <a:solidFill>
                  <a:prstClr val="black">
                    <a:tint val="75000"/>
                  </a:prstClr>
                </a:solidFill>
              </a:rPr>
              <a:pPr/>
              <a:t>3/2/201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ABF80F2-423C-4492-A7A8-B59DFC011B1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245664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7A066B5-C034-4792-AE73-54831E1E5416}" type="datetimeFigureOut">
              <a:rPr lang="en-US" smtClean="0">
                <a:solidFill>
                  <a:prstClr val="black">
                    <a:tint val="75000"/>
                  </a:prstClr>
                </a:solidFill>
              </a:rPr>
              <a:pPr/>
              <a:t>3/2/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BF80F2-423C-4492-A7A8-B59DFC011B1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9780025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7A066B5-C034-4792-AE73-54831E1E5416}" type="datetimeFigureOut">
              <a:rPr lang="en-US" smtClean="0">
                <a:solidFill>
                  <a:prstClr val="black">
                    <a:tint val="75000"/>
                  </a:prstClr>
                </a:solidFill>
              </a:rPr>
              <a:pPr/>
              <a:t>3/2/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BF80F2-423C-4492-A7A8-B59DFC011B1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334251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39167B0-FC4A-4B8C-81A9-216FC5FFBEB6}" type="datetimeFigureOut">
              <a:rPr lang="en-US" smtClean="0">
                <a:solidFill>
                  <a:prstClr val="black">
                    <a:tint val="75000"/>
                  </a:prstClr>
                </a:solidFill>
              </a:rPr>
              <a:pPr/>
              <a:t>3/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01474626-E59D-46A0-AF39-4CAD568801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09447090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7A066B5-C034-4792-AE73-54831E1E5416}" type="datetimeFigureOut">
              <a:rPr lang="en-US" smtClean="0">
                <a:solidFill>
                  <a:prstClr val="black">
                    <a:tint val="75000"/>
                  </a:prstClr>
                </a:solidFill>
              </a:rPr>
              <a:pPr/>
              <a:t>3/2/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BF80F2-423C-4492-A7A8-B59DFC011B1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974019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7A066B5-C034-4792-AE73-54831E1E5416}" type="datetimeFigureOut">
              <a:rPr lang="en-US" smtClean="0">
                <a:solidFill>
                  <a:prstClr val="black">
                    <a:tint val="75000"/>
                  </a:prstClr>
                </a:solidFill>
              </a:rPr>
              <a:pPr/>
              <a:t>3/2/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BF80F2-423C-4492-A7A8-B59DFC011B1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8357366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6"/>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7"/>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8"/>
          <p:cNvSpPr>
            <a:spLocks noGrp="1" noChangeArrowheads="1"/>
          </p:cNvSpPr>
          <p:nvPr>
            <p:ph type="sldNum" sz="quarter" idx="12"/>
          </p:nvPr>
        </p:nvSpPr>
        <p:spPr>
          <a:ln/>
        </p:spPr>
        <p:txBody>
          <a:bodyPr/>
          <a:lstStyle>
            <a:lvl1pPr>
              <a:defRPr/>
            </a:lvl1pPr>
          </a:lstStyle>
          <a:p>
            <a:pPr>
              <a:defRPr/>
            </a:pPr>
            <a:fld id="{D30CE484-4642-4142-B59C-9331DBDE2A79}"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401311347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0" y="152400"/>
            <a:ext cx="7467600" cy="91440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1219200" y="1143000"/>
            <a:ext cx="7467600" cy="48768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6"/>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7"/>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8"/>
          <p:cNvSpPr>
            <a:spLocks noGrp="1" noChangeArrowheads="1"/>
          </p:cNvSpPr>
          <p:nvPr>
            <p:ph type="sldNum" sz="quarter" idx="12"/>
          </p:nvPr>
        </p:nvSpPr>
        <p:spPr>
          <a:ln/>
        </p:spPr>
        <p:txBody>
          <a:bodyPr/>
          <a:lstStyle>
            <a:lvl1pPr>
              <a:defRPr/>
            </a:lvl1pPr>
          </a:lstStyle>
          <a:p>
            <a:pPr>
              <a:defRPr/>
            </a:pPr>
            <a:fld id="{045D13F7-2CB2-4B16-855B-7AADF8D5DC3C}"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86606972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7"/>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8"/>
          <p:cNvSpPr>
            <a:spLocks noGrp="1" noChangeArrowheads="1"/>
          </p:cNvSpPr>
          <p:nvPr>
            <p:ph type="sldNum" sz="quarter" idx="12"/>
          </p:nvPr>
        </p:nvSpPr>
        <p:spPr>
          <a:ln/>
        </p:spPr>
        <p:txBody>
          <a:bodyPr/>
          <a:lstStyle>
            <a:lvl1pPr>
              <a:defRPr/>
            </a:lvl1pPr>
          </a:lstStyle>
          <a:p>
            <a:pPr>
              <a:defRPr/>
            </a:pPr>
            <a:fld id="{FCE8290E-A48E-4388-855B-8E71E7CF48B7}"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35238824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676400" y="1600200"/>
            <a:ext cx="3390900" cy="4038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219700" y="1600200"/>
            <a:ext cx="3390900" cy="4038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6"/>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7"/>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7" name="Rectangle 8"/>
          <p:cNvSpPr>
            <a:spLocks noGrp="1" noChangeArrowheads="1"/>
          </p:cNvSpPr>
          <p:nvPr>
            <p:ph type="sldNum" sz="quarter" idx="12"/>
          </p:nvPr>
        </p:nvSpPr>
        <p:spPr>
          <a:ln/>
        </p:spPr>
        <p:txBody>
          <a:bodyPr/>
          <a:lstStyle>
            <a:lvl1pPr>
              <a:defRPr/>
            </a:lvl1pPr>
          </a:lstStyle>
          <a:p>
            <a:pPr>
              <a:defRPr/>
            </a:pPr>
            <a:fld id="{EB2CB939-4CEE-47CE-82D6-2820FBC34FB2}"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14435640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6"/>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8" name="Rectangle 7"/>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9" name="Rectangle 8"/>
          <p:cNvSpPr>
            <a:spLocks noGrp="1" noChangeArrowheads="1"/>
          </p:cNvSpPr>
          <p:nvPr>
            <p:ph type="sldNum" sz="quarter" idx="12"/>
          </p:nvPr>
        </p:nvSpPr>
        <p:spPr>
          <a:ln/>
        </p:spPr>
        <p:txBody>
          <a:bodyPr/>
          <a:lstStyle>
            <a:lvl1pPr>
              <a:defRPr/>
            </a:lvl1pPr>
          </a:lstStyle>
          <a:p>
            <a:pPr>
              <a:defRPr/>
            </a:pPr>
            <a:fld id="{68FEA815-51A0-4448-BBFF-7D7AF929617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1521093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7"/>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5" name="Rectangle 8"/>
          <p:cNvSpPr>
            <a:spLocks noGrp="1" noChangeArrowheads="1"/>
          </p:cNvSpPr>
          <p:nvPr>
            <p:ph type="sldNum" sz="quarter" idx="12"/>
          </p:nvPr>
        </p:nvSpPr>
        <p:spPr>
          <a:ln/>
        </p:spPr>
        <p:txBody>
          <a:bodyPr/>
          <a:lstStyle>
            <a:lvl1pPr>
              <a:defRPr/>
            </a:lvl1pPr>
          </a:lstStyle>
          <a:p>
            <a:pPr>
              <a:defRPr/>
            </a:pPr>
            <a:fld id="{1E1433B0-3276-4F83-AC9A-B4ABE0E31B8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36893119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4" name="Rectangle 8"/>
          <p:cNvSpPr>
            <a:spLocks noGrp="1" noChangeArrowheads="1"/>
          </p:cNvSpPr>
          <p:nvPr>
            <p:ph type="sldNum" sz="quarter" idx="12"/>
          </p:nvPr>
        </p:nvSpPr>
        <p:spPr>
          <a:ln/>
        </p:spPr>
        <p:txBody>
          <a:bodyPr/>
          <a:lstStyle>
            <a:lvl1pPr>
              <a:defRPr/>
            </a:lvl1pPr>
          </a:lstStyle>
          <a:p>
            <a:pPr>
              <a:defRPr/>
            </a:pPr>
            <a:fld id="{5486FFA3-2768-4767-9BA1-391ED09197C4}"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02093520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7"/>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7" name="Rectangle 8"/>
          <p:cNvSpPr>
            <a:spLocks noGrp="1" noChangeArrowheads="1"/>
          </p:cNvSpPr>
          <p:nvPr>
            <p:ph type="sldNum" sz="quarter" idx="12"/>
          </p:nvPr>
        </p:nvSpPr>
        <p:spPr>
          <a:ln/>
        </p:spPr>
        <p:txBody>
          <a:bodyPr/>
          <a:lstStyle>
            <a:lvl1pPr>
              <a:defRPr/>
            </a:lvl1pPr>
          </a:lstStyle>
          <a:p>
            <a:pPr>
              <a:defRPr/>
            </a:pPr>
            <a:fld id="{E4C27E5A-4315-4BEA-8283-FC90A83AFEE9}"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773023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39167B0-FC4A-4B8C-81A9-216FC5FFBEB6}" type="datetimeFigureOut">
              <a:rPr lang="en-US" smtClean="0">
                <a:solidFill>
                  <a:prstClr val="black">
                    <a:tint val="75000"/>
                  </a:prstClr>
                </a:solidFill>
              </a:rPr>
              <a:pPr/>
              <a:t>3/2/2016</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01474626-E59D-46A0-AF39-4CAD568801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9798541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7"/>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7" name="Rectangle 8"/>
          <p:cNvSpPr>
            <a:spLocks noGrp="1" noChangeArrowheads="1"/>
          </p:cNvSpPr>
          <p:nvPr>
            <p:ph type="sldNum" sz="quarter" idx="12"/>
          </p:nvPr>
        </p:nvSpPr>
        <p:spPr>
          <a:ln/>
        </p:spPr>
        <p:txBody>
          <a:bodyPr/>
          <a:lstStyle>
            <a:lvl1pPr>
              <a:defRPr/>
            </a:lvl1pPr>
          </a:lstStyle>
          <a:p>
            <a:pPr>
              <a:defRPr/>
            </a:pPr>
            <a:fld id="{420E7B77-7EB7-48CA-B13F-B53FA5F9CFE0}"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2256265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7"/>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8"/>
          <p:cNvSpPr>
            <a:spLocks noGrp="1" noChangeArrowheads="1"/>
          </p:cNvSpPr>
          <p:nvPr>
            <p:ph type="sldNum" sz="quarter" idx="12"/>
          </p:nvPr>
        </p:nvSpPr>
        <p:spPr>
          <a:ln/>
        </p:spPr>
        <p:txBody>
          <a:bodyPr/>
          <a:lstStyle>
            <a:lvl1pPr>
              <a:defRPr/>
            </a:lvl1pPr>
          </a:lstStyle>
          <a:p>
            <a:pPr>
              <a:defRPr/>
            </a:pPr>
            <a:fld id="{29BEA5E5-13C6-49A5-B1A5-087CF5C35B2A}"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14157214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000"/>
            </a:lvl1pPr>
          </a:lstStyle>
          <a:p>
            <a:r>
              <a:rPr lang="en-US" dirty="0" smtClean="0"/>
              <a:t>Click to edit Master title style</a:t>
            </a:r>
            <a:endParaRPr lang="en-ZA" dirty="0"/>
          </a:p>
        </p:txBody>
      </p:sp>
      <p:sp>
        <p:nvSpPr>
          <p:cNvPr id="5" name="Slide Number Placeholder 4"/>
          <p:cNvSpPr>
            <a:spLocks noGrp="1"/>
          </p:cNvSpPr>
          <p:nvPr>
            <p:ph type="sldNum" sz="quarter" idx="12"/>
          </p:nvPr>
        </p:nvSpPr>
        <p:spPr/>
        <p:txBody>
          <a:bodyPr/>
          <a:lstStyle/>
          <a:p>
            <a:pPr>
              <a:defRPr/>
            </a:pPr>
            <a:fld id="{26CB980B-A27F-42C6-9F59-51B4F991541E}" type="slidenum">
              <a:rPr lang="en-US" smtClean="0">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406697478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77050" y="304800"/>
            <a:ext cx="1733550" cy="5334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676400" y="304800"/>
            <a:ext cx="5048250" cy="5334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7"/>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8"/>
          <p:cNvSpPr>
            <a:spLocks noGrp="1" noChangeArrowheads="1"/>
          </p:cNvSpPr>
          <p:nvPr>
            <p:ph type="sldNum" sz="quarter" idx="12"/>
          </p:nvPr>
        </p:nvSpPr>
        <p:spPr>
          <a:ln/>
        </p:spPr>
        <p:txBody>
          <a:bodyPr/>
          <a:lstStyle>
            <a:lvl1pPr>
              <a:defRPr/>
            </a:lvl1pPr>
          </a:lstStyle>
          <a:p>
            <a:pPr>
              <a:defRPr/>
            </a:pPr>
            <a:fld id="{B49C4494-947B-42EF-BD1E-04699581B79D}"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99258621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76400" y="304800"/>
            <a:ext cx="6934200" cy="1143000"/>
          </a:xfr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1676400" y="1600200"/>
            <a:ext cx="3390900" cy="19431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1676400" y="3695700"/>
            <a:ext cx="3390900" cy="19431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half" idx="3"/>
          </p:nvPr>
        </p:nvSpPr>
        <p:spPr>
          <a:xfrm>
            <a:off x="5219700" y="1600200"/>
            <a:ext cx="3390900" cy="4038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6"/>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7" name="Rectangle 7"/>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8" name="Rectangle 8"/>
          <p:cNvSpPr>
            <a:spLocks noGrp="1" noChangeArrowheads="1"/>
          </p:cNvSpPr>
          <p:nvPr>
            <p:ph type="sldNum" sz="quarter" idx="12"/>
          </p:nvPr>
        </p:nvSpPr>
        <p:spPr>
          <a:ln/>
        </p:spPr>
        <p:txBody>
          <a:bodyPr/>
          <a:lstStyle>
            <a:lvl1pPr>
              <a:defRPr/>
            </a:lvl1pPr>
          </a:lstStyle>
          <a:p>
            <a:pPr>
              <a:defRPr/>
            </a:pPr>
            <a:fld id="{A28F4373-5B65-480F-BB7E-AB6C765DDC2C}"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89737594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9F88369D-4B56-4214-8A62-CCDCEEEB448E}" type="datetime1">
              <a:rPr lang="id-ID" smtClean="0">
                <a:solidFill>
                  <a:prstClr val="black">
                    <a:tint val="75000"/>
                  </a:prstClr>
                </a:solidFill>
              </a:rPr>
              <a:pPr/>
              <a:t>02/03/2016</a:t>
            </a:fld>
            <a:endParaRPr lang="id-ID">
              <a:solidFill>
                <a:prstClr val="black">
                  <a:tint val="75000"/>
                </a:prstClr>
              </a:solidFill>
            </a:endParaRPr>
          </a:p>
        </p:txBody>
      </p:sp>
      <p:sp>
        <p:nvSpPr>
          <p:cNvPr id="5" name="Footer Placeholder 4"/>
          <p:cNvSpPr>
            <a:spLocks noGrp="1"/>
          </p:cNvSpPr>
          <p:nvPr>
            <p:ph type="ftr" sz="quarter" idx="11"/>
          </p:nvPr>
        </p:nvSpPr>
        <p:spPr/>
        <p:txBody>
          <a:bodyPr/>
          <a:lstStyle/>
          <a:p>
            <a:endParaRPr lang="id-ID">
              <a:solidFill>
                <a:prstClr val="black">
                  <a:tint val="75000"/>
                </a:prstClr>
              </a:solidFill>
            </a:endParaRPr>
          </a:p>
        </p:txBody>
      </p:sp>
      <p:sp>
        <p:nvSpPr>
          <p:cNvPr id="6" name="Slide Number Placeholder 5"/>
          <p:cNvSpPr>
            <a:spLocks noGrp="1"/>
          </p:cNvSpPr>
          <p:nvPr>
            <p:ph type="sldNum" sz="quarter" idx="12"/>
          </p:nvPr>
        </p:nvSpPr>
        <p:spPr/>
        <p:txBody>
          <a:bodyPr/>
          <a:lstStyle/>
          <a:p>
            <a:fld id="{751497D4-CBBE-4892-ABDA-4C92B62757A6}"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204013036"/>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61B9360B-7322-4A70-8384-B854D0EB8158}" type="datetime1">
              <a:rPr lang="id-ID" smtClean="0">
                <a:solidFill>
                  <a:prstClr val="black">
                    <a:tint val="75000"/>
                  </a:prstClr>
                </a:solidFill>
              </a:rPr>
              <a:pPr/>
              <a:t>02/03/2016</a:t>
            </a:fld>
            <a:endParaRPr lang="id-ID">
              <a:solidFill>
                <a:prstClr val="black">
                  <a:tint val="75000"/>
                </a:prstClr>
              </a:solidFill>
            </a:endParaRPr>
          </a:p>
        </p:txBody>
      </p:sp>
      <p:sp>
        <p:nvSpPr>
          <p:cNvPr id="4" name="Footer Placeholder 3"/>
          <p:cNvSpPr>
            <a:spLocks noGrp="1"/>
          </p:cNvSpPr>
          <p:nvPr>
            <p:ph type="ftr" sz="quarter" idx="11"/>
          </p:nvPr>
        </p:nvSpPr>
        <p:spPr/>
        <p:txBody>
          <a:bodyPr/>
          <a:lstStyle/>
          <a:p>
            <a:endParaRPr lang="id-ID">
              <a:solidFill>
                <a:prstClr val="black">
                  <a:tint val="75000"/>
                </a:prstClr>
              </a:solidFill>
            </a:endParaRPr>
          </a:p>
        </p:txBody>
      </p:sp>
      <p:sp>
        <p:nvSpPr>
          <p:cNvPr id="5" name="Slide Number Placeholder 4"/>
          <p:cNvSpPr>
            <a:spLocks noGrp="1"/>
          </p:cNvSpPr>
          <p:nvPr>
            <p:ph type="sldNum" sz="quarter" idx="12"/>
          </p:nvPr>
        </p:nvSpPr>
        <p:spPr/>
        <p:txBody>
          <a:bodyPr/>
          <a:lstStyle/>
          <a:p>
            <a:fld id="{751497D4-CBBE-4892-ABDA-4C92B62757A6}" type="slidenum">
              <a:rPr lang="id-ID" smtClean="0">
                <a:solidFill>
                  <a:prstClr val="black">
                    <a:tint val="75000"/>
                  </a:prstClr>
                </a:solidFill>
              </a:rPr>
              <a:pPr/>
              <a:t>‹#›</a:t>
            </a:fld>
            <a:endParaRPr lang="id-ID">
              <a:solidFill>
                <a:prstClr val="black">
                  <a:tint val="75000"/>
                </a:prstClr>
              </a:solidFill>
            </a:endParaRPr>
          </a:p>
        </p:txBody>
      </p:sp>
    </p:spTree>
    <p:extLst>
      <p:ext uri="{BB962C8B-B14F-4D97-AF65-F5344CB8AC3E}">
        <p14:creationId xmlns:p14="http://schemas.microsoft.com/office/powerpoint/2010/main" val="1839154155"/>
      </p:ext>
    </p:extLst>
  </p:cSld>
  <p:clrMapOvr>
    <a:masterClrMapping/>
  </p:clrMapOvr>
  <p:timing>
    <p:tnLst>
      <p:par>
        <p:cTn id="1" dur="indefinite" restart="never" nodeType="tmRoot"/>
      </p:par>
    </p:tnLst>
  </p:timing>
  <p:hf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17A23F2-FD17-47C5-BA17-FC90E60246D6}" type="datetime1">
              <a:rPr lang="id-ID" smtClean="0">
                <a:solidFill>
                  <a:prstClr val="black">
                    <a:tint val="75000"/>
                  </a:prstClr>
                </a:solidFill>
              </a:rPr>
              <a:pPr/>
              <a:t>02/03/2016</a:t>
            </a:fld>
            <a:endParaRPr lang="id-ID">
              <a:solidFill>
                <a:prstClr val="black">
                  <a:tint val="75000"/>
                </a:prstClr>
              </a:solidFill>
            </a:endParaRPr>
          </a:p>
        </p:txBody>
      </p:sp>
      <p:sp>
        <p:nvSpPr>
          <p:cNvPr id="3" name="Footer Placeholder 2"/>
          <p:cNvSpPr>
            <a:spLocks noGrp="1"/>
          </p:cNvSpPr>
          <p:nvPr>
            <p:ph type="ftr" sz="quarter" idx="11"/>
          </p:nvPr>
        </p:nvSpPr>
        <p:spPr/>
        <p:txBody>
          <a:bodyPr/>
          <a:lstStyle/>
          <a:p>
            <a:endParaRPr lang="id-ID">
              <a:solidFill>
                <a:prstClr val="black">
                  <a:tint val="75000"/>
                </a:prstClr>
              </a:solidFill>
            </a:endParaRPr>
          </a:p>
        </p:txBody>
      </p:sp>
      <p:sp>
        <p:nvSpPr>
          <p:cNvPr id="4" name="Slide Number Placeholder 3"/>
          <p:cNvSpPr>
            <a:spLocks noGrp="1"/>
          </p:cNvSpPr>
          <p:nvPr>
            <p:ph type="sldNum" sz="quarter" idx="12"/>
          </p:nvPr>
        </p:nvSpPr>
        <p:spPr/>
        <p:txBody>
          <a:bodyPr/>
          <a:lstStyle/>
          <a:p>
            <a:fld id="{48F63A3B-78C7-47BE-AE5E-E10140E04643}" type="slidenum">
              <a:rPr lang="en-US" dirty="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11248427"/>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0" y="0"/>
            <a:ext cx="9144000" cy="6858000"/>
          </a:xfrm>
        </p:spPr>
        <p:txBody>
          <a:bodyPr/>
          <a:lstStyle/>
          <a:p>
            <a:endParaRPr lang="id-ID"/>
          </a:p>
        </p:txBody>
      </p:sp>
    </p:spTree>
    <p:extLst>
      <p:ext uri="{BB962C8B-B14F-4D97-AF65-F5344CB8AC3E}">
        <p14:creationId xmlns:p14="http://schemas.microsoft.com/office/powerpoint/2010/main" val="735323461"/>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userDrawn="1">
            <p:ph type="title"/>
          </p:nvPr>
        </p:nvSpPr>
        <p:spPr>
          <a:xfrm>
            <a:off x="4572001" y="857000"/>
            <a:ext cx="4268005" cy="895349"/>
          </a:xfrm>
        </p:spPr>
        <p:txBody>
          <a:bodyPr>
            <a:normAutofit/>
          </a:bodyPr>
          <a:lstStyle>
            <a:lvl1pPr>
              <a:defRPr sz="3200"/>
            </a:lvl1pPr>
          </a:lstStyle>
          <a:p>
            <a:r>
              <a:rPr lang="en-US" dirty="0" smtClean="0"/>
              <a:t>Click to edit Master title style</a:t>
            </a:r>
            <a:endParaRPr lang="en-US" dirty="0"/>
          </a:p>
        </p:txBody>
      </p:sp>
      <p:sp>
        <p:nvSpPr>
          <p:cNvPr id="3" name="Date Placeholder 2"/>
          <p:cNvSpPr>
            <a:spLocks noGrp="1"/>
          </p:cNvSpPr>
          <p:nvPr userDrawn="1">
            <p:ph type="dt" sz="half" idx="10"/>
          </p:nvPr>
        </p:nvSpPr>
        <p:spPr>
          <a:xfrm>
            <a:off x="628650" y="6356351"/>
            <a:ext cx="2057400" cy="365125"/>
          </a:xfrm>
          <a:prstGeom prst="rect">
            <a:avLst/>
          </a:prstGeom>
        </p:spPr>
        <p:txBody>
          <a:bodyPr/>
          <a:lstStyle/>
          <a:p>
            <a:fld id="{5C350A46-3F17-4217-B0B4-E226EFF93357}" type="datetime1">
              <a:rPr lang="id-ID" smtClean="0">
                <a:solidFill>
                  <a:prstClr val="black">
                    <a:tint val="75000"/>
                  </a:prstClr>
                </a:solidFill>
              </a:rPr>
              <a:pPr/>
              <a:t>02/03/2016</a:t>
            </a:fld>
            <a:endParaRPr lang="id-ID">
              <a:solidFill>
                <a:prstClr val="black">
                  <a:tint val="75000"/>
                </a:prstClr>
              </a:solidFill>
            </a:endParaRPr>
          </a:p>
        </p:txBody>
      </p:sp>
      <p:sp>
        <p:nvSpPr>
          <p:cNvPr id="4" name="Footer Placeholder 3"/>
          <p:cNvSpPr>
            <a:spLocks noGrp="1"/>
          </p:cNvSpPr>
          <p:nvPr userDrawn="1">
            <p:ph type="ftr" sz="quarter" idx="11"/>
          </p:nvPr>
        </p:nvSpPr>
        <p:spPr>
          <a:xfrm>
            <a:off x="3028950" y="6356351"/>
            <a:ext cx="3086100" cy="365125"/>
          </a:xfrm>
          <a:prstGeom prst="rect">
            <a:avLst/>
          </a:prstGeom>
        </p:spPr>
        <p:txBody>
          <a:bodyPr/>
          <a:lstStyle/>
          <a:p>
            <a:endParaRPr lang="id-ID">
              <a:solidFill>
                <a:prstClr val="black">
                  <a:tint val="75000"/>
                </a:prstClr>
              </a:solidFill>
            </a:endParaRPr>
          </a:p>
        </p:txBody>
      </p:sp>
      <p:grpSp>
        <p:nvGrpSpPr>
          <p:cNvPr id="13" name="Group 12"/>
          <p:cNvGrpSpPr/>
          <p:nvPr userDrawn="1"/>
        </p:nvGrpSpPr>
        <p:grpSpPr>
          <a:xfrm>
            <a:off x="238125" y="613706"/>
            <a:ext cx="248049" cy="398189"/>
            <a:chOff x="7767638" y="2651126"/>
            <a:chExt cx="560388" cy="674686"/>
          </a:xfrm>
        </p:grpSpPr>
        <p:sp>
          <p:nvSpPr>
            <p:cNvPr id="14" name="Freeform 5"/>
            <p:cNvSpPr>
              <a:spLocks/>
            </p:cNvSpPr>
            <p:nvPr/>
          </p:nvSpPr>
          <p:spPr bwMode="auto">
            <a:xfrm>
              <a:off x="7767638" y="2651126"/>
              <a:ext cx="560388" cy="449262"/>
            </a:xfrm>
            <a:custGeom>
              <a:avLst/>
              <a:gdLst>
                <a:gd name="T0" fmla="*/ 0 w 353"/>
                <a:gd name="T1" fmla="*/ 0 h 283"/>
                <a:gd name="T2" fmla="*/ 282 w 353"/>
                <a:gd name="T3" fmla="*/ 283 h 283"/>
                <a:gd name="T4" fmla="*/ 353 w 353"/>
                <a:gd name="T5" fmla="*/ 212 h 283"/>
                <a:gd name="T6" fmla="*/ 141 w 353"/>
                <a:gd name="T7" fmla="*/ 0 h 283"/>
                <a:gd name="T8" fmla="*/ 0 w 353"/>
                <a:gd name="T9" fmla="*/ 0 h 283"/>
              </a:gdLst>
              <a:ahLst/>
              <a:cxnLst>
                <a:cxn ang="0">
                  <a:pos x="T0" y="T1"/>
                </a:cxn>
                <a:cxn ang="0">
                  <a:pos x="T2" y="T3"/>
                </a:cxn>
                <a:cxn ang="0">
                  <a:pos x="T4" y="T5"/>
                </a:cxn>
                <a:cxn ang="0">
                  <a:pos x="T6" y="T7"/>
                </a:cxn>
                <a:cxn ang="0">
                  <a:pos x="T8" y="T9"/>
                </a:cxn>
              </a:cxnLst>
              <a:rect l="0" t="0" r="r" b="b"/>
              <a:pathLst>
                <a:path w="353" h="283">
                  <a:moveTo>
                    <a:pt x="0" y="0"/>
                  </a:moveTo>
                  <a:lnTo>
                    <a:pt x="282" y="283"/>
                  </a:lnTo>
                  <a:lnTo>
                    <a:pt x="353" y="212"/>
                  </a:lnTo>
                  <a:lnTo>
                    <a:pt x="141" y="0"/>
                  </a:lnTo>
                  <a:lnTo>
                    <a:pt x="0" y="0"/>
                  </a:lnTo>
                  <a:close/>
                </a:path>
              </a:pathLst>
            </a:cu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pPr defTabSz="685800"/>
              <a:endParaRPr lang="id-ID" sz="1013">
                <a:solidFill>
                  <a:prstClr val="black"/>
                </a:solidFill>
              </a:endParaRPr>
            </a:p>
          </p:txBody>
        </p:sp>
        <p:sp>
          <p:nvSpPr>
            <p:cNvPr id="15" name="Freeform 6"/>
            <p:cNvSpPr>
              <a:spLocks/>
            </p:cNvSpPr>
            <p:nvPr/>
          </p:nvSpPr>
          <p:spPr bwMode="auto">
            <a:xfrm>
              <a:off x="7767638" y="2876550"/>
              <a:ext cx="560388" cy="449262"/>
            </a:xfrm>
            <a:custGeom>
              <a:avLst/>
              <a:gdLst>
                <a:gd name="T0" fmla="*/ 0 w 353"/>
                <a:gd name="T1" fmla="*/ 283 h 283"/>
                <a:gd name="T2" fmla="*/ 282 w 353"/>
                <a:gd name="T3" fmla="*/ 0 h 283"/>
                <a:gd name="T4" fmla="*/ 353 w 353"/>
                <a:gd name="T5" fmla="*/ 71 h 283"/>
                <a:gd name="T6" fmla="*/ 141 w 353"/>
                <a:gd name="T7" fmla="*/ 283 h 283"/>
                <a:gd name="T8" fmla="*/ 0 w 353"/>
                <a:gd name="T9" fmla="*/ 283 h 283"/>
              </a:gdLst>
              <a:ahLst/>
              <a:cxnLst>
                <a:cxn ang="0">
                  <a:pos x="T0" y="T1"/>
                </a:cxn>
                <a:cxn ang="0">
                  <a:pos x="T2" y="T3"/>
                </a:cxn>
                <a:cxn ang="0">
                  <a:pos x="T4" y="T5"/>
                </a:cxn>
                <a:cxn ang="0">
                  <a:pos x="T6" y="T7"/>
                </a:cxn>
                <a:cxn ang="0">
                  <a:pos x="T8" y="T9"/>
                </a:cxn>
              </a:cxnLst>
              <a:rect l="0" t="0" r="r" b="b"/>
              <a:pathLst>
                <a:path w="353" h="283">
                  <a:moveTo>
                    <a:pt x="0" y="283"/>
                  </a:moveTo>
                  <a:lnTo>
                    <a:pt x="282" y="0"/>
                  </a:lnTo>
                  <a:lnTo>
                    <a:pt x="353" y="71"/>
                  </a:lnTo>
                  <a:lnTo>
                    <a:pt x="141" y="283"/>
                  </a:lnTo>
                  <a:lnTo>
                    <a:pt x="0" y="283"/>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defTabSz="685800"/>
              <a:endParaRPr lang="id-ID" sz="1013">
                <a:solidFill>
                  <a:prstClr val="black"/>
                </a:solidFill>
              </a:endParaRPr>
            </a:p>
          </p:txBody>
        </p:sp>
      </p:grpSp>
      <p:sp>
        <p:nvSpPr>
          <p:cNvPr id="17" name="Picture Placeholder 16"/>
          <p:cNvSpPr>
            <a:spLocks noGrp="1"/>
          </p:cNvSpPr>
          <p:nvPr>
            <p:ph type="pic" sz="quarter" idx="12"/>
          </p:nvPr>
        </p:nvSpPr>
        <p:spPr>
          <a:xfrm>
            <a:off x="-1" y="0"/>
            <a:ext cx="4366261" cy="6858000"/>
          </a:xfrm>
          <a:custGeom>
            <a:avLst/>
            <a:gdLst>
              <a:gd name="connsiteX0" fmla="*/ 0 w 4498816"/>
              <a:gd name="connsiteY0" fmla="*/ 0 h 5143500"/>
              <a:gd name="connsiteX1" fmla="*/ 4041934 w 4498816"/>
              <a:gd name="connsiteY1" fmla="*/ 0 h 5143500"/>
              <a:gd name="connsiteX2" fmla="*/ 4098925 w 4498816"/>
              <a:gd name="connsiteY2" fmla="*/ 0 h 5143500"/>
              <a:gd name="connsiteX3" fmla="*/ 4270375 w 4498816"/>
              <a:gd name="connsiteY3" fmla="*/ 0 h 5143500"/>
              <a:gd name="connsiteX4" fmla="*/ 4498816 w 4498816"/>
              <a:gd name="connsiteY4" fmla="*/ 2571750 h 5143500"/>
              <a:gd name="connsiteX5" fmla="*/ 4270375 w 4498816"/>
              <a:gd name="connsiteY5" fmla="*/ 5143500 h 5143500"/>
              <a:gd name="connsiteX6" fmla="*/ 4098925 w 4498816"/>
              <a:gd name="connsiteY6" fmla="*/ 5143500 h 5143500"/>
              <a:gd name="connsiteX7" fmla="*/ 4041934 w 4498816"/>
              <a:gd name="connsiteY7" fmla="*/ 5143500 h 5143500"/>
              <a:gd name="connsiteX8" fmla="*/ 0 w 4498816"/>
              <a:gd name="connsiteY8"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98816" h="5143500">
                <a:moveTo>
                  <a:pt x="0" y="0"/>
                </a:moveTo>
                <a:lnTo>
                  <a:pt x="4041934" y="0"/>
                </a:lnTo>
                <a:lnTo>
                  <a:pt x="4098925" y="0"/>
                </a:lnTo>
                <a:lnTo>
                  <a:pt x="4270375" y="0"/>
                </a:lnTo>
                <a:lnTo>
                  <a:pt x="4498816" y="2571750"/>
                </a:lnTo>
                <a:lnTo>
                  <a:pt x="4270375" y="5143500"/>
                </a:lnTo>
                <a:lnTo>
                  <a:pt x="4098925" y="5143500"/>
                </a:lnTo>
                <a:lnTo>
                  <a:pt x="4041934" y="5143500"/>
                </a:lnTo>
                <a:lnTo>
                  <a:pt x="0" y="5143500"/>
                </a:lnTo>
                <a:close/>
              </a:path>
            </a:pathLst>
          </a:custGeom>
        </p:spPr>
        <p:txBody>
          <a:bodyPr wrap="square">
            <a:noAutofit/>
          </a:bodyPr>
          <a:lstStyle/>
          <a:p>
            <a:endParaRPr lang="id-ID"/>
          </a:p>
        </p:txBody>
      </p:sp>
    </p:spTree>
    <p:extLst>
      <p:ext uri="{BB962C8B-B14F-4D97-AF65-F5344CB8AC3E}">
        <p14:creationId xmlns:p14="http://schemas.microsoft.com/office/powerpoint/2010/main" val="306969448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theme" Target="../theme/theme3.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theme" Target="../theme/theme4.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57.xml"/><Relationship Id="rId2" Type="http://schemas.openxmlformats.org/officeDocument/2006/relationships/slideLayout" Target="../slideLayouts/slideLayout56.xml"/><Relationship Id="rId1" Type="http://schemas.openxmlformats.org/officeDocument/2006/relationships/slideLayout" Target="../slideLayouts/slideLayout55.xml"/><Relationship Id="rId5" Type="http://schemas.openxmlformats.org/officeDocument/2006/relationships/theme" Target="../theme/theme5.xml"/><Relationship Id="rId4" Type="http://schemas.openxmlformats.org/officeDocument/2006/relationships/slideLayout" Target="../slideLayouts/slideLayout5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6.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theme" Target="../theme/theme7.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image" Target="../media/image5.png"/><Relationship Id="rId2" Type="http://schemas.openxmlformats.org/officeDocument/2006/relationships/slideLayout" Target="../slideLayouts/slideLayout83.xml"/><Relationship Id="rId16" Type="http://schemas.openxmlformats.org/officeDocument/2006/relationships/image" Target="../media/image4.png"/><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5" Type="http://schemas.openxmlformats.org/officeDocument/2006/relationships/image" Target="../media/image3.jpeg"/><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97.xml"/><Relationship Id="rId7" Type="http://schemas.openxmlformats.org/officeDocument/2006/relationships/theme" Target="../theme/theme9.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5" Type="http://schemas.openxmlformats.org/officeDocument/2006/relationships/slideLayout" Target="../slideLayouts/slideLayout99.xml"/><Relationship Id="rId4"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9167B0-FC4A-4B8C-81A9-216FC5FFBEB6}" type="datetimeFigureOut">
              <a:rPr lang="en-US" smtClean="0">
                <a:solidFill>
                  <a:prstClr val="black">
                    <a:tint val="75000"/>
                  </a:prstClr>
                </a:solidFill>
              </a:rPr>
              <a:pPr/>
              <a:t>3/2/2016</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1474626-E59D-46A0-AF39-4CAD568801C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13928279"/>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59"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028915D5-38A2-4E1D-A0F7-A53DC63F6AE6}" type="datetimeFigureOut">
              <a:rPr lang="en-GB" smtClean="0"/>
              <a:t>02/03/2016</a:t>
            </a:fld>
            <a:endParaRPr lang="en-GB"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1C8CEF30-8EB7-4935-BEFE-2FF986846F07}" type="slidenum">
              <a:rPr lang="en-GB" smtClean="0"/>
              <a:t>‹#›</a:t>
            </a:fld>
            <a:endParaRPr lang="en-GB" dirty="0"/>
          </a:p>
        </p:txBody>
      </p:sp>
    </p:spTree>
    <p:extLst>
      <p:ext uri="{BB962C8B-B14F-4D97-AF65-F5344CB8AC3E}">
        <p14:creationId xmlns:p14="http://schemas.microsoft.com/office/powerpoint/2010/main" val="1978370935"/>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7" name="Group 16"/>
          <p:cNvGrpSpPr/>
          <p:nvPr/>
        </p:nvGrpSpPr>
        <p:grpSpPr>
          <a:xfrm>
            <a:off x="-8467" y="-8468"/>
            <a:ext cx="9169805" cy="6874935"/>
            <a:chOff x="-8467" y="-8468"/>
            <a:chExt cx="9169805" cy="6874935"/>
          </a:xfrm>
        </p:grpSpPr>
        <p:sp>
          <p:nvSpPr>
            <p:cNvPr id="7" name="Freeform 6"/>
            <p:cNvSpPr/>
            <p:nvPr/>
          </p:nvSpPr>
          <p:spPr>
            <a:xfrm>
              <a:off x="-8467" y="4013200"/>
              <a:ext cx="457200" cy="2853267"/>
            </a:xfrm>
            <a:custGeom>
              <a:avLst/>
              <a:gdLst/>
              <a:ahLst/>
              <a:cxnLst/>
              <a:rect l="l" t="t" r="r" b="b"/>
              <a:pathLst>
                <a:path w="457200" h="2853267">
                  <a:moveTo>
                    <a:pt x="0" y="0"/>
                  </a:moveTo>
                  <a:lnTo>
                    <a:pt x="457200" y="2853267"/>
                  </a:lnTo>
                  <a:lnTo>
                    <a:pt x="0" y="2844800"/>
                  </a:lnTo>
                  <a:cubicBezTo>
                    <a:pt x="2822" y="1905000"/>
                    <a:pt x="5645" y="965200"/>
                    <a:pt x="0" y="0"/>
                  </a:cubicBezTo>
                  <a:close/>
                </a:path>
              </a:pathLst>
            </a:cu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cxnSp>
          <p:nvCxnSpPr>
            <p:cNvPr id="8" name="Straight Connector 7"/>
            <p:cNvCxnSpPr/>
            <p:nvPr/>
          </p:nvCxnSpPr>
          <p:spPr>
            <a:xfrm flipV="1">
              <a:off x="5130830" y="4175605"/>
              <a:ext cx="4022475" cy="2682396"/>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7042707"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sp>
          <p:nvSpPr>
            <p:cNvPr id="10" name="Freeform 9"/>
            <p:cNvSpPr/>
            <p:nvPr/>
          </p:nvSpPr>
          <p:spPr>
            <a:xfrm>
              <a:off x="6891896" y="1"/>
              <a:ext cx="2269442" cy="6866466"/>
            </a:xfrm>
            <a:custGeom>
              <a:avLst/>
              <a:gdLst/>
              <a:ahLst/>
              <a:cxnLst/>
              <a:rect l="l" t="t" r="r" b="b"/>
              <a:pathLst>
                <a:path w="2269442" h="6866466">
                  <a:moveTo>
                    <a:pt x="2023534" y="0"/>
                  </a:moveTo>
                  <a:lnTo>
                    <a:pt x="0" y="6858000"/>
                  </a:lnTo>
                  <a:lnTo>
                    <a:pt x="2269067" y="6866466"/>
                  </a:lnTo>
                  <a:cubicBezTo>
                    <a:pt x="2271889" y="4580466"/>
                    <a:pt x="2257778" y="2294466"/>
                    <a:pt x="2260600" y="8466"/>
                  </a:cubicBezTo>
                  <a:lnTo>
                    <a:pt x="2023534"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1" name="Freeform 10"/>
            <p:cNvSpPr/>
            <p:nvPr/>
          </p:nvSpPr>
          <p:spPr>
            <a:xfrm>
              <a:off x="7205158" y="-8467"/>
              <a:ext cx="1948147" cy="6866467"/>
            </a:xfrm>
            <a:custGeom>
              <a:avLst/>
              <a:gdLst/>
              <a:ahLst/>
              <a:cxnLst/>
              <a:rect l="l" t="t" r="r" b="b"/>
              <a:pathLst>
                <a:path w="1948147" h="6866467">
                  <a:moveTo>
                    <a:pt x="0" y="0"/>
                  </a:moveTo>
                  <a:lnTo>
                    <a:pt x="1202267" y="6866467"/>
                  </a:lnTo>
                  <a:lnTo>
                    <a:pt x="1947333" y="6866467"/>
                  </a:lnTo>
                  <a:cubicBezTo>
                    <a:pt x="1944511" y="4577645"/>
                    <a:pt x="1950155" y="2288822"/>
                    <a:pt x="1947333" y="0"/>
                  </a:cubicBez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2" name="Freeform 11"/>
            <p:cNvSpPr/>
            <p:nvPr/>
          </p:nvSpPr>
          <p:spPr>
            <a:xfrm>
              <a:off x="6637896" y="3920066"/>
              <a:ext cx="2513565" cy="2937933"/>
            </a:xfrm>
            <a:custGeom>
              <a:avLst/>
              <a:gdLst/>
              <a:ahLst/>
              <a:cxnLst/>
              <a:rect l="l" t="t" r="r" b="b"/>
              <a:pathLst>
                <a:path w="3259667" h="3810000">
                  <a:moveTo>
                    <a:pt x="0" y="3810000"/>
                  </a:moveTo>
                  <a:lnTo>
                    <a:pt x="3251200" y="0"/>
                  </a:lnTo>
                  <a:cubicBezTo>
                    <a:pt x="3254022" y="1270000"/>
                    <a:pt x="3256845" y="2540000"/>
                    <a:pt x="3259667" y="3810000"/>
                  </a:cubicBezTo>
                  <a:lnTo>
                    <a:pt x="0" y="3810000"/>
                  </a:lnTo>
                  <a:close/>
                </a:path>
              </a:pathLst>
            </a:cu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13" name="Freeform 12"/>
            <p:cNvSpPr/>
            <p:nvPr/>
          </p:nvSpPr>
          <p:spPr>
            <a:xfrm>
              <a:off x="7010429" y="-8467"/>
              <a:ext cx="2142876" cy="6866467"/>
            </a:xfrm>
            <a:custGeom>
              <a:avLst/>
              <a:gdLst/>
              <a:ahLst/>
              <a:cxnLst/>
              <a:rect l="l" t="t" r="r" b="b"/>
              <a:pathLst>
                <a:path w="2853267" h="6866467">
                  <a:moveTo>
                    <a:pt x="0" y="0"/>
                  </a:moveTo>
                  <a:lnTo>
                    <a:pt x="2472267" y="6866467"/>
                  </a:lnTo>
                  <a:lnTo>
                    <a:pt x="2853267" y="6858000"/>
                  </a:lnTo>
                  <a:lnTo>
                    <a:pt x="2853267" y="0"/>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4" name="Freeform 13"/>
            <p:cNvSpPr/>
            <p:nvPr/>
          </p:nvSpPr>
          <p:spPr>
            <a:xfrm>
              <a:off x="8295776" y="-8467"/>
              <a:ext cx="857530" cy="6866467"/>
            </a:xfrm>
            <a:custGeom>
              <a:avLst/>
              <a:gdLst/>
              <a:ahLst/>
              <a:cxnLst/>
              <a:rect l="l" t="t" r="r" b="b"/>
              <a:pathLst>
                <a:path w="1286933" h="6866467">
                  <a:moveTo>
                    <a:pt x="1016000" y="0"/>
                  </a:moveTo>
                  <a:lnTo>
                    <a:pt x="0" y="6866467"/>
                  </a:lnTo>
                  <a:lnTo>
                    <a:pt x="1286933" y="6866467"/>
                  </a:lnTo>
                  <a:cubicBezTo>
                    <a:pt x="1284111" y="4577645"/>
                    <a:pt x="1281288" y="2288822"/>
                    <a:pt x="1278466" y="0"/>
                  </a:cubicBezTo>
                  <a:lnTo>
                    <a:pt x="1016000"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5" name="Freeform 14"/>
            <p:cNvSpPr/>
            <p:nvPr/>
          </p:nvSpPr>
          <p:spPr>
            <a:xfrm>
              <a:off x="8077231" y="-8468"/>
              <a:ext cx="1066770" cy="6866467"/>
            </a:xfrm>
            <a:custGeom>
              <a:avLst/>
              <a:gdLst/>
              <a:ahLst/>
              <a:cxnLst/>
              <a:rect l="l" t="t" r="r" b="b"/>
              <a:pathLst>
                <a:path w="1270244" h="6866467">
                  <a:moveTo>
                    <a:pt x="0" y="0"/>
                  </a:moveTo>
                  <a:lnTo>
                    <a:pt x="1117600" y="6866467"/>
                  </a:lnTo>
                  <a:lnTo>
                    <a:pt x="1270000" y="6866467"/>
                  </a:lnTo>
                  <a:cubicBezTo>
                    <a:pt x="1272822" y="4574822"/>
                    <a:pt x="1250245" y="2291645"/>
                    <a:pt x="1253067" y="0"/>
                  </a:cubicBez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16" name="Freeform 15"/>
            <p:cNvSpPr/>
            <p:nvPr/>
          </p:nvSpPr>
          <p:spPr>
            <a:xfrm>
              <a:off x="8060297" y="4893733"/>
              <a:ext cx="1094086" cy="1964267"/>
            </a:xfrm>
            <a:custGeom>
              <a:avLst/>
              <a:gdLst/>
              <a:ahLst/>
              <a:cxnLst/>
              <a:rect l="l" t="t" r="r" b="b"/>
              <a:pathLst>
                <a:path w="1820333" h="3268133">
                  <a:moveTo>
                    <a:pt x="0" y="3268133"/>
                  </a:moveTo>
                  <a:lnTo>
                    <a:pt x="1811866" y="0"/>
                  </a:lnTo>
                  <a:cubicBezTo>
                    <a:pt x="1814688" y="1086555"/>
                    <a:pt x="1817511" y="2173111"/>
                    <a:pt x="1820333" y="3259666"/>
                  </a:cubicBezTo>
                  <a:lnTo>
                    <a:pt x="0" y="3268133"/>
                  </a:lnTo>
                  <a:close/>
                </a:path>
              </a:pathLst>
            </a:cu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09599" y="609600"/>
            <a:ext cx="6347713" cy="1320800"/>
          </a:xfrm>
          <a:prstGeom prst="rect">
            <a:avLst/>
          </a:prstGeom>
        </p:spPr>
        <p:txBody>
          <a:bodyPr vert="horz" lIns="91440" tIns="45720" rIns="91440" bIns="45720" rtlCol="0" anchor="t">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09599" y="2160590"/>
            <a:ext cx="6347714" cy="388077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5405258" y="6041363"/>
            <a:ext cx="684132"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028915D5-38A2-4E1D-A0F7-A53DC63F6AE6}" type="datetimeFigureOut">
              <a:rPr lang="en-GB" smtClean="0"/>
              <a:t>02/03/2016</a:t>
            </a:fld>
            <a:endParaRPr lang="en-GB" dirty="0"/>
          </a:p>
        </p:txBody>
      </p:sp>
      <p:sp>
        <p:nvSpPr>
          <p:cNvPr id="5" name="Footer Placeholder 4"/>
          <p:cNvSpPr>
            <a:spLocks noGrp="1"/>
          </p:cNvSpPr>
          <p:nvPr>
            <p:ph type="ftr" sz="quarter" idx="3"/>
          </p:nvPr>
        </p:nvSpPr>
        <p:spPr>
          <a:xfrm>
            <a:off x="609599" y="6041363"/>
            <a:ext cx="4622973"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6444676" y="6041363"/>
            <a:ext cx="512638" cy="365125"/>
          </a:xfrm>
          <a:prstGeom prst="rect">
            <a:avLst/>
          </a:prstGeom>
        </p:spPr>
        <p:txBody>
          <a:bodyPr vert="horz" lIns="91440" tIns="45720" rIns="91440" bIns="45720" rtlCol="0" anchor="ctr"/>
          <a:lstStyle>
            <a:lvl1pPr algn="r">
              <a:defRPr sz="900">
                <a:solidFill>
                  <a:schemeClr val="accent1"/>
                </a:solidFill>
              </a:defRPr>
            </a:lvl1pPr>
          </a:lstStyle>
          <a:p>
            <a:fld id="{1C8CEF30-8EB7-4935-BEFE-2FF986846F07}" type="slidenum">
              <a:rPr lang="en-GB" smtClean="0"/>
              <a:t>‹#›</a:t>
            </a:fld>
            <a:endParaRPr lang="en-GB" dirty="0"/>
          </a:p>
        </p:txBody>
      </p:sp>
    </p:spTree>
    <p:extLst>
      <p:ext uri="{BB962C8B-B14F-4D97-AF65-F5344CB8AC3E}">
        <p14:creationId xmlns:p14="http://schemas.microsoft.com/office/powerpoint/2010/main" val="71427404"/>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655" r:id="rId18"/>
    <p:sldLayoutId id="2147483794" r:id="rId19"/>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410D2F48-CE7D-4E90-A944-962B8082647C}" type="datetimeFigureOut">
              <a:rPr lang="en-US" smtClean="0">
                <a:solidFill>
                  <a:prstClr val="black">
                    <a:tint val="75000"/>
                  </a:prstClr>
                </a:solidFill>
              </a:rPr>
              <a:pPr/>
              <a:t>3/2/2016</a:t>
            </a:fld>
            <a:endParaRPr lang="en-US">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F010DAA1-A36C-4D54-99A1-63D84667FB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54625270"/>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rgbClr val="435D79"/>
                </a:solidFill>
              </a:defRPr>
            </a:lvl1pPr>
          </a:lstStyle>
          <a:p>
            <a:fld id="{4990FBF4-B477-48FF-8766-E89449F5D72E}" type="datetimeFigureOut">
              <a:rPr lang="en-US" smtClean="0"/>
              <a:pPr/>
              <a:t>3/2/2016</a:t>
            </a:fld>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rgbClr val="435D79"/>
                </a:solidFill>
              </a:defRPr>
            </a:lvl1pPr>
          </a:lstStyle>
          <a:p>
            <a:fld id="{E690F16D-DDB2-4478-9C14-107CE5A37253}" type="slidenum">
              <a:rPr lang="en-US" smtClean="0"/>
              <a:pPr/>
              <a:t>‹#›</a:t>
            </a:fld>
            <a:endParaRPr lang="en-US"/>
          </a:p>
        </p:txBody>
      </p:sp>
      <p:sp>
        <p:nvSpPr>
          <p:cNvPr id="10" name="Footer Placeholder 4"/>
          <p:cNvSpPr>
            <a:spLocks noGrp="1"/>
          </p:cNvSpPr>
          <p:nvPr>
            <p:ph type="ftr" sz="quarter" idx="3"/>
          </p:nvPr>
        </p:nvSpPr>
        <p:spPr>
          <a:xfrm>
            <a:off x="3124200" y="6356350"/>
            <a:ext cx="2895600" cy="365125"/>
          </a:xfrm>
          <a:prstGeom prst="rect">
            <a:avLst/>
          </a:prstGeom>
        </p:spPr>
        <p:txBody>
          <a:bodyPr/>
          <a:lstStyle>
            <a:lvl1pPr>
              <a:defRPr>
                <a:solidFill>
                  <a:srgbClr val="435D79"/>
                </a:solidFill>
              </a:defRPr>
            </a:lvl1pPr>
          </a:lstStyle>
          <a:p>
            <a:endParaRPr lang="en-US"/>
          </a:p>
        </p:txBody>
      </p:sp>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02777395"/>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7C9ABD9C-6AB4-4AF6-90BF-4C0E107DB8BF}" type="datetimeFigureOut">
              <a:rPr lang="en-US" smtClean="0">
                <a:solidFill>
                  <a:prstClr val="black">
                    <a:tint val="75000"/>
                  </a:prstClr>
                </a:solidFill>
              </a:rPr>
              <a:pPr/>
              <a:t>3/2/2016</a:t>
            </a:fld>
            <a:endParaRPr lang="en-US">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FD648358-22DB-446E-8262-D5A221A6CA7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38353896"/>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 id="2147483832"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57A066B5-C034-4792-AE73-54831E1E5416}" type="datetimeFigureOut">
              <a:rPr lang="en-US" smtClean="0">
                <a:solidFill>
                  <a:prstClr val="black">
                    <a:tint val="75000"/>
                  </a:prstClr>
                </a:solidFill>
              </a:rPr>
              <a:pPr/>
              <a:t>3/2/2016</a:t>
            </a:fld>
            <a:endParaRPr lang="en-US">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AABF80F2-423C-4492-A7A8-B59DFC011B1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05812056"/>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4" name="Picture 3" descr="CAADP-bottom-right-bar"/>
          <p:cNvPicPr>
            <a:picLocks noChangeAspect="1" noChangeArrowheads="1"/>
          </p:cNvPicPr>
          <p:nvPr userDrawn="1"/>
        </p:nvPicPr>
        <p:blipFill>
          <a:blip r:embed="rId15" cstate="print"/>
          <a:srcRect/>
          <a:stretch>
            <a:fillRect/>
          </a:stretch>
        </p:blipFill>
        <p:spPr bwMode="auto">
          <a:xfrm>
            <a:off x="5486399" y="6312292"/>
            <a:ext cx="3662363" cy="564757"/>
          </a:xfrm>
          <a:prstGeom prst="rect">
            <a:avLst/>
          </a:prstGeom>
          <a:noFill/>
          <a:ln w="9525">
            <a:noFill/>
            <a:miter lim="800000"/>
            <a:headEnd/>
            <a:tailEnd/>
          </a:ln>
        </p:spPr>
      </p:pic>
      <p:sp>
        <p:nvSpPr>
          <p:cNvPr id="3075" name="Rectangle 4"/>
          <p:cNvSpPr>
            <a:spLocks noGrp="1" noChangeArrowheads="1"/>
          </p:cNvSpPr>
          <p:nvPr>
            <p:ph type="title"/>
          </p:nvPr>
        </p:nvSpPr>
        <p:spPr bwMode="auto">
          <a:xfrm>
            <a:off x="1219200" y="152400"/>
            <a:ext cx="7467600" cy="9144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p>
        </p:txBody>
      </p:sp>
      <p:sp>
        <p:nvSpPr>
          <p:cNvPr id="3076" name="Rectangle 5"/>
          <p:cNvSpPr>
            <a:spLocks noGrp="1" noChangeArrowheads="1"/>
          </p:cNvSpPr>
          <p:nvPr>
            <p:ph type="body" idx="1"/>
          </p:nvPr>
        </p:nvSpPr>
        <p:spPr bwMode="auto">
          <a:xfrm>
            <a:off x="1219200" y="1143000"/>
            <a:ext cx="7467600" cy="4876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102" name="Rectangle 6"/>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atin typeface="Arial" charset="0"/>
                <a:cs typeface="Arial" charset="0"/>
              </a:defRPr>
            </a:lvl1pPr>
          </a:lstStyle>
          <a:p>
            <a:pPr fontAlgn="base">
              <a:spcBef>
                <a:spcPct val="0"/>
              </a:spcBef>
              <a:spcAft>
                <a:spcPct val="0"/>
              </a:spcAft>
              <a:defRPr/>
            </a:pPr>
            <a:endParaRPr lang="en-US" dirty="0">
              <a:solidFill>
                <a:srgbClr val="000000"/>
              </a:solidFill>
            </a:endParaRPr>
          </a:p>
        </p:txBody>
      </p:sp>
      <p:sp>
        <p:nvSpPr>
          <p:cNvPr id="4103" name="Rectangle 7"/>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atin typeface="Arial" charset="0"/>
                <a:cs typeface="Arial" charset="0"/>
              </a:defRPr>
            </a:lvl1pPr>
          </a:lstStyle>
          <a:p>
            <a:pPr fontAlgn="base">
              <a:spcBef>
                <a:spcPct val="0"/>
              </a:spcBef>
              <a:spcAft>
                <a:spcPct val="0"/>
              </a:spcAft>
              <a:defRPr/>
            </a:pPr>
            <a:endParaRPr lang="en-US" dirty="0">
              <a:solidFill>
                <a:srgbClr val="000000"/>
              </a:solidFill>
            </a:endParaRPr>
          </a:p>
        </p:txBody>
      </p:sp>
      <p:sp>
        <p:nvSpPr>
          <p:cNvPr id="4104" name="Rectangle 8"/>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atin typeface="Arial" charset="0"/>
                <a:cs typeface="Arial" charset="0"/>
              </a:defRPr>
            </a:lvl1pPr>
          </a:lstStyle>
          <a:p>
            <a:pPr fontAlgn="base">
              <a:spcBef>
                <a:spcPct val="0"/>
              </a:spcBef>
              <a:spcAft>
                <a:spcPct val="0"/>
              </a:spcAft>
              <a:defRPr/>
            </a:pPr>
            <a:fld id="{26CB980B-A27F-42C6-9F59-51B4F991541E}" type="slidenum">
              <a:rPr lang="en-US">
                <a:solidFill>
                  <a:srgbClr val="000000"/>
                </a:solidFill>
              </a:rPr>
              <a:pPr fontAlgn="base">
                <a:spcBef>
                  <a:spcPct val="0"/>
                </a:spcBef>
                <a:spcAft>
                  <a:spcPct val="0"/>
                </a:spcAft>
                <a:defRPr/>
              </a:pPr>
              <a:t>‹#›</a:t>
            </a:fld>
            <a:endParaRPr lang="en-US" dirty="0">
              <a:solidFill>
                <a:srgbClr val="000000"/>
              </a:solidFill>
            </a:endParaRPr>
          </a:p>
        </p:txBody>
      </p:sp>
      <p:pic>
        <p:nvPicPr>
          <p:cNvPr id="3080" name="Picture 9"/>
          <p:cNvPicPr>
            <a:picLocks noChangeAspect="1" noChangeArrowheads="1"/>
          </p:cNvPicPr>
          <p:nvPr userDrawn="1"/>
        </p:nvPicPr>
        <p:blipFill>
          <a:blip r:embed="rId16" cstate="print"/>
          <a:srcRect l="61679" t="14827" r="27951" b="14038"/>
          <a:stretch>
            <a:fillRect/>
          </a:stretch>
        </p:blipFill>
        <p:spPr bwMode="auto">
          <a:xfrm>
            <a:off x="0" y="0"/>
            <a:ext cx="990600" cy="6865938"/>
          </a:xfrm>
          <a:prstGeom prst="rect">
            <a:avLst/>
          </a:prstGeom>
          <a:noFill/>
          <a:ln w="9525">
            <a:noFill/>
            <a:miter lim="800000"/>
            <a:headEnd/>
            <a:tailEnd/>
          </a:ln>
        </p:spPr>
      </p:pic>
      <p:sp>
        <p:nvSpPr>
          <p:cNvPr id="4106" name="Text Box 10"/>
          <p:cNvSpPr txBox="1">
            <a:spLocks noChangeArrowheads="1"/>
          </p:cNvSpPr>
          <p:nvPr userDrawn="1"/>
        </p:nvSpPr>
        <p:spPr bwMode="auto">
          <a:xfrm>
            <a:off x="7010400" y="6312292"/>
            <a:ext cx="1981200" cy="545708"/>
          </a:xfrm>
          <a:prstGeom prst="rect">
            <a:avLst/>
          </a:prstGeom>
          <a:noFill/>
          <a:ln w="9525">
            <a:noFill/>
            <a:miter lim="800000"/>
            <a:headEnd/>
            <a:tailEnd/>
          </a:ln>
          <a:effectLst/>
        </p:spPr>
        <p:txBody>
          <a:bodyPr tIns="137160"/>
          <a:lstStyle/>
          <a:p>
            <a:pPr fontAlgn="base">
              <a:lnSpc>
                <a:spcPct val="45000"/>
              </a:lnSpc>
              <a:spcBef>
                <a:spcPct val="50000"/>
              </a:spcBef>
              <a:spcAft>
                <a:spcPct val="0"/>
              </a:spcAft>
              <a:defRPr/>
            </a:pPr>
            <a:r>
              <a:rPr lang="en-US" sz="1000" dirty="0">
                <a:solidFill>
                  <a:srgbClr val="FFFFFF"/>
                </a:solidFill>
              </a:rPr>
              <a:t>PARTNERSHIPS </a:t>
            </a:r>
          </a:p>
          <a:p>
            <a:pPr fontAlgn="base">
              <a:lnSpc>
                <a:spcPct val="45000"/>
              </a:lnSpc>
              <a:spcBef>
                <a:spcPct val="50000"/>
              </a:spcBef>
              <a:spcAft>
                <a:spcPct val="0"/>
              </a:spcAft>
              <a:defRPr/>
            </a:pPr>
            <a:r>
              <a:rPr lang="en-US" sz="1000" dirty="0">
                <a:solidFill>
                  <a:srgbClr val="FFFFFF"/>
                </a:solidFill>
              </a:rPr>
              <a:t>IN SUPPORT </a:t>
            </a:r>
          </a:p>
          <a:p>
            <a:pPr fontAlgn="base">
              <a:lnSpc>
                <a:spcPct val="45000"/>
              </a:lnSpc>
              <a:spcBef>
                <a:spcPct val="50000"/>
              </a:spcBef>
              <a:spcAft>
                <a:spcPct val="0"/>
              </a:spcAft>
              <a:defRPr/>
            </a:pPr>
            <a:r>
              <a:rPr lang="en-US" sz="1000" dirty="0">
                <a:solidFill>
                  <a:srgbClr val="FFFFFF"/>
                </a:solidFill>
              </a:rPr>
              <a:t>OF </a:t>
            </a:r>
            <a:r>
              <a:rPr lang="en-US" sz="1000" b="1" dirty="0">
                <a:solidFill>
                  <a:srgbClr val="FFFFFF"/>
                </a:solidFill>
              </a:rPr>
              <a:t>CAADP</a:t>
            </a:r>
          </a:p>
        </p:txBody>
      </p:sp>
      <p:pic>
        <p:nvPicPr>
          <p:cNvPr id="3082" name="Picture 11"/>
          <p:cNvPicPr>
            <a:picLocks noChangeAspect="1" noChangeArrowheads="1"/>
          </p:cNvPicPr>
          <p:nvPr userDrawn="1"/>
        </p:nvPicPr>
        <p:blipFill>
          <a:blip r:embed="rId17" cstate="print"/>
          <a:srcRect l="36220" t="29996" r="53767" b="53992"/>
          <a:stretch>
            <a:fillRect/>
          </a:stretch>
        </p:blipFill>
        <p:spPr bwMode="auto">
          <a:xfrm>
            <a:off x="8686800" y="1"/>
            <a:ext cx="457200" cy="456034"/>
          </a:xfrm>
          <a:prstGeom prst="rect">
            <a:avLst/>
          </a:prstGeom>
          <a:noFill/>
          <a:ln w="9525">
            <a:noFill/>
            <a:miter lim="800000"/>
            <a:headEnd/>
            <a:tailEnd/>
          </a:ln>
        </p:spPr>
      </p:pic>
      <p:sp>
        <p:nvSpPr>
          <p:cNvPr id="4108" name="Text Box 12"/>
          <p:cNvSpPr txBox="1">
            <a:spLocks noChangeArrowheads="1"/>
          </p:cNvSpPr>
          <p:nvPr userDrawn="1"/>
        </p:nvSpPr>
        <p:spPr bwMode="auto">
          <a:xfrm>
            <a:off x="8912225" y="11113"/>
            <a:ext cx="228600" cy="228600"/>
          </a:xfrm>
          <a:prstGeom prst="rect">
            <a:avLst/>
          </a:prstGeom>
          <a:solidFill>
            <a:schemeClr val="bg1"/>
          </a:solidFill>
          <a:ln w="9525">
            <a:solidFill>
              <a:schemeClr val="bg1"/>
            </a:solidFill>
            <a:miter lim="800000"/>
            <a:headEnd/>
            <a:tailEnd/>
          </a:ln>
          <a:effectLst/>
        </p:spPr>
        <p:txBody>
          <a:bodyPr/>
          <a:lstStyle/>
          <a:p>
            <a:pPr fontAlgn="base">
              <a:spcBef>
                <a:spcPct val="50000"/>
              </a:spcBef>
              <a:spcAft>
                <a:spcPct val="0"/>
              </a:spcAft>
              <a:defRPr/>
            </a:pPr>
            <a:endParaRPr lang="en-GB" dirty="0">
              <a:solidFill>
                <a:srgbClr val="000000"/>
              </a:solidFill>
            </a:endParaRPr>
          </a:p>
        </p:txBody>
      </p:sp>
    </p:spTree>
    <p:extLst>
      <p:ext uri="{BB962C8B-B14F-4D97-AF65-F5344CB8AC3E}">
        <p14:creationId xmlns:p14="http://schemas.microsoft.com/office/powerpoint/2010/main" val="456524893"/>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Lst>
  <p:txStyles>
    <p:titleStyle>
      <a:lvl1pPr algn="ctr" rtl="0" eaLnBrk="0" fontAlgn="base" hangingPunct="0">
        <a:spcBef>
          <a:spcPct val="0"/>
        </a:spcBef>
        <a:spcAft>
          <a:spcPct val="0"/>
        </a:spcAft>
        <a:defRPr sz="3600" b="1">
          <a:solidFill>
            <a:schemeClr val="tx1"/>
          </a:solidFill>
          <a:latin typeface="+mj-lt"/>
          <a:ea typeface="+mj-ea"/>
          <a:cs typeface="+mj-cs"/>
        </a:defRPr>
      </a:lvl1pPr>
      <a:lvl2pPr algn="ctr" rtl="0" eaLnBrk="0" fontAlgn="base" hangingPunct="0">
        <a:spcBef>
          <a:spcPct val="0"/>
        </a:spcBef>
        <a:spcAft>
          <a:spcPct val="0"/>
        </a:spcAft>
        <a:defRPr sz="4400" b="1">
          <a:solidFill>
            <a:schemeClr val="accent2"/>
          </a:solidFill>
          <a:latin typeface="Arial" charset="0"/>
          <a:cs typeface="Arial" charset="0"/>
        </a:defRPr>
      </a:lvl2pPr>
      <a:lvl3pPr algn="ctr" rtl="0" eaLnBrk="0" fontAlgn="base" hangingPunct="0">
        <a:spcBef>
          <a:spcPct val="0"/>
        </a:spcBef>
        <a:spcAft>
          <a:spcPct val="0"/>
        </a:spcAft>
        <a:defRPr sz="4400" b="1">
          <a:solidFill>
            <a:schemeClr val="accent2"/>
          </a:solidFill>
          <a:latin typeface="Arial" charset="0"/>
          <a:cs typeface="Arial" charset="0"/>
        </a:defRPr>
      </a:lvl3pPr>
      <a:lvl4pPr algn="ctr" rtl="0" eaLnBrk="0" fontAlgn="base" hangingPunct="0">
        <a:spcBef>
          <a:spcPct val="0"/>
        </a:spcBef>
        <a:spcAft>
          <a:spcPct val="0"/>
        </a:spcAft>
        <a:defRPr sz="4400" b="1">
          <a:solidFill>
            <a:schemeClr val="accent2"/>
          </a:solidFill>
          <a:latin typeface="Arial" charset="0"/>
          <a:cs typeface="Arial" charset="0"/>
        </a:defRPr>
      </a:lvl4pPr>
      <a:lvl5pPr algn="ctr" rtl="0" eaLnBrk="0" fontAlgn="base" hangingPunct="0">
        <a:spcBef>
          <a:spcPct val="0"/>
        </a:spcBef>
        <a:spcAft>
          <a:spcPct val="0"/>
        </a:spcAft>
        <a:defRPr sz="4400" b="1">
          <a:solidFill>
            <a:schemeClr val="accent2"/>
          </a:solidFill>
          <a:latin typeface="Arial" charset="0"/>
          <a:cs typeface="Arial" charset="0"/>
        </a:defRPr>
      </a:lvl5pPr>
      <a:lvl6pPr marL="457200" algn="ctr" rtl="0" fontAlgn="base">
        <a:spcBef>
          <a:spcPct val="0"/>
        </a:spcBef>
        <a:spcAft>
          <a:spcPct val="0"/>
        </a:spcAft>
        <a:defRPr sz="4400" b="1">
          <a:solidFill>
            <a:schemeClr val="accent2"/>
          </a:solidFill>
          <a:latin typeface="Arial" charset="0"/>
          <a:cs typeface="Arial" charset="0"/>
        </a:defRPr>
      </a:lvl6pPr>
      <a:lvl7pPr marL="914400" algn="ctr" rtl="0" fontAlgn="base">
        <a:spcBef>
          <a:spcPct val="0"/>
        </a:spcBef>
        <a:spcAft>
          <a:spcPct val="0"/>
        </a:spcAft>
        <a:defRPr sz="4400" b="1">
          <a:solidFill>
            <a:schemeClr val="accent2"/>
          </a:solidFill>
          <a:latin typeface="Arial" charset="0"/>
          <a:cs typeface="Arial" charset="0"/>
        </a:defRPr>
      </a:lvl7pPr>
      <a:lvl8pPr marL="1371600" algn="ctr" rtl="0" fontAlgn="base">
        <a:spcBef>
          <a:spcPct val="0"/>
        </a:spcBef>
        <a:spcAft>
          <a:spcPct val="0"/>
        </a:spcAft>
        <a:defRPr sz="4400" b="1">
          <a:solidFill>
            <a:schemeClr val="accent2"/>
          </a:solidFill>
          <a:latin typeface="Arial" charset="0"/>
          <a:cs typeface="Arial" charset="0"/>
        </a:defRPr>
      </a:lvl8pPr>
      <a:lvl9pPr marL="1828800" algn="ctr" rtl="0" fontAlgn="base">
        <a:spcBef>
          <a:spcPct val="0"/>
        </a:spcBef>
        <a:spcAft>
          <a:spcPct val="0"/>
        </a:spcAft>
        <a:defRPr sz="4400" b="1">
          <a:solidFill>
            <a:schemeClr val="accent2"/>
          </a:solidFill>
          <a:latin typeface="Arial" charset="0"/>
          <a:cs typeface="Arial" charset="0"/>
        </a:defRPr>
      </a:lvl9pPr>
    </p:titleStyle>
    <p:body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693738" indent="-347663" algn="l" rtl="0" eaLnBrk="0" fontAlgn="base" hangingPunct="0">
        <a:spcBef>
          <a:spcPct val="20000"/>
        </a:spcBef>
        <a:spcAft>
          <a:spcPct val="0"/>
        </a:spcAft>
        <a:buChar char="–"/>
        <a:defRPr sz="2400" b="1">
          <a:solidFill>
            <a:schemeClr val="tx1"/>
          </a:solidFill>
          <a:latin typeface="+mn-lt"/>
          <a:cs typeface="+mn-cs"/>
        </a:defRPr>
      </a:lvl2pPr>
      <a:lvl3pPr marL="914400" indent="-220663" algn="l" rtl="0" eaLnBrk="0" fontAlgn="base" hangingPunct="0">
        <a:spcBef>
          <a:spcPct val="20000"/>
        </a:spcBef>
        <a:spcAft>
          <a:spcPct val="0"/>
        </a:spcAft>
        <a:buChar char="•"/>
        <a:defRPr sz="2200">
          <a:solidFill>
            <a:schemeClr val="tx1"/>
          </a:solidFill>
          <a:latin typeface="+mn-lt"/>
          <a:cs typeface="+mn-cs"/>
        </a:defRPr>
      </a:lvl3pPr>
      <a:lvl4pPr marL="1600200" indent="-228600" algn="l" rtl="0" eaLnBrk="0" fontAlgn="base" hangingPunct="0">
        <a:spcBef>
          <a:spcPct val="20000"/>
        </a:spcBef>
        <a:spcAft>
          <a:spcPct val="0"/>
        </a:spcAft>
        <a:buChar char="–"/>
        <a:defRPr sz="2200">
          <a:solidFill>
            <a:schemeClr val="tx1"/>
          </a:solidFill>
          <a:latin typeface="+mn-lt"/>
          <a:cs typeface="+mn-cs"/>
        </a:defRPr>
      </a:lvl4pPr>
      <a:lvl5pPr marL="2057400" indent="-228600" algn="l" rtl="0" eaLnBrk="0" fontAlgn="base" hangingPunct="0">
        <a:spcBef>
          <a:spcPct val="20000"/>
        </a:spcBef>
        <a:spcAft>
          <a:spcPct val="0"/>
        </a:spcAft>
        <a:buChar char="»"/>
        <a:defRPr sz="2200">
          <a:solidFill>
            <a:schemeClr val="tx1"/>
          </a:solidFill>
          <a:latin typeface="+mn-lt"/>
          <a:cs typeface="+mn-cs"/>
        </a:defRPr>
      </a:lvl5pPr>
      <a:lvl6pPr marL="2514600" indent="-228600" algn="l" rtl="0" fontAlgn="base">
        <a:spcBef>
          <a:spcPct val="20000"/>
        </a:spcBef>
        <a:spcAft>
          <a:spcPct val="0"/>
        </a:spcAft>
        <a:buChar char="»"/>
        <a:defRPr sz="2000">
          <a:solidFill>
            <a:schemeClr val="accent2"/>
          </a:solidFill>
          <a:latin typeface="+mn-lt"/>
          <a:cs typeface="+mn-cs"/>
        </a:defRPr>
      </a:lvl6pPr>
      <a:lvl7pPr marL="2971800" indent="-228600" algn="l" rtl="0" fontAlgn="base">
        <a:spcBef>
          <a:spcPct val="20000"/>
        </a:spcBef>
        <a:spcAft>
          <a:spcPct val="0"/>
        </a:spcAft>
        <a:buChar char="»"/>
        <a:defRPr sz="2000">
          <a:solidFill>
            <a:schemeClr val="accent2"/>
          </a:solidFill>
          <a:latin typeface="+mn-lt"/>
          <a:cs typeface="+mn-cs"/>
        </a:defRPr>
      </a:lvl7pPr>
      <a:lvl8pPr marL="3429000" indent="-228600" algn="l" rtl="0" fontAlgn="base">
        <a:spcBef>
          <a:spcPct val="20000"/>
        </a:spcBef>
        <a:spcAft>
          <a:spcPct val="0"/>
        </a:spcAft>
        <a:buChar char="»"/>
        <a:defRPr sz="2000">
          <a:solidFill>
            <a:schemeClr val="accent2"/>
          </a:solidFill>
          <a:latin typeface="+mn-lt"/>
          <a:cs typeface="+mn-cs"/>
        </a:defRPr>
      </a:lvl8pPr>
      <a:lvl9pPr marL="3886200" indent="-228600" algn="l" rtl="0" fontAlgn="base">
        <a:spcBef>
          <a:spcPct val="20000"/>
        </a:spcBef>
        <a:spcAft>
          <a:spcPct val="0"/>
        </a:spcAft>
        <a:buChar char="»"/>
        <a:defRPr sz="2000">
          <a:solidFill>
            <a:schemeClr val="accent2"/>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685800"/>
            <a:fld id="{61B9360B-7322-4A70-8384-B854D0EB8158}" type="datetime1">
              <a:rPr lang="id-ID" smtClean="0">
                <a:solidFill>
                  <a:prstClr val="black">
                    <a:tint val="75000"/>
                  </a:prstClr>
                </a:solidFill>
              </a:rPr>
              <a:pPr defTabSz="685800"/>
              <a:t>02/03/2016</a:t>
            </a:fld>
            <a:endParaRPr lang="id-ID">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685800"/>
            <a:endParaRPr lang="id-ID">
              <a:solidFill>
                <a:prstClr val="black">
                  <a:tint val="75000"/>
                </a:prst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685800"/>
            <a:fld id="{751497D4-CBBE-4892-ABDA-4C92B62757A6}" type="slidenum">
              <a:rPr lang="id-ID" smtClean="0">
                <a:solidFill>
                  <a:prstClr val="black">
                    <a:tint val="75000"/>
                  </a:prstClr>
                </a:solidFill>
              </a:rPr>
              <a:pPr defTabSz="685800"/>
              <a:t>‹#›</a:t>
            </a:fld>
            <a:endParaRPr lang="id-ID">
              <a:solidFill>
                <a:prstClr val="black">
                  <a:tint val="75000"/>
                </a:prstClr>
              </a:solidFill>
            </a:endParaRPr>
          </a:p>
        </p:txBody>
      </p:sp>
      <p:pic>
        <p:nvPicPr>
          <p:cNvPr id="7" name="Picture 6"/>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343085" y="185738"/>
            <a:ext cx="2971429" cy="714286"/>
          </a:xfrm>
          <a:prstGeom prst="rect">
            <a:avLst/>
          </a:prstGeom>
        </p:spPr>
      </p:pic>
    </p:spTree>
    <p:extLst>
      <p:ext uri="{BB962C8B-B14F-4D97-AF65-F5344CB8AC3E}">
        <p14:creationId xmlns:p14="http://schemas.microsoft.com/office/powerpoint/2010/main" val="50429362"/>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43.xml"/><Relationship Id="rId5" Type="http://schemas.openxmlformats.org/officeDocument/2006/relationships/image" Target="../media/image9.emf"/><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8.xml"/></Relationships>
</file>

<file path=ppt/slides/_rels/slide1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5.xml"/><Relationship Id="rId1" Type="http://schemas.openxmlformats.org/officeDocument/2006/relationships/slideLayout" Target="../slideLayouts/slideLayout56.xml"/><Relationship Id="rId4" Type="http://schemas.openxmlformats.org/officeDocument/2006/relationships/image" Target="../media/image10.png"/></Relationships>
</file>

<file path=ppt/slides/_rels/slide12.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6.xml"/><Relationship Id="rId1" Type="http://schemas.openxmlformats.org/officeDocument/2006/relationships/slideLayout" Target="../slideLayouts/slideLayout56.xml"/><Relationship Id="rId5" Type="http://schemas.openxmlformats.org/officeDocument/2006/relationships/image" Target="../media/image10.png"/><Relationship Id="rId4" Type="http://schemas.openxmlformats.org/officeDocument/2006/relationships/chart" Target="../charts/chart10.xml"/></Relationships>
</file>

<file path=ppt/slides/_rels/slide13.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7.xml"/><Relationship Id="rId1" Type="http://schemas.openxmlformats.org/officeDocument/2006/relationships/slideLayout" Target="../slideLayouts/slideLayout56.xml"/><Relationship Id="rId5" Type="http://schemas.openxmlformats.org/officeDocument/2006/relationships/image" Target="../media/image10.png"/><Relationship Id="rId4" Type="http://schemas.openxmlformats.org/officeDocument/2006/relationships/hyperlink" Target="http://www.ifpri.org/publication/promoting-agricultural-trade-enhance-resilience-africa" TargetMode="External"/></Relationships>
</file>

<file path=ppt/slides/_rels/slide14.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8.xml"/><Relationship Id="rId1" Type="http://schemas.openxmlformats.org/officeDocument/2006/relationships/slideLayout" Target="../slideLayouts/slideLayout58.xml"/><Relationship Id="rId4" Type="http://schemas.openxmlformats.org/officeDocument/2006/relationships/image" Target="../media/image10.png"/></Relationships>
</file>

<file path=ppt/slides/_rels/slide15.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Layout" Target="../slideLayouts/slideLayout60.xml"/><Relationship Id="rId5" Type="http://schemas.openxmlformats.org/officeDocument/2006/relationships/image" Target="../media/image10.png"/><Relationship Id="rId4" Type="http://schemas.openxmlformats.org/officeDocument/2006/relationships/hyperlink" Target="http://www.ifpri.org/publication/promoting-agricultural-trade-enhance-resilience-africa"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www.ifpri.org/publication/promoting-agricultural-trade-enhance-resilience-africa" TargetMode="External"/><Relationship Id="rId2" Type="http://schemas.openxmlformats.org/officeDocument/2006/relationships/notesSlide" Target="../notesSlides/notesSlide9.xml"/><Relationship Id="rId1" Type="http://schemas.openxmlformats.org/officeDocument/2006/relationships/slideLayout" Target="../slideLayouts/slideLayout60.xml"/><Relationship Id="rId5" Type="http://schemas.openxmlformats.org/officeDocument/2006/relationships/image" Target="../media/image10.png"/><Relationship Id="rId4" Type="http://schemas.openxmlformats.org/officeDocument/2006/relationships/chart" Target="../charts/chart13.xml"/></Relationships>
</file>

<file path=ppt/slides/_rels/slide17.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60.xml"/><Relationship Id="rId5" Type="http://schemas.openxmlformats.org/officeDocument/2006/relationships/image" Target="../media/image10.png"/><Relationship Id="rId4" Type="http://schemas.openxmlformats.org/officeDocument/2006/relationships/chart" Target="../charts/chart15.xml"/></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7.jpeg"/><Relationship Id="rId1" Type="http://schemas.openxmlformats.org/officeDocument/2006/relationships/slideLayout" Target="../slideLayouts/slideLayout57.xml"/></Relationships>
</file>

<file path=ppt/slides/_rels/slide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6.xml"/></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emf"/><Relationship Id="rId1" Type="http://schemas.openxmlformats.org/officeDocument/2006/relationships/slideLayout" Target="../slideLayouts/slideLayout49.xml"/></Relationships>
</file>

<file path=ppt/slides/_rels/slide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emf"/><Relationship Id="rId1" Type="http://schemas.openxmlformats.org/officeDocument/2006/relationships/slideLayout" Target="../slideLayouts/slideLayout49.xml"/></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9.png"/><Relationship Id="rId1" Type="http://schemas.openxmlformats.org/officeDocument/2006/relationships/slideLayout" Target="../slideLayouts/slideLayout50.xml"/></Relationships>
</file>

<file path=ppt/slides/_rels/slide2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87.xml"/><Relationship Id="rId4" Type="http://schemas.openxmlformats.org/officeDocument/2006/relationships/image" Target="../media/image10.png"/></Relationships>
</file>

<file path=ppt/slides/_rels/slide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50.xml"/><Relationship Id="rId4" Type="http://schemas.openxmlformats.org/officeDocument/2006/relationships/image" Target="../media/image22.emf"/></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45.xml"/><Relationship Id="rId4" Type="http://schemas.openxmlformats.org/officeDocument/2006/relationships/image" Target="../media/image10.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72.xml"/><Relationship Id="rId4" Type="http://schemas.openxmlformats.org/officeDocument/2006/relationships/image" Target="../media/image10.png"/></Relationships>
</file>

<file path=ppt/slides/_rels/slide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5.emf"/><Relationship Id="rId1" Type="http://schemas.openxmlformats.org/officeDocument/2006/relationships/slideLayout" Target="../slideLayouts/slideLayout77.xml"/></Relationships>
</file>

<file path=ppt/slides/_rels/slide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2.xml"/><Relationship Id="rId1" Type="http://schemas.openxmlformats.org/officeDocument/2006/relationships/slideLayout" Target="../slideLayouts/slideLayout24.xml"/><Relationship Id="rId5" Type="http://schemas.openxmlformats.org/officeDocument/2006/relationships/image" Target="../media/image10.png"/><Relationship Id="rId4" Type="http://schemas.openxmlformats.org/officeDocument/2006/relationships/image" Target="../media/image12.jpg"/></Relationships>
</file>

<file path=ppt/slides/_rels/slide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6.emf"/><Relationship Id="rId1" Type="http://schemas.openxmlformats.org/officeDocument/2006/relationships/slideLayout" Target="../slideLayouts/slideLayout77.xml"/></Relationships>
</file>

<file path=ppt/slides/_rels/slide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7.emf"/><Relationship Id="rId1" Type="http://schemas.openxmlformats.org/officeDocument/2006/relationships/slideLayout" Target="../slideLayouts/slideLayout77.xml"/></Relationships>
</file>

<file path=ppt/slides/_rels/slide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8.emf"/><Relationship Id="rId1" Type="http://schemas.openxmlformats.org/officeDocument/2006/relationships/slideLayout" Target="../slideLayouts/slideLayout49.xml"/></Relationships>
</file>

<file path=ppt/slides/_rels/slide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9.emf"/><Relationship Id="rId1" Type="http://schemas.openxmlformats.org/officeDocument/2006/relationships/slideLayout" Target="../slideLayouts/slideLayout49.xml"/></Relationships>
</file>

<file path=ppt/slides/_rels/slide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0.emf"/><Relationship Id="rId1" Type="http://schemas.openxmlformats.org/officeDocument/2006/relationships/slideLayout" Target="../slideLayouts/slideLayout49.xml"/></Relationships>
</file>

<file path=ppt/slides/_rels/slide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1.png"/><Relationship Id="rId1" Type="http://schemas.openxmlformats.org/officeDocument/2006/relationships/slideLayout" Target="../slideLayouts/slideLayout45.xml"/></Relationships>
</file>

<file path=ppt/slides/_rels/slide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2.tiff"/><Relationship Id="rId1" Type="http://schemas.openxmlformats.org/officeDocument/2006/relationships/slideLayout" Target="../slideLayouts/slideLayout49.xml"/></Relationships>
</file>

<file path=ppt/slides/_rels/slide39.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10.png"/><Relationship Id="rId2" Type="http://schemas.openxmlformats.org/officeDocument/2006/relationships/image" Target="../media/image33.png"/><Relationship Id="rId1" Type="http://schemas.openxmlformats.org/officeDocument/2006/relationships/slideLayout" Target="../slideLayouts/slideLayout50.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56.xml"/><Relationship Id="rId5" Type="http://schemas.openxmlformats.org/officeDocument/2006/relationships/image" Target="../media/image10.png"/><Relationship Id="rId4" Type="http://schemas.openxmlformats.org/officeDocument/2006/relationships/chart" Target="../charts/chart3.xml"/></Relationships>
</file>

<file path=ppt/slides/_rels/slide4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8.png"/><Relationship Id="rId1" Type="http://schemas.openxmlformats.org/officeDocument/2006/relationships/slideLayout" Target="../slideLayouts/slideLayout50.xml"/></Relationships>
</file>

<file path=ppt/slides/_rels/slide41.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10.png"/><Relationship Id="rId1" Type="http://schemas.openxmlformats.org/officeDocument/2006/relationships/slideLayout" Target="../slideLayouts/slideLayout50.xml"/></Relationships>
</file>

<file path=ppt/slides/_rels/slide42.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10.png"/><Relationship Id="rId1" Type="http://schemas.openxmlformats.org/officeDocument/2006/relationships/slideLayout" Target="../slideLayouts/slideLayout5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4.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9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4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99.xml"/></Relationships>
</file>

<file path=ppt/slides/_rels/slide4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97.xml"/></Relationships>
</file>

<file path=ppt/slides/_rels/slide4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97.xml"/></Relationships>
</file>

<file path=ppt/slides/_rels/slide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slideLayout" Target="../slideLayouts/slideLayout56.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image" Target="../media/image10.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notesSlide" Target="../notesSlides/notesSlide3.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56.xml"/><Relationship Id="rId5" Type="http://schemas.openxmlformats.org/officeDocument/2006/relationships/image" Target="../media/image10.png"/><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slideLayout" Target="../slideLayouts/slideLayout56.xml"/><Relationship Id="rId1" Type="http://schemas.openxmlformats.org/officeDocument/2006/relationships/tags" Target="../tags/tag18.xml"/><Relationship Id="rId5" Type="http://schemas.openxmlformats.org/officeDocument/2006/relationships/image" Target="../media/image10.png"/><Relationship Id="rId4" Type="http://schemas.openxmlformats.org/officeDocument/2006/relationships/chart" Target="../charts/chart5.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chart" Target="../charts/chart6.xml"/><Relationship Id="rId1" Type="http://schemas.openxmlformats.org/officeDocument/2006/relationships/slideLayout" Target="../slideLayouts/slideLayout56.xml"/></Relationships>
</file>

<file path=ppt/slides/_rels/slide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slideLayout" Target="../slideLayouts/slideLayout56.xml"/><Relationship Id="rId1" Type="http://schemas.openxmlformats.org/officeDocument/2006/relationships/tags" Target="../tags/tag19.xml"/><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 name="Picture 2" descr="http://www.allourkidsfund.net/wp-content/uploads/2014/06/The-world-of-biomass-300x259.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94143" y="992193"/>
            <a:ext cx="2325915" cy="2008040"/>
          </a:xfrm>
          <a:prstGeom prst="rect">
            <a:avLst/>
          </a:prstGeom>
          <a:noFill/>
          <a:extLst>
            <a:ext uri="{909E8E84-426E-40DD-AFC4-6F175D3DCCD1}">
              <a14:hiddenFill xmlns:a14="http://schemas.microsoft.com/office/drawing/2010/main">
                <a:solidFill>
                  <a:srgbClr val="FFFFFF"/>
                </a:solidFill>
              </a14:hiddenFill>
            </a:ext>
          </a:extLst>
        </p:spPr>
      </p:pic>
      <p:sp useBgFill="1">
        <p:nvSpPr>
          <p:cNvPr id="27" name="Rectangle 26"/>
          <p:cNvSpPr/>
          <p:nvPr/>
        </p:nvSpPr>
        <p:spPr>
          <a:xfrm>
            <a:off x="-265370" y="-29797"/>
            <a:ext cx="9144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40" name="Freeform 39"/>
          <p:cNvSpPr>
            <a:spLocks/>
          </p:cNvSpPr>
          <p:nvPr/>
        </p:nvSpPr>
        <p:spPr bwMode="auto">
          <a:xfrm>
            <a:off x="-281326" y="2266137"/>
            <a:ext cx="2317699" cy="3458546"/>
          </a:xfrm>
          <a:custGeom>
            <a:avLst/>
            <a:gdLst>
              <a:gd name="connsiteX0" fmla="*/ 864869 w 1724024"/>
              <a:gd name="connsiteY0" fmla="*/ 0 h 2572646"/>
              <a:gd name="connsiteX1" fmla="*/ 1724024 w 1724024"/>
              <a:gd name="connsiteY1" fmla="*/ 859155 h 2572646"/>
              <a:gd name="connsiteX2" fmla="*/ 0 w 1724024"/>
              <a:gd name="connsiteY2" fmla="*/ 2572646 h 2572646"/>
              <a:gd name="connsiteX3" fmla="*/ 0 w 1724024"/>
              <a:gd name="connsiteY3" fmla="*/ 859596 h 2572646"/>
            </a:gdLst>
            <a:ahLst/>
            <a:cxnLst>
              <a:cxn ang="0">
                <a:pos x="connsiteX0" y="connsiteY0"/>
              </a:cxn>
              <a:cxn ang="0">
                <a:pos x="connsiteX1" y="connsiteY1"/>
              </a:cxn>
              <a:cxn ang="0">
                <a:pos x="connsiteX2" y="connsiteY2"/>
              </a:cxn>
              <a:cxn ang="0">
                <a:pos x="connsiteX3" y="connsiteY3"/>
              </a:cxn>
            </a:cxnLst>
            <a:rect l="l" t="t" r="r" b="b"/>
            <a:pathLst>
              <a:path w="1724024" h="2572646">
                <a:moveTo>
                  <a:pt x="864869" y="0"/>
                </a:moveTo>
                <a:lnTo>
                  <a:pt x="1724024" y="859155"/>
                </a:lnTo>
                <a:lnTo>
                  <a:pt x="0" y="2572646"/>
                </a:lnTo>
                <a:lnTo>
                  <a:pt x="0" y="859596"/>
                </a:lnTo>
                <a:close/>
              </a:path>
            </a:pathLst>
          </a:custGeom>
          <a:solidFill>
            <a:schemeClr val="accent1">
              <a:lumMod val="60000"/>
              <a:lumOff val="40000"/>
              <a:alpha val="45000"/>
            </a:schemeClr>
          </a:solidFill>
          <a:ln>
            <a:noFill/>
          </a:ln>
        </p:spPr>
        <p:txBody>
          <a:bodyPr vert="horz" wrap="square" lIns="91440" tIns="45720" rIns="91440" bIns="45720" numCol="1" anchor="t" anchorCtr="0" compatLnSpc="1">
            <a:prstTxWarp prst="textNoShape">
              <a:avLst/>
            </a:prstTxWarp>
            <a:noAutofit/>
          </a:bodyPr>
          <a:lstStyle/>
          <a:p>
            <a:endParaRPr lang="id-ID"/>
          </a:p>
        </p:txBody>
      </p:sp>
      <p:sp>
        <p:nvSpPr>
          <p:cNvPr id="41" name="Freeform 40"/>
          <p:cNvSpPr>
            <a:spLocks/>
          </p:cNvSpPr>
          <p:nvPr/>
        </p:nvSpPr>
        <p:spPr bwMode="auto">
          <a:xfrm>
            <a:off x="-281325" y="1107006"/>
            <a:ext cx="1162690" cy="2314143"/>
          </a:xfrm>
          <a:custGeom>
            <a:avLst/>
            <a:gdLst>
              <a:gd name="connsiteX0" fmla="*/ 0 w 864869"/>
              <a:gd name="connsiteY0" fmla="*/ 0 h 1721379"/>
              <a:gd name="connsiteX1" fmla="*/ 864869 w 864869"/>
              <a:gd name="connsiteY1" fmla="*/ 862224 h 1721379"/>
              <a:gd name="connsiteX2" fmla="*/ 475 w 864869"/>
              <a:gd name="connsiteY2" fmla="*/ 1721379 h 1721379"/>
              <a:gd name="connsiteX3" fmla="*/ 0 w 864869"/>
              <a:gd name="connsiteY3" fmla="*/ 1720905 h 1721379"/>
            </a:gdLst>
            <a:ahLst/>
            <a:cxnLst>
              <a:cxn ang="0">
                <a:pos x="connsiteX0" y="connsiteY0"/>
              </a:cxn>
              <a:cxn ang="0">
                <a:pos x="connsiteX1" y="connsiteY1"/>
              </a:cxn>
              <a:cxn ang="0">
                <a:pos x="connsiteX2" y="connsiteY2"/>
              </a:cxn>
              <a:cxn ang="0">
                <a:pos x="connsiteX3" y="connsiteY3"/>
              </a:cxn>
            </a:cxnLst>
            <a:rect l="l" t="t" r="r" b="b"/>
            <a:pathLst>
              <a:path w="864869" h="1721379">
                <a:moveTo>
                  <a:pt x="0" y="0"/>
                </a:moveTo>
                <a:lnTo>
                  <a:pt x="864869" y="862224"/>
                </a:lnTo>
                <a:lnTo>
                  <a:pt x="475" y="1721379"/>
                </a:lnTo>
                <a:lnTo>
                  <a:pt x="0" y="1720905"/>
                </a:lnTo>
                <a:close/>
              </a:path>
            </a:pathLst>
          </a:custGeom>
          <a:solidFill>
            <a:schemeClr val="accent1">
              <a:alpha val="45000"/>
            </a:schemeClr>
          </a:solidFill>
          <a:ln>
            <a:noFill/>
          </a:ln>
        </p:spPr>
        <p:txBody>
          <a:bodyPr vert="horz" wrap="square" lIns="91440" tIns="45720" rIns="91440" bIns="45720" numCol="1" anchor="t" anchorCtr="0" compatLnSpc="1">
            <a:prstTxWarp prst="textNoShape">
              <a:avLst/>
            </a:prstTxWarp>
            <a:noAutofit/>
          </a:bodyPr>
          <a:lstStyle/>
          <a:p>
            <a:endParaRPr lang="id-ID"/>
          </a:p>
        </p:txBody>
      </p:sp>
      <p:sp>
        <p:nvSpPr>
          <p:cNvPr id="42" name="Freeform 41"/>
          <p:cNvSpPr>
            <a:spLocks/>
          </p:cNvSpPr>
          <p:nvPr/>
        </p:nvSpPr>
        <p:spPr bwMode="auto">
          <a:xfrm>
            <a:off x="-281326" y="2266137"/>
            <a:ext cx="4640520" cy="4591863"/>
          </a:xfrm>
          <a:custGeom>
            <a:avLst/>
            <a:gdLst>
              <a:gd name="connsiteX0" fmla="*/ 2592704 w 3451859"/>
              <a:gd name="connsiteY0" fmla="*/ 0 h 3415665"/>
              <a:gd name="connsiteX1" fmla="*/ 3451859 w 3451859"/>
              <a:gd name="connsiteY1" fmla="*/ 859155 h 3415665"/>
              <a:gd name="connsiteX2" fmla="*/ 879633 w 3451859"/>
              <a:gd name="connsiteY2" fmla="*/ 3415665 h 3415665"/>
              <a:gd name="connsiteX3" fmla="*/ 0 w 3451859"/>
              <a:gd name="connsiteY3" fmla="*/ 3415665 h 3415665"/>
              <a:gd name="connsiteX4" fmla="*/ 0 w 3451859"/>
              <a:gd name="connsiteY4" fmla="*/ 2576895 h 34156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1859" h="3415665">
                <a:moveTo>
                  <a:pt x="2592704" y="0"/>
                </a:moveTo>
                <a:lnTo>
                  <a:pt x="3451859" y="859155"/>
                </a:lnTo>
                <a:lnTo>
                  <a:pt x="879633" y="3415665"/>
                </a:lnTo>
                <a:lnTo>
                  <a:pt x="0" y="3415665"/>
                </a:lnTo>
                <a:lnTo>
                  <a:pt x="0" y="2576895"/>
                </a:lnTo>
                <a:close/>
              </a:path>
            </a:pathLst>
          </a:custGeom>
          <a:solidFill>
            <a:schemeClr val="accent1">
              <a:alpha val="45000"/>
            </a:schemeClr>
          </a:solidFill>
          <a:ln>
            <a:noFill/>
          </a:ln>
        </p:spPr>
        <p:txBody>
          <a:bodyPr vert="horz" wrap="square" lIns="91440" tIns="45720" rIns="91440" bIns="45720" numCol="1" anchor="t" anchorCtr="0" compatLnSpc="1">
            <a:prstTxWarp prst="textNoShape">
              <a:avLst/>
            </a:prstTxWarp>
            <a:noAutofit/>
          </a:bodyPr>
          <a:lstStyle/>
          <a:p>
            <a:endParaRPr lang="id-ID"/>
          </a:p>
        </p:txBody>
      </p:sp>
      <p:sp>
        <p:nvSpPr>
          <p:cNvPr id="43" name="Freeform 42"/>
          <p:cNvSpPr>
            <a:spLocks/>
          </p:cNvSpPr>
          <p:nvPr/>
        </p:nvSpPr>
        <p:spPr bwMode="auto">
          <a:xfrm>
            <a:off x="-281326" y="-29794"/>
            <a:ext cx="3485511" cy="3450940"/>
          </a:xfrm>
          <a:custGeom>
            <a:avLst/>
            <a:gdLst>
              <a:gd name="connsiteX0" fmla="*/ 0 w 2592704"/>
              <a:gd name="connsiteY0" fmla="*/ 0 h 2566988"/>
              <a:gd name="connsiteX1" fmla="*/ 879633 w 2592704"/>
              <a:gd name="connsiteY1" fmla="*/ 0 h 2566988"/>
              <a:gd name="connsiteX2" fmla="*/ 2592704 w 2592704"/>
              <a:gd name="connsiteY2" fmla="*/ 1707833 h 2566988"/>
              <a:gd name="connsiteX3" fmla="*/ 1728310 w 2592704"/>
              <a:gd name="connsiteY3" fmla="*/ 2566988 h 2566988"/>
              <a:gd name="connsiteX4" fmla="*/ 0 w 2592704"/>
              <a:gd name="connsiteY4" fmla="*/ 842197 h 2566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2704" h="2566988">
                <a:moveTo>
                  <a:pt x="0" y="0"/>
                </a:moveTo>
                <a:lnTo>
                  <a:pt x="879633" y="0"/>
                </a:lnTo>
                <a:lnTo>
                  <a:pt x="2592704" y="1707833"/>
                </a:lnTo>
                <a:lnTo>
                  <a:pt x="1728310" y="2566988"/>
                </a:lnTo>
                <a:lnTo>
                  <a:pt x="0" y="842197"/>
                </a:lnTo>
                <a:close/>
              </a:path>
            </a:pathLst>
          </a:custGeom>
          <a:solidFill>
            <a:schemeClr val="accent1">
              <a:lumMod val="75000"/>
              <a:alpha val="45000"/>
            </a:schemeClr>
          </a:solidFill>
          <a:ln>
            <a:noFill/>
          </a:ln>
        </p:spPr>
        <p:txBody>
          <a:bodyPr vert="horz" wrap="square" lIns="91440" tIns="45720" rIns="91440" bIns="45720" numCol="1" anchor="t" anchorCtr="0" compatLnSpc="1">
            <a:prstTxWarp prst="textNoShape">
              <a:avLst/>
            </a:prstTxWarp>
            <a:noAutofit/>
          </a:bodyPr>
          <a:lstStyle/>
          <a:p>
            <a:endParaRPr lang="id-ID"/>
          </a:p>
        </p:txBody>
      </p:sp>
      <p:sp>
        <p:nvSpPr>
          <p:cNvPr id="4" name="TextBox 3"/>
          <p:cNvSpPr txBox="1"/>
          <p:nvPr/>
        </p:nvSpPr>
        <p:spPr>
          <a:xfrm>
            <a:off x="502197" y="2073326"/>
            <a:ext cx="7745903" cy="2308324"/>
          </a:xfrm>
          <a:prstGeom prst="rect">
            <a:avLst/>
          </a:prstGeom>
          <a:noFill/>
        </p:spPr>
        <p:txBody>
          <a:bodyPr wrap="square" rtlCol="0">
            <a:spAutoFit/>
          </a:bodyPr>
          <a:lstStyle/>
          <a:p>
            <a:pPr algn="ctr"/>
            <a:r>
              <a:rPr lang="en-US" sz="4800" b="1" dirty="0"/>
              <a:t>A New Landscape for Food </a:t>
            </a:r>
            <a:r>
              <a:rPr lang="en-US" sz="4800" b="1" dirty="0" smtClean="0"/>
              <a:t>Security: Challenges for Zambia</a:t>
            </a:r>
            <a:endParaRPr lang="en-US" sz="4800" dirty="0"/>
          </a:p>
        </p:txBody>
      </p:sp>
      <p:sp>
        <p:nvSpPr>
          <p:cNvPr id="5" name="TextBox 4"/>
          <p:cNvSpPr txBox="1"/>
          <p:nvPr/>
        </p:nvSpPr>
        <p:spPr>
          <a:xfrm>
            <a:off x="1674264" y="4333246"/>
            <a:ext cx="5388077" cy="1200329"/>
          </a:xfrm>
          <a:prstGeom prst="rect">
            <a:avLst/>
          </a:prstGeom>
          <a:noFill/>
        </p:spPr>
        <p:txBody>
          <a:bodyPr wrap="square" rtlCol="0">
            <a:spAutoFit/>
          </a:bodyPr>
          <a:lstStyle/>
          <a:p>
            <a:pPr algn="ctr"/>
            <a:r>
              <a:rPr lang="id-ID" sz="2400" b="1" dirty="0">
                <a:latin typeface="Open Sans"/>
              </a:rPr>
              <a:t>Maximo </a:t>
            </a:r>
            <a:r>
              <a:rPr lang="id-ID" sz="2400" b="1" dirty="0" smtClean="0">
                <a:latin typeface="Open Sans"/>
              </a:rPr>
              <a:t>Torero</a:t>
            </a:r>
            <a:r>
              <a:rPr lang="en-US" sz="2400" b="1" dirty="0" smtClean="0">
                <a:latin typeface="Open Sans"/>
              </a:rPr>
              <a:t> </a:t>
            </a:r>
          </a:p>
          <a:p>
            <a:pPr algn="ctr"/>
            <a:r>
              <a:rPr lang="en-US" sz="2400" b="1" dirty="0" smtClean="0">
                <a:latin typeface="Open Sans"/>
              </a:rPr>
              <a:t>and </a:t>
            </a:r>
            <a:r>
              <a:rPr lang="en-US" sz="2400" b="1" dirty="0" err="1">
                <a:solidFill>
                  <a:srgbClr val="006847"/>
                </a:solidFill>
                <a:latin typeface="Myriad Pro"/>
                <a:cs typeface="Myriad Pro"/>
              </a:rPr>
              <a:t>Teunis</a:t>
            </a:r>
            <a:r>
              <a:rPr lang="en-US" sz="2400" b="1" dirty="0">
                <a:solidFill>
                  <a:srgbClr val="006847"/>
                </a:solidFill>
                <a:latin typeface="Myriad Pro"/>
                <a:cs typeface="Myriad Pro"/>
              </a:rPr>
              <a:t> van </a:t>
            </a:r>
            <a:r>
              <a:rPr lang="en-US" sz="2400" b="1" dirty="0" err="1">
                <a:solidFill>
                  <a:srgbClr val="006847"/>
                </a:solidFill>
                <a:latin typeface="Myriad Pro"/>
                <a:cs typeface="Myriad Pro"/>
              </a:rPr>
              <a:t>Rheenen</a:t>
            </a:r>
            <a:r>
              <a:rPr lang="en-US" sz="2400" b="1" dirty="0">
                <a:solidFill>
                  <a:srgbClr val="006847"/>
                </a:solidFill>
                <a:latin typeface="Myriad Pro"/>
                <a:cs typeface="Myriad Pro"/>
              </a:rPr>
              <a:t> </a:t>
            </a:r>
            <a:r>
              <a:rPr lang="en-US" sz="2400" b="1" dirty="0" smtClean="0">
                <a:latin typeface="Open Sans"/>
              </a:rPr>
              <a:t>(</a:t>
            </a:r>
            <a:r>
              <a:rPr lang="id-ID" sz="2400" b="1" dirty="0" smtClean="0">
                <a:latin typeface="Open Sans"/>
              </a:rPr>
              <a:t>m.torero@cgiar.org</a:t>
            </a:r>
            <a:r>
              <a:rPr lang="en-US" sz="2400" b="1" dirty="0" smtClean="0">
                <a:latin typeface="Open Sans"/>
              </a:rPr>
              <a:t>)</a:t>
            </a:r>
            <a:endParaRPr lang="id-ID" sz="2400" b="1" dirty="0">
              <a:latin typeface="Open Sans"/>
            </a:endParaRPr>
          </a:p>
        </p:txBody>
      </p:sp>
      <p:sp>
        <p:nvSpPr>
          <p:cNvPr id="6" name="TextBox 5"/>
          <p:cNvSpPr txBox="1"/>
          <p:nvPr/>
        </p:nvSpPr>
        <p:spPr>
          <a:xfrm>
            <a:off x="0" y="5814778"/>
            <a:ext cx="8676456" cy="923330"/>
          </a:xfrm>
          <a:prstGeom prst="rect">
            <a:avLst/>
          </a:prstGeom>
          <a:noFill/>
        </p:spPr>
        <p:txBody>
          <a:bodyPr wrap="square" rtlCol="0">
            <a:spAutoFit/>
          </a:bodyPr>
          <a:lstStyle/>
          <a:p>
            <a:pPr algn="ctr"/>
            <a:r>
              <a:rPr lang="en-US" dirty="0" smtClean="0"/>
              <a:t> </a:t>
            </a:r>
            <a:r>
              <a:rPr lang="en-US" b="1" dirty="0"/>
              <a:t>Policy Dialogue on Food Security and Nutrition Situation in Zambia </a:t>
            </a:r>
            <a:endParaRPr lang="en-US" dirty="0"/>
          </a:p>
          <a:p>
            <a:pPr algn="ctr"/>
            <a:r>
              <a:rPr lang="en-US" i="1" dirty="0"/>
              <a:t>Theme: Enhancing the Link between Evidence and Agriculture, Food and </a:t>
            </a:r>
            <a:r>
              <a:rPr lang="en-US" i="1" dirty="0" smtClean="0"/>
              <a:t>Nutrition,</a:t>
            </a:r>
            <a:r>
              <a:rPr lang="en-US" b="1" dirty="0" smtClean="0"/>
              <a:t> </a:t>
            </a:r>
            <a:r>
              <a:rPr lang="en-US" dirty="0"/>
              <a:t>Tuesday, 8th December </a:t>
            </a:r>
            <a:r>
              <a:rPr lang="en-US" dirty="0" smtClean="0"/>
              <a:t>2015,</a:t>
            </a:r>
            <a:r>
              <a:rPr lang="en-US" b="1" dirty="0" smtClean="0"/>
              <a:t> </a:t>
            </a:r>
            <a:r>
              <a:rPr lang="en-US" dirty="0"/>
              <a:t>Government Complex, Lusaka, Zambia </a:t>
            </a:r>
            <a:endParaRPr lang="en-US" i="1" dirty="0"/>
          </a:p>
        </p:txBody>
      </p:sp>
      <p:cxnSp>
        <p:nvCxnSpPr>
          <p:cNvPr id="28" name="Straight Connector 27"/>
          <p:cNvCxnSpPr/>
          <p:nvPr/>
        </p:nvCxnSpPr>
        <p:spPr>
          <a:xfrm flipV="1">
            <a:off x="300020" y="4525690"/>
            <a:ext cx="8136566" cy="264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89" name="Picture 88"/>
          <p:cNvPicPr/>
          <p:nvPr/>
        </p:nvPicPr>
        <p:blipFill rotWithShape="1">
          <a:blip r:embed="rId4" cstate="print">
            <a:extLst>
              <a:ext uri="{28A0092B-C50C-407E-A947-70E740481C1C}">
                <a14:useLocalDpi xmlns:a14="http://schemas.microsoft.com/office/drawing/2010/main" val="0"/>
              </a:ext>
            </a:extLst>
          </a:blip>
          <a:srcRect l="2696" t="8298" r="66905" b="8022"/>
          <a:stretch/>
        </p:blipFill>
        <p:spPr bwMode="auto">
          <a:xfrm>
            <a:off x="60204" y="206853"/>
            <a:ext cx="3143982" cy="1630800"/>
          </a:xfrm>
          <a:prstGeom prst="rect">
            <a:avLst/>
          </a:prstGeom>
          <a:ln>
            <a:noFill/>
          </a:ln>
          <a:extLst>
            <a:ext uri="{53640926-AAD7-44D8-BBD7-CCE9431645EC}">
              <a14:shadowObscured xmlns:a14="http://schemas.microsoft.com/office/drawing/2010/main"/>
            </a:ext>
          </a:extLst>
        </p:spPr>
      </p:pic>
      <p:pic>
        <p:nvPicPr>
          <p:cNvPr id="2" name="Picture 1"/>
          <p:cNvPicPr>
            <a:picLocks noChangeAspect="1"/>
          </p:cNvPicPr>
          <p:nvPr/>
        </p:nvPicPr>
        <p:blipFill>
          <a:blip r:embed="rId5"/>
          <a:stretch>
            <a:fillRect/>
          </a:stretch>
        </p:blipFill>
        <p:spPr>
          <a:xfrm>
            <a:off x="6037129" y="237561"/>
            <a:ext cx="2531869" cy="1727296"/>
          </a:xfrm>
          <a:prstGeom prst="rect">
            <a:avLst/>
          </a:prstGeom>
        </p:spPr>
      </p:pic>
    </p:spTree>
    <p:extLst>
      <p:ext uri="{BB962C8B-B14F-4D97-AF65-F5344CB8AC3E}">
        <p14:creationId xmlns:p14="http://schemas.microsoft.com/office/powerpoint/2010/main" val="3061597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87227" y="265928"/>
            <a:ext cx="7978747" cy="868362"/>
          </a:xfrm>
          <a:noFill/>
          <a:ln w="9525">
            <a:noFill/>
            <a:miter lim="800000"/>
            <a:headEnd/>
            <a:tailEnd/>
          </a:ln>
        </p:spPr>
        <p:txBody>
          <a:bodyPr vert="horz" wrap="square" lIns="91440" tIns="18288" rIns="91440" bIns="18288" numCol="1" rtlCol="0" anchor="ctr" anchorCtr="0" compatLnSpc="1">
            <a:prstTxWarp prst="textNoShape">
              <a:avLst/>
            </a:prstTxWarp>
            <a:noAutofit/>
          </a:bodyPr>
          <a:lstStyle/>
          <a:p>
            <a:pPr algn="ctr"/>
            <a:r>
              <a:rPr lang="en-US" sz="2800" b="1" dirty="0">
                <a:solidFill>
                  <a:srgbClr val="000000"/>
                </a:solidFill>
              </a:rPr>
              <a:t>A continuous trend towards internationalization of food markets</a:t>
            </a:r>
          </a:p>
        </p:txBody>
      </p:sp>
      <p:cxnSp>
        <p:nvCxnSpPr>
          <p:cNvPr id="7" name="Straight Arrow Connector 6"/>
          <p:cNvCxnSpPr/>
          <p:nvPr/>
        </p:nvCxnSpPr>
        <p:spPr>
          <a:xfrm flipV="1">
            <a:off x="5837598" y="2518648"/>
            <a:ext cx="0" cy="914400"/>
          </a:xfrm>
          <a:prstGeom prst="straightConnector1">
            <a:avLst/>
          </a:prstGeom>
          <a:ln w="12700">
            <a:solidFill>
              <a:schemeClr val="accent5"/>
            </a:solidFill>
            <a:prstDash val="sysDash"/>
            <a:tailEnd type="diamond"/>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flipV="1">
            <a:off x="7135705" y="2121634"/>
            <a:ext cx="0" cy="1463040"/>
          </a:xfrm>
          <a:prstGeom prst="straightConnector1">
            <a:avLst/>
          </a:prstGeom>
          <a:ln w="12700">
            <a:solidFill>
              <a:schemeClr val="accent6"/>
            </a:solidFill>
            <a:prstDash val="sysDash"/>
            <a:tailEnd type="diamond"/>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H="1" flipV="1">
            <a:off x="2016769" y="4125438"/>
            <a:ext cx="1" cy="1053463"/>
          </a:xfrm>
          <a:prstGeom prst="straightConnector1">
            <a:avLst/>
          </a:prstGeom>
          <a:ln w="12700">
            <a:solidFill>
              <a:schemeClr val="accent2"/>
            </a:solidFill>
            <a:prstDash val="sysDash"/>
            <a:tailEnd type="diamond"/>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3358708" y="3939540"/>
            <a:ext cx="0" cy="603504"/>
          </a:xfrm>
          <a:prstGeom prst="straightConnector1">
            <a:avLst/>
          </a:prstGeom>
          <a:ln w="12700">
            <a:solidFill>
              <a:schemeClr val="accent3"/>
            </a:solidFill>
            <a:prstDash val="sysDash"/>
            <a:tailEnd type="diamond"/>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4652940" y="3001726"/>
            <a:ext cx="0" cy="822960"/>
          </a:xfrm>
          <a:prstGeom prst="straightConnector1">
            <a:avLst/>
          </a:prstGeom>
          <a:ln w="12700">
            <a:solidFill>
              <a:schemeClr val="accent4"/>
            </a:solidFill>
            <a:prstDash val="sysDash"/>
            <a:tailEnd type="diamond"/>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1262358" y="4805955"/>
            <a:ext cx="1544523" cy="1186602"/>
            <a:chOff x="2205038" y="2138363"/>
            <a:chExt cx="1708151" cy="2017713"/>
          </a:xfrm>
        </p:grpSpPr>
        <p:sp>
          <p:nvSpPr>
            <p:cNvPr id="21" name="Freeform 7"/>
            <p:cNvSpPr>
              <a:spLocks/>
            </p:cNvSpPr>
            <p:nvPr/>
          </p:nvSpPr>
          <p:spPr bwMode="auto">
            <a:xfrm>
              <a:off x="2205038" y="2138363"/>
              <a:ext cx="1708150" cy="2017713"/>
            </a:xfrm>
            <a:custGeom>
              <a:avLst/>
              <a:gdLst>
                <a:gd name="T0" fmla="*/ 1076 w 1076"/>
                <a:gd name="T1" fmla="*/ 1271 h 1271"/>
                <a:gd name="T2" fmla="*/ 525 w 1076"/>
                <a:gd name="T3" fmla="*/ 0 h 1271"/>
                <a:gd name="T4" fmla="*/ 0 w 1076"/>
                <a:gd name="T5" fmla="*/ 1271 h 1271"/>
                <a:gd name="T6" fmla="*/ 1076 w 1076"/>
                <a:gd name="T7" fmla="*/ 1271 h 1271"/>
              </a:gdLst>
              <a:ahLst/>
              <a:cxnLst>
                <a:cxn ang="0">
                  <a:pos x="T0" y="T1"/>
                </a:cxn>
                <a:cxn ang="0">
                  <a:pos x="T2" y="T3"/>
                </a:cxn>
                <a:cxn ang="0">
                  <a:pos x="T4" y="T5"/>
                </a:cxn>
                <a:cxn ang="0">
                  <a:pos x="T6" y="T7"/>
                </a:cxn>
              </a:cxnLst>
              <a:rect l="0" t="0" r="r" b="b"/>
              <a:pathLst>
                <a:path w="1076" h="1271">
                  <a:moveTo>
                    <a:pt x="1076" y="1271"/>
                  </a:moveTo>
                  <a:lnTo>
                    <a:pt x="525" y="0"/>
                  </a:lnTo>
                  <a:lnTo>
                    <a:pt x="0" y="1271"/>
                  </a:lnTo>
                  <a:lnTo>
                    <a:pt x="1076" y="127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2" name="Freeform 8"/>
            <p:cNvSpPr>
              <a:spLocks/>
            </p:cNvSpPr>
            <p:nvPr/>
          </p:nvSpPr>
          <p:spPr bwMode="auto">
            <a:xfrm>
              <a:off x="3028951" y="2138363"/>
              <a:ext cx="884238" cy="2017713"/>
            </a:xfrm>
            <a:custGeom>
              <a:avLst/>
              <a:gdLst>
                <a:gd name="T0" fmla="*/ 0 w 557"/>
                <a:gd name="T1" fmla="*/ 1271 h 1271"/>
                <a:gd name="T2" fmla="*/ 557 w 557"/>
                <a:gd name="T3" fmla="*/ 1271 h 1271"/>
                <a:gd name="T4" fmla="*/ 6 w 557"/>
                <a:gd name="T5" fmla="*/ 0 h 1271"/>
                <a:gd name="T6" fmla="*/ 0 w 557"/>
                <a:gd name="T7" fmla="*/ 13 h 1271"/>
                <a:gd name="T8" fmla="*/ 0 w 557"/>
                <a:gd name="T9" fmla="*/ 1271 h 1271"/>
              </a:gdLst>
              <a:ahLst/>
              <a:cxnLst>
                <a:cxn ang="0">
                  <a:pos x="T0" y="T1"/>
                </a:cxn>
                <a:cxn ang="0">
                  <a:pos x="T2" y="T3"/>
                </a:cxn>
                <a:cxn ang="0">
                  <a:pos x="T4" y="T5"/>
                </a:cxn>
                <a:cxn ang="0">
                  <a:pos x="T6" y="T7"/>
                </a:cxn>
                <a:cxn ang="0">
                  <a:pos x="T8" y="T9"/>
                </a:cxn>
              </a:cxnLst>
              <a:rect l="0" t="0" r="r" b="b"/>
              <a:pathLst>
                <a:path w="557" h="1271">
                  <a:moveTo>
                    <a:pt x="0" y="1271"/>
                  </a:moveTo>
                  <a:lnTo>
                    <a:pt x="557" y="1271"/>
                  </a:lnTo>
                  <a:lnTo>
                    <a:pt x="6" y="0"/>
                  </a:lnTo>
                  <a:lnTo>
                    <a:pt x="0" y="13"/>
                  </a:lnTo>
                  <a:lnTo>
                    <a:pt x="0" y="1271"/>
                  </a:lnTo>
                  <a:close/>
                </a:path>
              </a:pathLst>
            </a:custGeom>
            <a:solidFill>
              <a:schemeClr val="accent2">
                <a:lumMod val="75000"/>
                <a:alpha val="45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3" name="Group 22"/>
          <p:cNvGrpSpPr/>
          <p:nvPr/>
        </p:nvGrpSpPr>
        <p:grpSpPr>
          <a:xfrm>
            <a:off x="6364258" y="2795148"/>
            <a:ext cx="1597706" cy="3197409"/>
            <a:chOff x="5888038" y="2138363"/>
            <a:chExt cx="1717676" cy="2017713"/>
          </a:xfrm>
        </p:grpSpPr>
        <p:sp>
          <p:nvSpPr>
            <p:cNvPr id="24" name="Freeform 11"/>
            <p:cNvSpPr>
              <a:spLocks/>
            </p:cNvSpPr>
            <p:nvPr/>
          </p:nvSpPr>
          <p:spPr bwMode="auto">
            <a:xfrm>
              <a:off x="5888038" y="2138363"/>
              <a:ext cx="1717675" cy="2017713"/>
            </a:xfrm>
            <a:custGeom>
              <a:avLst/>
              <a:gdLst>
                <a:gd name="T0" fmla="*/ 1082 w 1082"/>
                <a:gd name="T1" fmla="*/ 1271 h 1271"/>
                <a:gd name="T2" fmla="*/ 526 w 1082"/>
                <a:gd name="T3" fmla="*/ 0 h 1271"/>
                <a:gd name="T4" fmla="*/ 0 w 1082"/>
                <a:gd name="T5" fmla="*/ 1271 h 1271"/>
                <a:gd name="T6" fmla="*/ 1082 w 1082"/>
                <a:gd name="T7" fmla="*/ 1271 h 1271"/>
              </a:gdLst>
              <a:ahLst/>
              <a:cxnLst>
                <a:cxn ang="0">
                  <a:pos x="T0" y="T1"/>
                </a:cxn>
                <a:cxn ang="0">
                  <a:pos x="T2" y="T3"/>
                </a:cxn>
                <a:cxn ang="0">
                  <a:pos x="T4" y="T5"/>
                </a:cxn>
                <a:cxn ang="0">
                  <a:pos x="T6" y="T7"/>
                </a:cxn>
              </a:cxnLst>
              <a:rect l="0" t="0" r="r" b="b"/>
              <a:pathLst>
                <a:path w="1082" h="1271">
                  <a:moveTo>
                    <a:pt x="1082" y="1271"/>
                  </a:moveTo>
                  <a:lnTo>
                    <a:pt x="526" y="0"/>
                  </a:lnTo>
                  <a:lnTo>
                    <a:pt x="0" y="1271"/>
                  </a:lnTo>
                  <a:lnTo>
                    <a:pt x="1082" y="1271"/>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25" name="Freeform 12"/>
            <p:cNvSpPr>
              <a:spLocks/>
            </p:cNvSpPr>
            <p:nvPr/>
          </p:nvSpPr>
          <p:spPr bwMode="auto">
            <a:xfrm>
              <a:off x="6711951" y="2138363"/>
              <a:ext cx="893763" cy="2017713"/>
            </a:xfrm>
            <a:custGeom>
              <a:avLst/>
              <a:gdLst>
                <a:gd name="T0" fmla="*/ 0 w 563"/>
                <a:gd name="T1" fmla="*/ 1271 h 1271"/>
                <a:gd name="T2" fmla="*/ 563 w 563"/>
                <a:gd name="T3" fmla="*/ 1271 h 1271"/>
                <a:gd name="T4" fmla="*/ 7 w 563"/>
                <a:gd name="T5" fmla="*/ 0 h 1271"/>
                <a:gd name="T6" fmla="*/ 0 w 563"/>
                <a:gd name="T7" fmla="*/ 13 h 1271"/>
                <a:gd name="T8" fmla="*/ 0 w 563"/>
                <a:gd name="T9" fmla="*/ 1271 h 1271"/>
              </a:gdLst>
              <a:ahLst/>
              <a:cxnLst>
                <a:cxn ang="0">
                  <a:pos x="T0" y="T1"/>
                </a:cxn>
                <a:cxn ang="0">
                  <a:pos x="T2" y="T3"/>
                </a:cxn>
                <a:cxn ang="0">
                  <a:pos x="T4" y="T5"/>
                </a:cxn>
                <a:cxn ang="0">
                  <a:pos x="T6" y="T7"/>
                </a:cxn>
                <a:cxn ang="0">
                  <a:pos x="T8" y="T9"/>
                </a:cxn>
              </a:cxnLst>
              <a:rect l="0" t="0" r="r" b="b"/>
              <a:pathLst>
                <a:path w="563" h="1271">
                  <a:moveTo>
                    <a:pt x="0" y="1271"/>
                  </a:moveTo>
                  <a:lnTo>
                    <a:pt x="563" y="1271"/>
                  </a:lnTo>
                  <a:lnTo>
                    <a:pt x="7" y="0"/>
                  </a:lnTo>
                  <a:lnTo>
                    <a:pt x="0" y="13"/>
                  </a:lnTo>
                  <a:lnTo>
                    <a:pt x="0" y="1271"/>
                  </a:lnTo>
                  <a:close/>
                </a:path>
              </a:pathLst>
            </a:custGeom>
            <a:solidFill>
              <a:schemeClr val="accent6">
                <a:lumMod val="75000"/>
                <a:alpha val="45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6" name="Group 25"/>
          <p:cNvGrpSpPr/>
          <p:nvPr/>
        </p:nvGrpSpPr>
        <p:grpSpPr>
          <a:xfrm>
            <a:off x="2584721" y="4469705"/>
            <a:ext cx="1597706" cy="1522852"/>
            <a:chOff x="4090988" y="2138363"/>
            <a:chExt cx="1717676" cy="2017713"/>
          </a:xfrm>
        </p:grpSpPr>
        <p:sp>
          <p:nvSpPr>
            <p:cNvPr id="27" name="Freeform 9"/>
            <p:cNvSpPr>
              <a:spLocks/>
            </p:cNvSpPr>
            <p:nvPr/>
          </p:nvSpPr>
          <p:spPr bwMode="auto">
            <a:xfrm>
              <a:off x="4090988" y="2138363"/>
              <a:ext cx="1717675" cy="2017713"/>
            </a:xfrm>
            <a:custGeom>
              <a:avLst/>
              <a:gdLst>
                <a:gd name="T0" fmla="*/ 1082 w 1082"/>
                <a:gd name="T1" fmla="*/ 1271 h 1271"/>
                <a:gd name="T2" fmla="*/ 526 w 1082"/>
                <a:gd name="T3" fmla="*/ 0 h 1271"/>
                <a:gd name="T4" fmla="*/ 0 w 1082"/>
                <a:gd name="T5" fmla="*/ 1271 h 1271"/>
                <a:gd name="T6" fmla="*/ 1082 w 1082"/>
                <a:gd name="T7" fmla="*/ 1271 h 1271"/>
              </a:gdLst>
              <a:ahLst/>
              <a:cxnLst>
                <a:cxn ang="0">
                  <a:pos x="T0" y="T1"/>
                </a:cxn>
                <a:cxn ang="0">
                  <a:pos x="T2" y="T3"/>
                </a:cxn>
                <a:cxn ang="0">
                  <a:pos x="T4" y="T5"/>
                </a:cxn>
                <a:cxn ang="0">
                  <a:pos x="T6" y="T7"/>
                </a:cxn>
              </a:cxnLst>
              <a:rect l="0" t="0" r="r" b="b"/>
              <a:pathLst>
                <a:path w="1082" h="1271">
                  <a:moveTo>
                    <a:pt x="1082" y="1271"/>
                  </a:moveTo>
                  <a:lnTo>
                    <a:pt x="526" y="0"/>
                  </a:lnTo>
                  <a:lnTo>
                    <a:pt x="0" y="1271"/>
                  </a:lnTo>
                  <a:lnTo>
                    <a:pt x="1082" y="127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10"/>
            <p:cNvSpPr>
              <a:spLocks/>
            </p:cNvSpPr>
            <p:nvPr/>
          </p:nvSpPr>
          <p:spPr bwMode="auto">
            <a:xfrm>
              <a:off x="4914901" y="2138363"/>
              <a:ext cx="893763" cy="2017713"/>
            </a:xfrm>
            <a:custGeom>
              <a:avLst/>
              <a:gdLst>
                <a:gd name="T0" fmla="*/ 0 w 563"/>
                <a:gd name="T1" fmla="*/ 1271 h 1271"/>
                <a:gd name="T2" fmla="*/ 563 w 563"/>
                <a:gd name="T3" fmla="*/ 1271 h 1271"/>
                <a:gd name="T4" fmla="*/ 7 w 563"/>
                <a:gd name="T5" fmla="*/ 0 h 1271"/>
                <a:gd name="T6" fmla="*/ 0 w 563"/>
                <a:gd name="T7" fmla="*/ 13 h 1271"/>
                <a:gd name="T8" fmla="*/ 0 w 563"/>
                <a:gd name="T9" fmla="*/ 1271 h 1271"/>
              </a:gdLst>
              <a:ahLst/>
              <a:cxnLst>
                <a:cxn ang="0">
                  <a:pos x="T0" y="T1"/>
                </a:cxn>
                <a:cxn ang="0">
                  <a:pos x="T2" y="T3"/>
                </a:cxn>
                <a:cxn ang="0">
                  <a:pos x="T4" y="T5"/>
                </a:cxn>
                <a:cxn ang="0">
                  <a:pos x="T6" y="T7"/>
                </a:cxn>
                <a:cxn ang="0">
                  <a:pos x="T8" y="T9"/>
                </a:cxn>
              </a:cxnLst>
              <a:rect l="0" t="0" r="r" b="b"/>
              <a:pathLst>
                <a:path w="563" h="1271">
                  <a:moveTo>
                    <a:pt x="0" y="1271"/>
                  </a:moveTo>
                  <a:lnTo>
                    <a:pt x="563" y="1271"/>
                  </a:lnTo>
                  <a:lnTo>
                    <a:pt x="7" y="0"/>
                  </a:lnTo>
                  <a:lnTo>
                    <a:pt x="0" y="13"/>
                  </a:lnTo>
                  <a:lnTo>
                    <a:pt x="0" y="1271"/>
                  </a:lnTo>
                  <a:close/>
                </a:path>
              </a:pathLst>
            </a:custGeom>
            <a:solidFill>
              <a:schemeClr val="accent3">
                <a:lumMod val="75000"/>
                <a:alpha val="45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29" name="Group 28"/>
          <p:cNvGrpSpPr/>
          <p:nvPr/>
        </p:nvGrpSpPr>
        <p:grpSpPr>
          <a:xfrm>
            <a:off x="5066559" y="3294728"/>
            <a:ext cx="1597706" cy="2697829"/>
            <a:chOff x="4090988" y="2138363"/>
            <a:chExt cx="1717676" cy="2017713"/>
          </a:xfrm>
        </p:grpSpPr>
        <p:sp>
          <p:nvSpPr>
            <p:cNvPr id="30" name="Freeform 9"/>
            <p:cNvSpPr>
              <a:spLocks/>
            </p:cNvSpPr>
            <p:nvPr/>
          </p:nvSpPr>
          <p:spPr bwMode="auto">
            <a:xfrm>
              <a:off x="4090988" y="2138363"/>
              <a:ext cx="1717675" cy="2017713"/>
            </a:xfrm>
            <a:custGeom>
              <a:avLst/>
              <a:gdLst>
                <a:gd name="T0" fmla="*/ 1082 w 1082"/>
                <a:gd name="T1" fmla="*/ 1271 h 1271"/>
                <a:gd name="T2" fmla="*/ 526 w 1082"/>
                <a:gd name="T3" fmla="*/ 0 h 1271"/>
                <a:gd name="T4" fmla="*/ 0 w 1082"/>
                <a:gd name="T5" fmla="*/ 1271 h 1271"/>
                <a:gd name="T6" fmla="*/ 1082 w 1082"/>
                <a:gd name="T7" fmla="*/ 1271 h 1271"/>
              </a:gdLst>
              <a:ahLst/>
              <a:cxnLst>
                <a:cxn ang="0">
                  <a:pos x="T0" y="T1"/>
                </a:cxn>
                <a:cxn ang="0">
                  <a:pos x="T2" y="T3"/>
                </a:cxn>
                <a:cxn ang="0">
                  <a:pos x="T4" y="T5"/>
                </a:cxn>
                <a:cxn ang="0">
                  <a:pos x="T6" y="T7"/>
                </a:cxn>
              </a:cxnLst>
              <a:rect l="0" t="0" r="r" b="b"/>
              <a:pathLst>
                <a:path w="1082" h="1271">
                  <a:moveTo>
                    <a:pt x="1082" y="1271"/>
                  </a:moveTo>
                  <a:lnTo>
                    <a:pt x="526" y="0"/>
                  </a:lnTo>
                  <a:lnTo>
                    <a:pt x="0" y="1271"/>
                  </a:lnTo>
                  <a:lnTo>
                    <a:pt x="1082" y="127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a:p>
          </p:txBody>
        </p:sp>
        <p:sp>
          <p:nvSpPr>
            <p:cNvPr id="31" name="Freeform 10"/>
            <p:cNvSpPr>
              <a:spLocks/>
            </p:cNvSpPr>
            <p:nvPr/>
          </p:nvSpPr>
          <p:spPr bwMode="auto">
            <a:xfrm>
              <a:off x="4914901" y="2138363"/>
              <a:ext cx="893763" cy="2017713"/>
            </a:xfrm>
            <a:custGeom>
              <a:avLst/>
              <a:gdLst>
                <a:gd name="T0" fmla="*/ 0 w 563"/>
                <a:gd name="T1" fmla="*/ 1271 h 1271"/>
                <a:gd name="T2" fmla="*/ 563 w 563"/>
                <a:gd name="T3" fmla="*/ 1271 h 1271"/>
                <a:gd name="T4" fmla="*/ 7 w 563"/>
                <a:gd name="T5" fmla="*/ 0 h 1271"/>
                <a:gd name="T6" fmla="*/ 0 w 563"/>
                <a:gd name="T7" fmla="*/ 13 h 1271"/>
                <a:gd name="T8" fmla="*/ 0 w 563"/>
                <a:gd name="T9" fmla="*/ 1271 h 1271"/>
              </a:gdLst>
              <a:ahLst/>
              <a:cxnLst>
                <a:cxn ang="0">
                  <a:pos x="T0" y="T1"/>
                </a:cxn>
                <a:cxn ang="0">
                  <a:pos x="T2" y="T3"/>
                </a:cxn>
                <a:cxn ang="0">
                  <a:pos x="T4" y="T5"/>
                </a:cxn>
                <a:cxn ang="0">
                  <a:pos x="T6" y="T7"/>
                </a:cxn>
                <a:cxn ang="0">
                  <a:pos x="T8" y="T9"/>
                </a:cxn>
              </a:cxnLst>
              <a:rect l="0" t="0" r="r" b="b"/>
              <a:pathLst>
                <a:path w="563" h="1271">
                  <a:moveTo>
                    <a:pt x="0" y="1271"/>
                  </a:moveTo>
                  <a:lnTo>
                    <a:pt x="563" y="1271"/>
                  </a:lnTo>
                  <a:lnTo>
                    <a:pt x="7" y="0"/>
                  </a:lnTo>
                  <a:lnTo>
                    <a:pt x="0" y="13"/>
                  </a:lnTo>
                  <a:lnTo>
                    <a:pt x="0" y="1271"/>
                  </a:lnTo>
                  <a:close/>
                </a:path>
              </a:pathLst>
            </a:custGeom>
            <a:solidFill>
              <a:schemeClr val="accent5">
                <a:lumMod val="75000"/>
                <a:alpha val="45000"/>
              </a:schemeClr>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2" name="Group 31"/>
          <p:cNvGrpSpPr/>
          <p:nvPr/>
        </p:nvGrpSpPr>
        <p:grpSpPr>
          <a:xfrm>
            <a:off x="3882420" y="3762796"/>
            <a:ext cx="1597706" cy="2229762"/>
            <a:chOff x="5888038" y="2138363"/>
            <a:chExt cx="1717676" cy="2017713"/>
          </a:xfrm>
        </p:grpSpPr>
        <p:sp>
          <p:nvSpPr>
            <p:cNvPr id="33" name="Freeform 11"/>
            <p:cNvSpPr>
              <a:spLocks/>
            </p:cNvSpPr>
            <p:nvPr/>
          </p:nvSpPr>
          <p:spPr bwMode="auto">
            <a:xfrm>
              <a:off x="5888038" y="2138363"/>
              <a:ext cx="1717675" cy="2017713"/>
            </a:xfrm>
            <a:custGeom>
              <a:avLst/>
              <a:gdLst>
                <a:gd name="T0" fmla="*/ 1082 w 1082"/>
                <a:gd name="T1" fmla="*/ 1271 h 1271"/>
                <a:gd name="T2" fmla="*/ 526 w 1082"/>
                <a:gd name="T3" fmla="*/ 0 h 1271"/>
                <a:gd name="T4" fmla="*/ 0 w 1082"/>
                <a:gd name="T5" fmla="*/ 1271 h 1271"/>
                <a:gd name="T6" fmla="*/ 1082 w 1082"/>
                <a:gd name="T7" fmla="*/ 1271 h 1271"/>
              </a:gdLst>
              <a:ahLst/>
              <a:cxnLst>
                <a:cxn ang="0">
                  <a:pos x="T0" y="T1"/>
                </a:cxn>
                <a:cxn ang="0">
                  <a:pos x="T2" y="T3"/>
                </a:cxn>
                <a:cxn ang="0">
                  <a:pos x="T4" y="T5"/>
                </a:cxn>
                <a:cxn ang="0">
                  <a:pos x="T6" y="T7"/>
                </a:cxn>
              </a:cxnLst>
              <a:rect l="0" t="0" r="r" b="b"/>
              <a:pathLst>
                <a:path w="1082" h="1271">
                  <a:moveTo>
                    <a:pt x="1082" y="1271"/>
                  </a:moveTo>
                  <a:lnTo>
                    <a:pt x="526" y="0"/>
                  </a:lnTo>
                  <a:lnTo>
                    <a:pt x="0" y="1271"/>
                  </a:lnTo>
                  <a:lnTo>
                    <a:pt x="1082" y="1271"/>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a:p>
          </p:txBody>
        </p:sp>
        <p:sp>
          <p:nvSpPr>
            <p:cNvPr id="34" name="Freeform 12"/>
            <p:cNvSpPr>
              <a:spLocks/>
            </p:cNvSpPr>
            <p:nvPr/>
          </p:nvSpPr>
          <p:spPr bwMode="auto">
            <a:xfrm>
              <a:off x="6711951" y="2138363"/>
              <a:ext cx="893763" cy="2017713"/>
            </a:xfrm>
            <a:custGeom>
              <a:avLst/>
              <a:gdLst>
                <a:gd name="T0" fmla="*/ 0 w 563"/>
                <a:gd name="T1" fmla="*/ 1271 h 1271"/>
                <a:gd name="T2" fmla="*/ 563 w 563"/>
                <a:gd name="T3" fmla="*/ 1271 h 1271"/>
                <a:gd name="T4" fmla="*/ 7 w 563"/>
                <a:gd name="T5" fmla="*/ 0 h 1271"/>
                <a:gd name="T6" fmla="*/ 0 w 563"/>
                <a:gd name="T7" fmla="*/ 13 h 1271"/>
                <a:gd name="T8" fmla="*/ 0 w 563"/>
                <a:gd name="T9" fmla="*/ 1271 h 1271"/>
              </a:gdLst>
              <a:ahLst/>
              <a:cxnLst>
                <a:cxn ang="0">
                  <a:pos x="T0" y="T1"/>
                </a:cxn>
                <a:cxn ang="0">
                  <a:pos x="T2" y="T3"/>
                </a:cxn>
                <a:cxn ang="0">
                  <a:pos x="T4" y="T5"/>
                </a:cxn>
                <a:cxn ang="0">
                  <a:pos x="T6" y="T7"/>
                </a:cxn>
                <a:cxn ang="0">
                  <a:pos x="T8" y="T9"/>
                </a:cxn>
              </a:cxnLst>
              <a:rect l="0" t="0" r="r" b="b"/>
              <a:pathLst>
                <a:path w="563" h="1271">
                  <a:moveTo>
                    <a:pt x="0" y="1271"/>
                  </a:moveTo>
                  <a:lnTo>
                    <a:pt x="563" y="1271"/>
                  </a:lnTo>
                  <a:lnTo>
                    <a:pt x="7" y="0"/>
                  </a:lnTo>
                  <a:lnTo>
                    <a:pt x="0" y="13"/>
                  </a:lnTo>
                  <a:lnTo>
                    <a:pt x="0" y="1271"/>
                  </a:lnTo>
                  <a:close/>
                </a:path>
              </a:pathLst>
            </a:custGeom>
            <a:solidFill>
              <a:schemeClr val="accent4">
                <a:lumMod val="75000"/>
                <a:alpha val="4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5" name="Rectangle 34"/>
          <p:cNvSpPr/>
          <p:nvPr/>
        </p:nvSpPr>
        <p:spPr>
          <a:xfrm>
            <a:off x="0" y="5963691"/>
            <a:ext cx="9144000" cy="894309"/>
          </a:xfrm>
          <a:prstGeom prst="rect">
            <a:avLst/>
          </a:prstGeom>
          <a:pattFill prst="pct90">
            <a:fgClr>
              <a:schemeClr val="tx1">
                <a:lumMod val="75000"/>
                <a:lumOff val="25000"/>
              </a:schemeClr>
            </a:fgClr>
            <a:bgClr>
              <a:schemeClr val="tx1">
                <a:lumMod val="85000"/>
                <a:lumOff val="1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37" name="TextBox 36"/>
          <p:cNvSpPr txBox="1"/>
          <p:nvPr/>
        </p:nvSpPr>
        <p:spPr>
          <a:xfrm>
            <a:off x="1677243" y="6004043"/>
            <a:ext cx="614272" cy="338554"/>
          </a:xfrm>
          <a:prstGeom prst="rect">
            <a:avLst/>
          </a:prstGeom>
          <a:noFill/>
        </p:spPr>
        <p:txBody>
          <a:bodyPr wrap="none" rtlCol="0">
            <a:spAutoFit/>
          </a:bodyPr>
          <a:lstStyle/>
          <a:p>
            <a:pPr algn="ctr"/>
            <a:r>
              <a:rPr lang="en-US" sz="1600" dirty="0" smtClean="0">
                <a:solidFill>
                  <a:schemeClr val="bg1"/>
                </a:solidFill>
                <a:latin typeface="+mj-lt"/>
              </a:rPr>
              <a:t>1975</a:t>
            </a:r>
            <a:endParaRPr lang="id-ID" sz="1600" dirty="0">
              <a:solidFill>
                <a:schemeClr val="bg1"/>
              </a:solidFill>
              <a:latin typeface="+mj-lt"/>
            </a:endParaRPr>
          </a:p>
        </p:txBody>
      </p:sp>
      <p:sp>
        <p:nvSpPr>
          <p:cNvPr id="38" name="TextBox 37"/>
          <p:cNvSpPr txBox="1"/>
          <p:nvPr/>
        </p:nvSpPr>
        <p:spPr>
          <a:xfrm>
            <a:off x="3090687" y="6015812"/>
            <a:ext cx="614272" cy="338554"/>
          </a:xfrm>
          <a:prstGeom prst="rect">
            <a:avLst/>
          </a:prstGeom>
          <a:noFill/>
        </p:spPr>
        <p:txBody>
          <a:bodyPr wrap="none" rtlCol="0">
            <a:spAutoFit/>
          </a:bodyPr>
          <a:lstStyle/>
          <a:p>
            <a:pPr algn="ctr"/>
            <a:r>
              <a:rPr lang="en-US" sz="1600" dirty="0" smtClean="0">
                <a:solidFill>
                  <a:schemeClr val="bg1"/>
                </a:solidFill>
                <a:latin typeface="+mj-lt"/>
              </a:rPr>
              <a:t>1985</a:t>
            </a:r>
            <a:endParaRPr lang="id-ID" sz="1600" dirty="0">
              <a:solidFill>
                <a:schemeClr val="bg1"/>
              </a:solidFill>
              <a:latin typeface="+mj-lt"/>
            </a:endParaRPr>
          </a:p>
        </p:txBody>
      </p:sp>
      <p:sp>
        <p:nvSpPr>
          <p:cNvPr id="39" name="TextBox 38"/>
          <p:cNvSpPr txBox="1"/>
          <p:nvPr/>
        </p:nvSpPr>
        <p:spPr>
          <a:xfrm>
            <a:off x="4341652" y="6015812"/>
            <a:ext cx="614272" cy="338554"/>
          </a:xfrm>
          <a:prstGeom prst="rect">
            <a:avLst/>
          </a:prstGeom>
          <a:noFill/>
        </p:spPr>
        <p:txBody>
          <a:bodyPr wrap="none" rtlCol="0">
            <a:spAutoFit/>
          </a:bodyPr>
          <a:lstStyle/>
          <a:p>
            <a:pPr algn="ctr"/>
            <a:r>
              <a:rPr lang="en-US" sz="1600" dirty="0" smtClean="0">
                <a:solidFill>
                  <a:schemeClr val="bg1"/>
                </a:solidFill>
                <a:latin typeface="+mj-lt"/>
              </a:rPr>
              <a:t>1995</a:t>
            </a:r>
            <a:endParaRPr lang="id-ID" sz="1600" dirty="0">
              <a:solidFill>
                <a:schemeClr val="bg1"/>
              </a:solidFill>
              <a:latin typeface="+mj-lt"/>
            </a:endParaRPr>
          </a:p>
        </p:txBody>
      </p:sp>
      <p:sp>
        <p:nvSpPr>
          <p:cNvPr id="40" name="TextBox 39"/>
          <p:cNvSpPr txBox="1"/>
          <p:nvPr/>
        </p:nvSpPr>
        <p:spPr>
          <a:xfrm>
            <a:off x="5529467" y="6004043"/>
            <a:ext cx="614272" cy="338554"/>
          </a:xfrm>
          <a:prstGeom prst="rect">
            <a:avLst/>
          </a:prstGeom>
          <a:noFill/>
        </p:spPr>
        <p:txBody>
          <a:bodyPr wrap="none" rtlCol="0">
            <a:spAutoFit/>
          </a:bodyPr>
          <a:lstStyle/>
          <a:p>
            <a:pPr algn="ctr"/>
            <a:r>
              <a:rPr lang="en-US" sz="1600" dirty="0" smtClean="0">
                <a:solidFill>
                  <a:schemeClr val="bg1"/>
                </a:solidFill>
                <a:latin typeface="+mj-lt"/>
              </a:rPr>
              <a:t>2005</a:t>
            </a:r>
            <a:endParaRPr lang="id-ID" sz="1600" dirty="0">
              <a:solidFill>
                <a:schemeClr val="bg1"/>
              </a:solidFill>
              <a:latin typeface="+mj-lt"/>
            </a:endParaRPr>
          </a:p>
        </p:txBody>
      </p:sp>
      <p:sp>
        <p:nvSpPr>
          <p:cNvPr id="41" name="TextBox 40"/>
          <p:cNvSpPr txBox="1"/>
          <p:nvPr/>
        </p:nvSpPr>
        <p:spPr>
          <a:xfrm>
            <a:off x="6824281" y="6004043"/>
            <a:ext cx="614272" cy="338554"/>
          </a:xfrm>
          <a:prstGeom prst="rect">
            <a:avLst/>
          </a:prstGeom>
          <a:noFill/>
        </p:spPr>
        <p:txBody>
          <a:bodyPr wrap="none" rtlCol="0">
            <a:spAutoFit/>
          </a:bodyPr>
          <a:lstStyle/>
          <a:p>
            <a:pPr algn="ctr"/>
            <a:r>
              <a:rPr lang="en-US" sz="1600" dirty="0" smtClean="0">
                <a:solidFill>
                  <a:schemeClr val="bg1"/>
                </a:solidFill>
                <a:latin typeface="+mj-lt"/>
              </a:rPr>
              <a:t>2015</a:t>
            </a:r>
            <a:endParaRPr lang="id-ID" sz="1600" dirty="0">
              <a:solidFill>
                <a:schemeClr val="bg1"/>
              </a:solidFill>
              <a:latin typeface="+mj-lt"/>
            </a:endParaRPr>
          </a:p>
        </p:txBody>
      </p:sp>
      <p:sp>
        <p:nvSpPr>
          <p:cNvPr id="43" name="Freeform 17"/>
          <p:cNvSpPr>
            <a:spLocks/>
          </p:cNvSpPr>
          <p:nvPr/>
        </p:nvSpPr>
        <p:spPr bwMode="auto">
          <a:xfrm>
            <a:off x="7363162" y="2795545"/>
            <a:ext cx="134937" cy="257175"/>
          </a:xfrm>
          <a:custGeom>
            <a:avLst/>
            <a:gdLst>
              <a:gd name="T0" fmla="*/ 0 w 35"/>
              <a:gd name="T1" fmla="*/ 0 h 67"/>
              <a:gd name="T2" fmla="*/ 0 w 35"/>
              <a:gd name="T3" fmla="*/ 67 h 67"/>
              <a:gd name="T4" fmla="*/ 35 w 35"/>
              <a:gd name="T5" fmla="*/ 33 h 67"/>
              <a:gd name="T6" fmla="*/ 0 w 35"/>
              <a:gd name="T7" fmla="*/ 0 h 67"/>
            </a:gdLst>
            <a:ahLst/>
            <a:cxnLst>
              <a:cxn ang="0">
                <a:pos x="T0" y="T1"/>
              </a:cxn>
              <a:cxn ang="0">
                <a:pos x="T2" y="T3"/>
              </a:cxn>
              <a:cxn ang="0">
                <a:pos x="T4" y="T5"/>
              </a:cxn>
              <a:cxn ang="0">
                <a:pos x="T6" y="T7"/>
              </a:cxn>
            </a:cxnLst>
            <a:rect l="0" t="0" r="r" b="b"/>
            <a:pathLst>
              <a:path w="35" h="67">
                <a:moveTo>
                  <a:pt x="0" y="0"/>
                </a:moveTo>
                <a:cubicBezTo>
                  <a:pt x="0" y="67"/>
                  <a:pt x="0" y="67"/>
                  <a:pt x="0" y="67"/>
                </a:cubicBezTo>
                <a:cubicBezTo>
                  <a:pt x="19" y="67"/>
                  <a:pt x="35" y="52"/>
                  <a:pt x="35" y="33"/>
                </a:cubicBezTo>
                <a:cubicBezTo>
                  <a:pt x="35" y="15"/>
                  <a:pt x="19"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TextBox 43"/>
          <p:cNvSpPr txBox="1"/>
          <p:nvPr/>
        </p:nvSpPr>
        <p:spPr>
          <a:xfrm>
            <a:off x="5443495" y="2139393"/>
            <a:ext cx="772969" cy="369332"/>
          </a:xfrm>
          <a:prstGeom prst="rect">
            <a:avLst/>
          </a:prstGeom>
          <a:noFill/>
        </p:spPr>
        <p:txBody>
          <a:bodyPr wrap="none" rtlCol="0">
            <a:spAutoFit/>
          </a:bodyPr>
          <a:lstStyle/>
          <a:p>
            <a:pPr algn="ctr"/>
            <a:r>
              <a:rPr lang="en-US" sz="1800" dirty="0" smtClean="0">
                <a:solidFill>
                  <a:schemeClr val="accent5">
                    <a:lumMod val="75000"/>
                  </a:schemeClr>
                </a:solidFill>
                <a:latin typeface="+mj-lt"/>
              </a:rPr>
              <a:t>18.2%</a:t>
            </a:r>
            <a:endParaRPr lang="id-ID" sz="1800" dirty="0">
              <a:solidFill>
                <a:schemeClr val="accent5">
                  <a:lumMod val="75000"/>
                </a:schemeClr>
              </a:solidFill>
              <a:latin typeface="+mj-lt"/>
            </a:endParaRPr>
          </a:p>
        </p:txBody>
      </p:sp>
      <p:sp>
        <p:nvSpPr>
          <p:cNvPr id="46" name="TextBox 45"/>
          <p:cNvSpPr txBox="1"/>
          <p:nvPr/>
        </p:nvSpPr>
        <p:spPr>
          <a:xfrm>
            <a:off x="2974189" y="3563004"/>
            <a:ext cx="772969" cy="369332"/>
          </a:xfrm>
          <a:prstGeom prst="rect">
            <a:avLst/>
          </a:prstGeom>
          <a:noFill/>
        </p:spPr>
        <p:txBody>
          <a:bodyPr wrap="none" rtlCol="0">
            <a:spAutoFit/>
          </a:bodyPr>
          <a:lstStyle/>
          <a:p>
            <a:pPr algn="ctr"/>
            <a:r>
              <a:rPr lang="en-US" sz="1800" dirty="0" smtClean="0">
                <a:solidFill>
                  <a:schemeClr val="accent3"/>
                </a:solidFill>
                <a:latin typeface="+mj-lt"/>
              </a:rPr>
              <a:t>13.9%</a:t>
            </a:r>
            <a:endParaRPr lang="id-ID" sz="1800" dirty="0">
              <a:solidFill>
                <a:schemeClr val="accent3"/>
              </a:solidFill>
              <a:latin typeface="+mj-lt"/>
            </a:endParaRPr>
          </a:p>
        </p:txBody>
      </p:sp>
      <p:sp>
        <p:nvSpPr>
          <p:cNvPr id="47" name="TextBox 46"/>
          <p:cNvSpPr txBox="1"/>
          <p:nvPr/>
        </p:nvSpPr>
        <p:spPr>
          <a:xfrm>
            <a:off x="1630262" y="3726300"/>
            <a:ext cx="772969" cy="369332"/>
          </a:xfrm>
          <a:prstGeom prst="rect">
            <a:avLst/>
          </a:prstGeom>
          <a:noFill/>
        </p:spPr>
        <p:txBody>
          <a:bodyPr wrap="none" rtlCol="0">
            <a:spAutoFit/>
          </a:bodyPr>
          <a:lstStyle/>
          <a:p>
            <a:pPr algn="ctr"/>
            <a:r>
              <a:rPr lang="en-US" sz="1800" dirty="0" smtClean="0">
                <a:solidFill>
                  <a:schemeClr val="accent2"/>
                </a:solidFill>
                <a:latin typeface="+mj-lt"/>
              </a:rPr>
              <a:t>12.3%</a:t>
            </a:r>
            <a:endParaRPr lang="id-ID" sz="1800" dirty="0">
              <a:solidFill>
                <a:schemeClr val="accent2"/>
              </a:solidFill>
              <a:latin typeface="+mj-lt"/>
            </a:endParaRPr>
          </a:p>
        </p:txBody>
      </p:sp>
      <p:sp>
        <p:nvSpPr>
          <p:cNvPr id="48" name="TextBox 47"/>
          <p:cNvSpPr txBox="1"/>
          <p:nvPr/>
        </p:nvSpPr>
        <p:spPr>
          <a:xfrm>
            <a:off x="6749212" y="1736596"/>
            <a:ext cx="772969" cy="369332"/>
          </a:xfrm>
          <a:prstGeom prst="rect">
            <a:avLst/>
          </a:prstGeom>
          <a:noFill/>
        </p:spPr>
        <p:txBody>
          <a:bodyPr wrap="none" rtlCol="0">
            <a:spAutoFit/>
          </a:bodyPr>
          <a:lstStyle/>
          <a:p>
            <a:pPr algn="ctr"/>
            <a:r>
              <a:rPr lang="en-US" sz="1800" dirty="0" smtClean="0">
                <a:solidFill>
                  <a:schemeClr val="accent6">
                    <a:lumMod val="75000"/>
                  </a:schemeClr>
                </a:solidFill>
                <a:latin typeface="+mj-lt"/>
              </a:rPr>
              <a:t>19.1%</a:t>
            </a:r>
            <a:endParaRPr lang="id-ID" sz="1800" dirty="0">
              <a:solidFill>
                <a:schemeClr val="accent6">
                  <a:lumMod val="75000"/>
                </a:schemeClr>
              </a:solidFill>
              <a:latin typeface="+mj-lt"/>
            </a:endParaRPr>
          </a:p>
        </p:txBody>
      </p:sp>
      <p:sp>
        <p:nvSpPr>
          <p:cNvPr id="50" name="TextBox 49"/>
          <p:cNvSpPr txBox="1"/>
          <p:nvPr/>
        </p:nvSpPr>
        <p:spPr>
          <a:xfrm>
            <a:off x="4275070" y="2625479"/>
            <a:ext cx="772969" cy="369332"/>
          </a:xfrm>
          <a:prstGeom prst="rect">
            <a:avLst/>
          </a:prstGeom>
          <a:noFill/>
        </p:spPr>
        <p:txBody>
          <a:bodyPr wrap="none" rtlCol="0">
            <a:spAutoFit/>
          </a:bodyPr>
          <a:lstStyle/>
          <a:p>
            <a:pPr algn="ctr"/>
            <a:r>
              <a:rPr lang="en-US" sz="1800" dirty="0" smtClean="0">
                <a:solidFill>
                  <a:schemeClr val="accent4"/>
                </a:solidFill>
                <a:latin typeface="+mj-lt"/>
              </a:rPr>
              <a:t>16.1%</a:t>
            </a:r>
            <a:endParaRPr lang="id-ID" sz="1800" dirty="0">
              <a:solidFill>
                <a:schemeClr val="accent4"/>
              </a:solidFill>
              <a:latin typeface="+mj-lt"/>
            </a:endParaRPr>
          </a:p>
        </p:txBody>
      </p:sp>
      <p:sp>
        <p:nvSpPr>
          <p:cNvPr id="52" name="Rectangle 51"/>
          <p:cNvSpPr/>
          <p:nvPr/>
        </p:nvSpPr>
        <p:spPr>
          <a:xfrm>
            <a:off x="1257979" y="6364525"/>
            <a:ext cx="7141554" cy="400110"/>
          </a:xfrm>
          <a:prstGeom prst="rect">
            <a:avLst/>
          </a:prstGeom>
        </p:spPr>
        <p:txBody>
          <a:bodyPr wrap="square">
            <a:spAutoFit/>
          </a:bodyPr>
          <a:lstStyle/>
          <a:p>
            <a:pPr algn="ctr">
              <a:defRPr sz="2400" b="0" i="0" u="none" strike="noStrike" kern="1200" spc="0" baseline="0">
                <a:solidFill>
                  <a:prstClr val="black">
                    <a:lumMod val="65000"/>
                    <a:lumOff val="35000"/>
                  </a:prstClr>
                </a:solidFill>
                <a:latin typeface="+mn-lt"/>
                <a:ea typeface="+mn-ea"/>
                <a:cs typeface="+mn-cs"/>
              </a:defRPr>
            </a:pPr>
            <a:r>
              <a:rPr lang="en-US" sz="2000" dirty="0">
                <a:solidFill>
                  <a:schemeClr val="bg1"/>
                </a:solidFill>
              </a:rPr>
              <a:t>Share of produced calories crossing an international border</a:t>
            </a:r>
          </a:p>
        </p:txBody>
      </p:sp>
      <p:pic>
        <p:nvPicPr>
          <p:cNvPr id="42" name="Picture 4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04" y="284783"/>
            <a:ext cx="525826" cy="830652"/>
          </a:xfrm>
          <a:prstGeom prst="rect">
            <a:avLst/>
          </a:prstGeom>
        </p:spPr>
      </p:pic>
    </p:spTree>
    <p:extLst>
      <p:ext uri="{BB962C8B-B14F-4D97-AF65-F5344CB8AC3E}">
        <p14:creationId xmlns:p14="http://schemas.microsoft.com/office/powerpoint/2010/main" val="886569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fade">
                                      <p:cBhvr>
                                        <p:cTn id="16" dur="500"/>
                                        <p:tgtEl>
                                          <p:spTgt spid="4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500"/>
                                        <p:tgtEl>
                                          <p:spTgt spid="41"/>
                                        </p:tgtEl>
                                      </p:cBhvr>
                                    </p:animEffect>
                                  </p:childTnLst>
                                </p:cTn>
                              </p:par>
                              <p:par>
                                <p:cTn id="20" presetID="42" presetClass="entr" presetSubtype="0" fill="hold" nodeType="with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1000"/>
                                        <p:tgtEl>
                                          <p:spTgt spid="20"/>
                                        </p:tgtEl>
                                      </p:cBhvr>
                                    </p:animEffect>
                                    <p:anim calcmode="lin" valueType="num">
                                      <p:cBhvr>
                                        <p:cTn id="23" dur="1000" fill="hold"/>
                                        <p:tgtEl>
                                          <p:spTgt spid="20"/>
                                        </p:tgtEl>
                                        <p:attrNameLst>
                                          <p:attrName>ppt_x</p:attrName>
                                        </p:attrNameLst>
                                      </p:cBhvr>
                                      <p:tavLst>
                                        <p:tav tm="0">
                                          <p:val>
                                            <p:strVal val="#ppt_x"/>
                                          </p:val>
                                        </p:tav>
                                        <p:tav tm="100000">
                                          <p:val>
                                            <p:strVal val="#ppt_x"/>
                                          </p:val>
                                        </p:tav>
                                      </p:tavLst>
                                    </p:anim>
                                    <p:anim calcmode="lin" valueType="num">
                                      <p:cBhvr>
                                        <p:cTn id="24" dur="1000" fill="hold"/>
                                        <p:tgtEl>
                                          <p:spTgt spid="20"/>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fade">
                                      <p:cBhvr>
                                        <p:cTn id="27" dur="1000"/>
                                        <p:tgtEl>
                                          <p:spTgt spid="26"/>
                                        </p:tgtEl>
                                      </p:cBhvr>
                                    </p:animEffect>
                                    <p:anim calcmode="lin" valueType="num">
                                      <p:cBhvr>
                                        <p:cTn id="28" dur="1000" fill="hold"/>
                                        <p:tgtEl>
                                          <p:spTgt spid="26"/>
                                        </p:tgtEl>
                                        <p:attrNameLst>
                                          <p:attrName>ppt_x</p:attrName>
                                        </p:attrNameLst>
                                      </p:cBhvr>
                                      <p:tavLst>
                                        <p:tav tm="0">
                                          <p:val>
                                            <p:strVal val="#ppt_x"/>
                                          </p:val>
                                        </p:tav>
                                        <p:tav tm="100000">
                                          <p:val>
                                            <p:strVal val="#ppt_x"/>
                                          </p:val>
                                        </p:tav>
                                      </p:tavLst>
                                    </p:anim>
                                    <p:anim calcmode="lin" valueType="num">
                                      <p:cBhvr>
                                        <p:cTn id="29" dur="1000" fill="hold"/>
                                        <p:tgtEl>
                                          <p:spTgt spid="26"/>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32"/>
                                        </p:tgtEl>
                                        <p:attrNameLst>
                                          <p:attrName>style.visibility</p:attrName>
                                        </p:attrNameLst>
                                      </p:cBhvr>
                                      <p:to>
                                        <p:strVal val="visible"/>
                                      </p:to>
                                    </p:set>
                                    <p:animEffect transition="in" filter="fade">
                                      <p:cBhvr>
                                        <p:cTn id="32" dur="1000"/>
                                        <p:tgtEl>
                                          <p:spTgt spid="32"/>
                                        </p:tgtEl>
                                      </p:cBhvr>
                                    </p:animEffect>
                                    <p:anim calcmode="lin" valueType="num">
                                      <p:cBhvr>
                                        <p:cTn id="33" dur="1000" fill="hold"/>
                                        <p:tgtEl>
                                          <p:spTgt spid="32"/>
                                        </p:tgtEl>
                                        <p:attrNameLst>
                                          <p:attrName>ppt_x</p:attrName>
                                        </p:attrNameLst>
                                      </p:cBhvr>
                                      <p:tavLst>
                                        <p:tav tm="0">
                                          <p:val>
                                            <p:strVal val="#ppt_x"/>
                                          </p:val>
                                        </p:tav>
                                        <p:tav tm="100000">
                                          <p:val>
                                            <p:strVal val="#ppt_x"/>
                                          </p:val>
                                        </p:tav>
                                      </p:tavLst>
                                    </p:anim>
                                    <p:anim calcmode="lin" valueType="num">
                                      <p:cBhvr>
                                        <p:cTn id="34" dur="1000" fill="hold"/>
                                        <p:tgtEl>
                                          <p:spTgt spid="32"/>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0"/>
                                  </p:stCondLst>
                                  <p:childTnLst>
                                    <p:set>
                                      <p:cBhvr>
                                        <p:cTn id="36" dur="1" fill="hold">
                                          <p:stCondLst>
                                            <p:cond delay="0"/>
                                          </p:stCondLst>
                                        </p:cTn>
                                        <p:tgtEl>
                                          <p:spTgt spid="29"/>
                                        </p:tgtEl>
                                        <p:attrNameLst>
                                          <p:attrName>style.visibility</p:attrName>
                                        </p:attrNameLst>
                                      </p:cBhvr>
                                      <p:to>
                                        <p:strVal val="visible"/>
                                      </p:to>
                                    </p:set>
                                    <p:animEffect transition="in" filter="fade">
                                      <p:cBhvr>
                                        <p:cTn id="37" dur="1000"/>
                                        <p:tgtEl>
                                          <p:spTgt spid="29"/>
                                        </p:tgtEl>
                                      </p:cBhvr>
                                    </p:animEffect>
                                    <p:anim calcmode="lin" valueType="num">
                                      <p:cBhvr>
                                        <p:cTn id="38" dur="1000" fill="hold"/>
                                        <p:tgtEl>
                                          <p:spTgt spid="29"/>
                                        </p:tgtEl>
                                        <p:attrNameLst>
                                          <p:attrName>ppt_x</p:attrName>
                                        </p:attrNameLst>
                                      </p:cBhvr>
                                      <p:tavLst>
                                        <p:tav tm="0">
                                          <p:val>
                                            <p:strVal val="#ppt_x"/>
                                          </p:val>
                                        </p:tav>
                                        <p:tav tm="100000">
                                          <p:val>
                                            <p:strVal val="#ppt_x"/>
                                          </p:val>
                                        </p:tav>
                                      </p:tavLst>
                                    </p:anim>
                                    <p:anim calcmode="lin" valueType="num">
                                      <p:cBhvr>
                                        <p:cTn id="39" dur="1000" fill="hold"/>
                                        <p:tgtEl>
                                          <p:spTgt spid="29"/>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23"/>
                                        </p:tgtEl>
                                        <p:attrNameLst>
                                          <p:attrName>style.visibility</p:attrName>
                                        </p:attrNameLst>
                                      </p:cBhvr>
                                      <p:to>
                                        <p:strVal val="visible"/>
                                      </p:to>
                                    </p:set>
                                    <p:animEffect transition="in" filter="fade">
                                      <p:cBhvr>
                                        <p:cTn id="42" dur="1000"/>
                                        <p:tgtEl>
                                          <p:spTgt spid="23"/>
                                        </p:tgtEl>
                                      </p:cBhvr>
                                    </p:animEffect>
                                    <p:anim calcmode="lin" valueType="num">
                                      <p:cBhvr>
                                        <p:cTn id="43" dur="1000" fill="hold"/>
                                        <p:tgtEl>
                                          <p:spTgt spid="23"/>
                                        </p:tgtEl>
                                        <p:attrNameLst>
                                          <p:attrName>ppt_x</p:attrName>
                                        </p:attrNameLst>
                                      </p:cBhvr>
                                      <p:tavLst>
                                        <p:tav tm="0">
                                          <p:val>
                                            <p:strVal val="#ppt_x"/>
                                          </p:val>
                                        </p:tav>
                                        <p:tav tm="100000">
                                          <p:val>
                                            <p:strVal val="#ppt_x"/>
                                          </p:val>
                                        </p:tav>
                                      </p:tavLst>
                                    </p:anim>
                                    <p:anim calcmode="lin" valueType="num">
                                      <p:cBhvr>
                                        <p:cTn id="44" dur="1000" fill="hold"/>
                                        <p:tgtEl>
                                          <p:spTgt spid="23"/>
                                        </p:tgtEl>
                                        <p:attrNameLst>
                                          <p:attrName>ppt_y</p:attrName>
                                        </p:attrNameLst>
                                      </p:cBhvr>
                                      <p:tavLst>
                                        <p:tav tm="0">
                                          <p:val>
                                            <p:strVal val="#ppt_y+.1"/>
                                          </p:val>
                                        </p:tav>
                                        <p:tav tm="100000">
                                          <p:val>
                                            <p:strVal val="#ppt_y"/>
                                          </p:val>
                                        </p:tav>
                                      </p:tavLst>
                                    </p:anim>
                                  </p:childTnLst>
                                </p:cTn>
                              </p:par>
                              <p:par>
                                <p:cTn id="45" presetID="22" presetClass="entr" presetSubtype="4" fill="hold" nodeType="withEffect">
                                  <p:stCondLst>
                                    <p:cond delay="0"/>
                                  </p:stCondLst>
                                  <p:childTnLst>
                                    <p:set>
                                      <p:cBhvr>
                                        <p:cTn id="46" dur="1" fill="hold">
                                          <p:stCondLst>
                                            <p:cond delay="0"/>
                                          </p:stCondLst>
                                        </p:cTn>
                                        <p:tgtEl>
                                          <p:spTgt spid="11"/>
                                        </p:tgtEl>
                                        <p:attrNameLst>
                                          <p:attrName>style.visibility</p:attrName>
                                        </p:attrNameLst>
                                      </p:cBhvr>
                                      <p:to>
                                        <p:strVal val="visible"/>
                                      </p:to>
                                    </p:set>
                                    <p:animEffect transition="in" filter="wipe(down)">
                                      <p:cBhvr>
                                        <p:cTn id="47" dur="500"/>
                                        <p:tgtEl>
                                          <p:spTgt spid="11"/>
                                        </p:tgtEl>
                                      </p:cBhvr>
                                    </p:animEffect>
                                  </p:childTnLst>
                                </p:cTn>
                              </p:par>
                              <p:par>
                                <p:cTn id="48" presetID="22" presetClass="entr" presetSubtype="4" fill="hold" nodeType="withEffect">
                                  <p:stCondLst>
                                    <p:cond delay="0"/>
                                  </p:stCondLst>
                                  <p:childTnLst>
                                    <p:set>
                                      <p:cBhvr>
                                        <p:cTn id="49" dur="1" fill="hold">
                                          <p:stCondLst>
                                            <p:cond delay="0"/>
                                          </p:stCondLst>
                                        </p:cTn>
                                        <p:tgtEl>
                                          <p:spTgt spid="12"/>
                                        </p:tgtEl>
                                        <p:attrNameLst>
                                          <p:attrName>style.visibility</p:attrName>
                                        </p:attrNameLst>
                                      </p:cBhvr>
                                      <p:to>
                                        <p:strVal val="visible"/>
                                      </p:to>
                                    </p:set>
                                    <p:animEffect transition="in" filter="wipe(down)">
                                      <p:cBhvr>
                                        <p:cTn id="50" dur="500"/>
                                        <p:tgtEl>
                                          <p:spTgt spid="12"/>
                                        </p:tgtEl>
                                      </p:cBhvr>
                                    </p:animEffect>
                                  </p:childTnLst>
                                </p:cTn>
                              </p:par>
                              <p:par>
                                <p:cTn id="51" presetID="22" presetClass="entr" presetSubtype="4" fill="hold" nodeType="withEffect">
                                  <p:stCondLst>
                                    <p:cond delay="0"/>
                                  </p:stCondLst>
                                  <p:childTnLst>
                                    <p:set>
                                      <p:cBhvr>
                                        <p:cTn id="52" dur="1" fill="hold">
                                          <p:stCondLst>
                                            <p:cond delay="0"/>
                                          </p:stCondLst>
                                        </p:cTn>
                                        <p:tgtEl>
                                          <p:spTgt spid="13"/>
                                        </p:tgtEl>
                                        <p:attrNameLst>
                                          <p:attrName>style.visibility</p:attrName>
                                        </p:attrNameLst>
                                      </p:cBhvr>
                                      <p:to>
                                        <p:strVal val="visible"/>
                                      </p:to>
                                    </p:set>
                                    <p:animEffect transition="in" filter="wipe(down)">
                                      <p:cBhvr>
                                        <p:cTn id="53" dur="500"/>
                                        <p:tgtEl>
                                          <p:spTgt spid="13"/>
                                        </p:tgtEl>
                                      </p:cBhvr>
                                    </p:animEffect>
                                  </p:childTnLst>
                                </p:cTn>
                              </p:par>
                              <p:par>
                                <p:cTn id="54" presetID="22" presetClass="entr" presetSubtype="4" fill="hold" nodeType="withEffect">
                                  <p:stCondLst>
                                    <p:cond delay="0"/>
                                  </p:stCondLst>
                                  <p:childTnLst>
                                    <p:set>
                                      <p:cBhvr>
                                        <p:cTn id="55" dur="1" fill="hold">
                                          <p:stCondLst>
                                            <p:cond delay="0"/>
                                          </p:stCondLst>
                                        </p:cTn>
                                        <p:tgtEl>
                                          <p:spTgt spid="7"/>
                                        </p:tgtEl>
                                        <p:attrNameLst>
                                          <p:attrName>style.visibility</p:attrName>
                                        </p:attrNameLst>
                                      </p:cBhvr>
                                      <p:to>
                                        <p:strVal val="visible"/>
                                      </p:to>
                                    </p:set>
                                    <p:animEffect transition="in" filter="wipe(down)">
                                      <p:cBhvr>
                                        <p:cTn id="56" dur="500"/>
                                        <p:tgtEl>
                                          <p:spTgt spid="7"/>
                                        </p:tgtEl>
                                      </p:cBhvr>
                                    </p:animEffect>
                                  </p:childTnLst>
                                </p:cTn>
                              </p:par>
                              <p:par>
                                <p:cTn id="57" presetID="22" presetClass="entr" presetSubtype="4" fill="hold" nodeType="withEffect">
                                  <p:stCondLst>
                                    <p:cond delay="0"/>
                                  </p:stCondLst>
                                  <p:childTnLst>
                                    <p:set>
                                      <p:cBhvr>
                                        <p:cTn id="58" dur="1" fill="hold">
                                          <p:stCondLst>
                                            <p:cond delay="0"/>
                                          </p:stCondLst>
                                        </p:cTn>
                                        <p:tgtEl>
                                          <p:spTgt spid="9"/>
                                        </p:tgtEl>
                                        <p:attrNameLst>
                                          <p:attrName>style.visibility</p:attrName>
                                        </p:attrNameLst>
                                      </p:cBhvr>
                                      <p:to>
                                        <p:strVal val="visible"/>
                                      </p:to>
                                    </p:set>
                                    <p:animEffect transition="in" filter="wipe(down)">
                                      <p:cBhvr>
                                        <p:cTn id="59" dur="500"/>
                                        <p:tgtEl>
                                          <p:spTgt spid="9"/>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47"/>
                                        </p:tgtEl>
                                        <p:attrNameLst>
                                          <p:attrName>style.visibility</p:attrName>
                                        </p:attrNameLst>
                                      </p:cBhvr>
                                      <p:to>
                                        <p:strVal val="visible"/>
                                      </p:to>
                                    </p:set>
                                    <p:animEffect transition="in" filter="fade">
                                      <p:cBhvr>
                                        <p:cTn id="62" dur="500"/>
                                        <p:tgtEl>
                                          <p:spTgt spid="47"/>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46"/>
                                        </p:tgtEl>
                                        <p:attrNameLst>
                                          <p:attrName>style.visibility</p:attrName>
                                        </p:attrNameLst>
                                      </p:cBhvr>
                                      <p:to>
                                        <p:strVal val="visible"/>
                                      </p:to>
                                    </p:set>
                                    <p:animEffect transition="in" filter="fade">
                                      <p:cBhvr>
                                        <p:cTn id="65" dur="500"/>
                                        <p:tgtEl>
                                          <p:spTgt spid="46"/>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50"/>
                                        </p:tgtEl>
                                        <p:attrNameLst>
                                          <p:attrName>style.visibility</p:attrName>
                                        </p:attrNameLst>
                                      </p:cBhvr>
                                      <p:to>
                                        <p:strVal val="visible"/>
                                      </p:to>
                                    </p:set>
                                    <p:animEffect transition="in" filter="fade">
                                      <p:cBhvr>
                                        <p:cTn id="68" dur="500"/>
                                        <p:tgtEl>
                                          <p:spTgt spid="50"/>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44"/>
                                        </p:tgtEl>
                                        <p:attrNameLst>
                                          <p:attrName>style.visibility</p:attrName>
                                        </p:attrNameLst>
                                      </p:cBhvr>
                                      <p:to>
                                        <p:strVal val="visible"/>
                                      </p:to>
                                    </p:set>
                                    <p:animEffect transition="in" filter="fade">
                                      <p:cBhvr>
                                        <p:cTn id="71" dur="500"/>
                                        <p:tgtEl>
                                          <p:spTgt spid="44"/>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48"/>
                                        </p:tgtEl>
                                        <p:attrNameLst>
                                          <p:attrName>style.visibility</p:attrName>
                                        </p:attrNameLst>
                                      </p:cBhvr>
                                      <p:to>
                                        <p:strVal val="visible"/>
                                      </p:to>
                                    </p:set>
                                    <p:animEffect transition="in" filter="fade">
                                      <p:cBhvr>
                                        <p:cTn id="74"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38" grpId="0"/>
      <p:bldP spid="39" grpId="0"/>
      <p:bldP spid="40" grpId="0"/>
      <p:bldP spid="41" grpId="0"/>
      <p:bldP spid="44" grpId="0"/>
      <p:bldP spid="46" grpId="0"/>
      <p:bldP spid="47" grpId="0"/>
      <p:bldP spid="48" grpId="0"/>
      <p:bldP spid="50"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204896"/>
            <a:ext cx="8229600" cy="868362"/>
          </a:xfrm>
          <a:noFill/>
          <a:ln w="9525">
            <a:noFill/>
            <a:miter lim="800000"/>
            <a:headEnd/>
            <a:tailEnd/>
          </a:ln>
        </p:spPr>
        <p:txBody>
          <a:bodyPr vert="horz" wrap="square" lIns="91440" tIns="18288" rIns="91440" bIns="18288" numCol="1" rtlCol="0" anchor="ctr" anchorCtr="0" compatLnSpc="1">
            <a:prstTxWarp prst="textNoShape">
              <a:avLst/>
            </a:prstTxWarp>
            <a:noAutofit/>
          </a:bodyPr>
          <a:lstStyle/>
          <a:p>
            <a:pPr algn="ctr"/>
            <a:r>
              <a:rPr lang="en-US" sz="2800" b="1" dirty="0">
                <a:solidFill>
                  <a:srgbClr val="000000"/>
                </a:solidFill>
              </a:rPr>
              <a:t>Evolution by region of the price support through border measure</a:t>
            </a:r>
          </a:p>
        </p:txBody>
      </p:sp>
      <p:graphicFrame>
        <p:nvGraphicFramePr>
          <p:cNvPr id="4" name="Content Placeholder 3"/>
          <p:cNvGraphicFramePr>
            <a:graphicFrameLocks noGrp="1"/>
          </p:cNvGraphicFramePr>
          <p:nvPr>
            <p:ph idx="1"/>
            <p:extLst/>
          </p:nvPr>
        </p:nvGraphicFramePr>
        <p:xfrm>
          <a:off x="380326" y="1416106"/>
          <a:ext cx="8399532" cy="5186995"/>
        </p:xfrm>
        <a:graphic>
          <a:graphicData uri="http://schemas.openxmlformats.org/drawingml/2006/chart">
            <c:chart xmlns:c="http://schemas.openxmlformats.org/drawingml/2006/chart" xmlns:r="http://schemas.openxmlformats.org/officeDocument/2006/relationships" r:id="rId3"/>
          </a:graphicData>
        </a:graphic>
      </p:graphicFrame>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3044" y="283714"/>
            <a:ext cx="525826" cy="830652"/>
          </a:xfrm>
          <a:prstGeom prst="rect">
            <a:avLst/>
          </a:prstGeom>
        </p:spPr>
      </p:pic>
    </p:spTree>
    <p:extLst>
      <p:ext uri="{BB962C8B-B14F-4D97-AF65-F5344CB8AC3E}">
        <p14:creationId xmlns:p14="http://schemas.microsoft.com/office/powerpoint/2010/main" val="171504865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9592" y="201954"/>
            <a:ext cx="7119877" cy="994172"/>
          </a:xfrm>
          <a:noFill/>
          <a:ln w="9525">
            <a:noFill/>
            <a:miter lim="800000"/>
            <a:headEnd/>
            <a:tailEnd/>
          </a:ln>
        </p:spPr>
        <p:txBody>
          <a:bodyPr vert="horz" wrap="square" lIns="91440" tIns="18288" rIns="91440" bIns="18288" numCol="1" rtlCol="0" anchor="ctr" anchorCtr="0" compatLnSpc="1">
            <a:prstTxWarp prst="textNoShape">
              <a:avLst/>
            </a:prstTxWarp>
            <a:noAutofit/>
          </a:bodyPr>
          <a:lstStyle/>
          <a:p>
            <a:pPr algn="ctr"/>
            <a:r>
              <a:rPr lang="en-US" sz="2800" b="1" dirty="0">
                <a:solidFill>
                  <a:srgbClr val="000000"/>
                </a:solidFill>
              </a:rPr>
              <a:t>Africa in Global Trade</a:t>
            </a:r>
          </a:p>
        </p:txBody>
      </p:sp>
      <p:sp>
        <p:nvSpPr>
          <p:cNvPr id="4" name="Content Placeholder 3"/>
          <p:cNvSpPr>
            <a:spLocks noGrp="1"/>
          </p:cNvSpPr>
          <p:nvPr>
            <p:ph idx="1"/>
          </p:nvPr>
        </p:nvSpPr>
        <p:spPr>
          <a:xfrm>
            <a:off x="1847269" y="908720"/>
            <a:ext cx="6172200" cy="3813955"/>
          </a:xfrm>
        </p:spPr>
        <p:txBody>
          <a:bodyPr/>
          <a:lstStyle/>
          <a:p>
            <a:pPr marL="0" indent="0">
              <a:buNone/>
            </a:pPr>
            <a:r>
              <a:rPr lang="en-US" sz="1800" dirty="0"/>
              <a:t>After the long decline of the ‘70s-’90s, a reversed trend:</a:t>
            </a:r>
          </a:p>
          <a:p>
            <a:endParaRPr lang="en-US" dirty="0" smtClean="0"/>
          </a:p>
          <a:p>
            <a:endParaRPr lang="en-US" dirty="0"/>
          </a:p>
        </p:txBody>
      </p:sp>
      <p:graphicFrame>
        <p:nvGraphicFramePr>
          <p:cNvPr id="13" name="Chart 12"/>
          <p:cNvGraphicFramePr>
            <a:graphicFrameLocks/>
          </p:cNvGraphicFramePr>
          <p:nvPr>
            <p:extLst>
              <p:ext uri="{D42A27DB-BD31-4B8C-83A1-F6EECF244321}">
                <p14:modId xmlns:p14="http://schemas.microsoft.com/office/powerpoint/2010/main" val="2299447900"/>
              </p:ext>
            </p:extLst>
          </p:nvPr>
        </p:nvGraphicFramePr>
        <p:xfrm>
          <a:off x="140994" y="1821132"/>
          <a:ext cx="5367109" cy="3608309"/>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203044" y="5934670"/>
            <a:ext cx="8617428" cy="707886"/>
          </a:xfrm>
          <a:prstGeom prst="rect">
            <a:avLst/>
          </a:prstGeom>
          <a:noFill/>
        </p:spPr>
        <p:txBody>
          <a:bodyPr wrap="square" rtlCol="0">
            <a:spAutoFit/>
          </a:bodyPr>
          <a:lstStyle/>
          <a:p>
            <a:r>
              <a:rPr lang="en-US" sz="2000" dirty="0"/>
              <a:t>In 15 years, total trade for SSA has been multiplied by 6, agricultural trade by 4.6. </a:t>
            </a:r>
          </a:p>
          <a:p>
            <a:r>
              <a:rPr lang="en-US" sz="2000" dirty="0"/>
              <a:t>In comparison, global trade multiplied by 3.4 and agricultural trade by 2.9.</a:t>
            </a:r>
          </a:p>
        </p:txBody>
      </p:sp>
      <p:graphicFrame>
        <p:nvGraphicFramePr>
          <p:cNvPr id="14" name="Chart 13"/>
          <p:cNvGraphicFramePr>
            <a:graphicFrameLocks/>
          </p:cNvGraphicFramePr>
          <p:nvPr>
            <p:extLst>
              <p:ext uri="{D42A27DB-BD31-4B8C-83A1-F6EECF244321}">
                <p14:modId xmlns:p14="http://schemas.microsoft.com/office/powerpoint/2010/main" val="1714916614"/>
              </p:ext>
            </p:extLst>
          </p:nvPr>
        </p:nvGraphicFramePr>
        <p:xfrm>
          <a:off x="4933369" y="1819329"/>
          <a:ext cx="4383216" cy="3852437"/>
        </p:xfrm>
        <a:graphic>
          <a:graphicData uri="http://schemas.openxmlformats.org/drawingml/2006/chart">
            <c:chart xmlns:c="http://schemas.openxmlformats.org/drawingml/2006/chart" xmlns:r="http://schemas.openxmlformats.org/officeDocument/2006/relationships" r:id="rId4"/>
          </a:graphicData>
        </a:graphic>
      </p:graphicFrame>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3044" y="283714"/>
            <a:ext cx="525826" cy="830652"/>
          </a:xfrm>
          <a:prstGeom prst="rect">
            <a:avLst/>
          </a:prstGeom>
        </p:spPr>
      </p:pic>
    </p:spTree>
    <p:extLst>
      <p:ext uri="{BB962C8B-B14F-4D97-AF65-F5344CB8AC3E}">
        <p14:creationId xmlns:p14="http://schemas.microsoft.com/office/powerpoint/2010/main" val="132037569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99592" y="201954"/>
            <a:ext cx="7886700" cy="994172"/>
          </a:xfrm>
          <a:noFill/>
          <a:ln w="9525">
            <a:noFill/>
            <a:miter lim="800000"/>
            <a:headEnd/>
            <a:tailEnd/>
          </a:ln>
        </p:spPr>
        <p:txBody>
          <a:bodyPr vert="horz" wrap="square" lIns="91440" tIns="18288" rIns="91440" bIns="18288" numCol="1" rtlCol="0" anchor="ctr" anchorCtr="0" compatLnSpc="1">
            <a:prstTxWarp prst="textNoShape">
              <a:avLst/>
            </a:prstTxWarp>
            <a:noAutofit/>
          </a:bodyPr>
          <a:lstStyle/>
          <a:p>
            <a:pPr algn="ctr"/>
            <a:r>
              <a:rPr lang="en-US" sz="2800" b="1" dirty="0">
                <a:solidFill>
                  <a:srgbClr val="000000"/>
                </a:solidFill>
              </a:rPr>
              <a:t>Heterogeneous Performance on Global Agricultural Markets</a:t>
            </a:r>
          </a:p>
        </p:txBody>
      </p:sp>
      <p:graphicFrame>
        <p:nvGraphicFramePr>
          <p:cNvPr id="11" name="Content Placeholder 5"/>
          <p:cNvGraphicFramePr>
            <a:graphicFrameLocks/>
          </p:cNvGraphicFramePr>
          <p:nvPr>
            <p:extLst>
              <p:ext uri="{D42A27DB-BD31-4B8C-83A1-F6EECF244321}">
                <p14:modId xmlns:p14="http://schemas.microsoft.com/office/powerpoint/2010/main" val="271814024"/>
              </p:ext>
            </p:extLst>
          </p:nvPr>
        </p:nvGraphicFramePr>
        <p:xfrm>
          <a:off x="286602" y="1700808"/>
          <a:ext cx="6013589" cy="4536504"/>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p:cNvSpPr txBox="1"/>
          <p:nvPr/>
        </p:nvSpPr>
        <p:spPr>
          <a:xfrm>
            <a:off x="269762" y="6453336"/>
            <a:ext cx="2131189" cy="219291"/>
          </a:xfrm>
          <a:prstGeom prst="rect">
            <a:avLst/>
          </a:prstGeom>
          <a:noFill/>
        </p:spPr>
        <p:txBody>
          <a:bodyPr wrap="square" rtlCol="0">
            <a:spAutoFit/>
          </a:bodyPr>
          <a:lstStyle/>
          <a:p>
            <a:r>
              <a:rPr lang="en-US" sz="825" i="1" dirty="0"/>
              <a:t>Source: </a:t>
            </a:r>
            <a:r>
              <a:rPr lang="en-US" sz="825" i="1" dirty="0">
                <a:hlinkClick r:id="rId4"/>
              </a:rPr>
              <a:t>Bouet, </a:t>
            </a:r>
            <a:r>
              <a:rPr lang="en-US" sz="825" i="1" dirty="0" err="1">
                <a:hlinkClick r:id="rId4"/>
              </a:rPr>
              <a:t>Deason</a:t>
            </a:r>
            <a:r>
              <a:rPr lang="en-US" sz="825" i="1" dirty="0">
                <a:hlinkClick r:id="rId4"/>
              </a:rPr>
              <a:t> and Laborde (2014)</a:t>
            </a:r>
            <a:endParaRPr lang="en-US" sz="825" i="1" dirty="0"/>
          </a:p>
        </p:txBody>
      </p:sp>
      <p:sp>
        <p:nvSpPr>
          <p:cNvPr id="13" name="TextBox 12"/>
          <p:cNvSpPr txBox="1"/>
          <p:nvPr/>
        </p:nvSpPr>
        <p:spPr>
          <a:xfrm>
            <a:off x="6084168" y="1844824"/>
            <a:ext cx="2879168" cy="1754326"/>
          </a:xfrm>
          <a:prstGeom prst="rect">
            <a:avLst/>
          </a:prstGeom>
          <a:noFill/>
        </p:spPr>
        <p:txBody>
          <a:bodyPr wrap="square" rtlCol="0">
            <a:spAutoFit/>
          </a:bodyPr>
          <a:lstStyle/>
          <a:p>
            <a:r>
              <a:rPr lang="en-US" sz="1350" dirty="0"/>
              <a:t>Explaining a country’s performance and defining the right benchmark:</a:t>
            </a:r>
          </a:p>
          <a:p>
            <a:pPr marL="214313" indent="-214313">
              <a:buFont typeface="Arial" panose="020B0604020202020204" pitchFamily="34" charset="0"/>
              <a:buChar char="•"/>
            </a:pPr>
            <a:r>
              <a:rPr lang="en-US" sz="1350" dirty="0"/>
              <a:t>Being specialized in the right products?</a:t>
            </a:r>
          </a:p>
          <a:p>
            <a:pPr marL="214313" indent="-214313">
              <a:buFont typeface="Arial" panose="020B0604020202020204" pitchFamily="34" charset="0"/>
              <a:buChar char="•"/>
            </a:pPr>
            <a:r>
              <a:rPr lang="en-US" sz="1350" dirty="0"/>
              <a:t>Being specialized in the booming markets?</a:t>
            </a:r>
          </a:p>
          <a:p>
            <a:pPr marL="214313" indent="-214313">
              <a:buFont typeface="Arial" panose="020B0604020202020204" pitchFamily="34" charset="0"/>
              <a:buChar char="•"/>
            </a:pPr>
            <a:r>
              <a:rPr lang="en-US" sz="1350" dirty="0"/>
              <a:t>Improving its own competitiveness?</a:t>
            </a:r>
          </a:p>
        </p:txBody>
      </p:sp>
      <p:sp>
        <p:nvSpPr>
          <p:cNvPr id="14" name="TextBox 13"/>
          <p:cNvSpPr txBox="1"/>
          <p:nvPr/>
        </p:nvSpPr>
        <p:spPr>
          <a:xfrm>
            <a:off x="6084168" y="3729736"/>
            <a:ext cx="2879168" cy="2377574"/>
          </a:xfrm>
          <a:prstGeom prst="rect">
            <a:avLst/>
          </a:prstGeom>
          <a:noFill/>
        </p:spPr>
        <p:txBody>
          <a:bodyPr wrap="square" rtlCol="0">
            <a:spAutoFit/>
          </a:bodyPr>
          <a:lstStyle/>
          <a:p>
            <a:r>
              <a:rPr lang="en-US" sz="1350" dirty="0"/>
              <a:t>During this period, exports have:</a:t>
            </a:r>
          </a:p>
          <a:p>
            <a:pPr marL="214313" indent="-214313">
              <a:buFont typeface="Arial" panose="020B0604020202020204" pitchFamily="34" charset="0"/>
              <a:buChar char="•"/>
            </a:pPr>
            <a:r>
              <a:rPr lang="en-US" sz="1350" dirty="0"/>
              <a:t>decreased by 20 M USD for C.A.R (bad performance in absolute and relative terms).</a:t>
            </a:r>
          </a:p>
          <a:p>
            <a:pPr marL="214313" indent="-214313">
              <a:buFont typeface="Arial" panose="020B0604020202020204" pitchFamily="34" charset="0"/>
              <a:buChar char="•"/>
            </a:pPr>
            <a:r>
              <a:rPr lang="en-US" sz="1350" dirty="0"/>
              <a:t>increased by 150 M USD for Uganda (bad performance in relative terms).</a:t>
            </a:r>
          </a:p>
          <a:p>
            <a:pPr marL="214313" indent="-214313">
              <a:buFont typeface="Arial" panose="020B0604020202020204" pitchFamily="34" charset="0"/>
              <a:buChar char="•"/>
            </a:pPr>
            <a:r>
              <a:rPr lang="en-US" sz="1350" dirty="0"/>
              <a:t>increased by 88 M USD for Rwanda (good performance in absolute and relative terms).</a:t>
            </a:r>
          </a:p>
          <a:p>
            <a:pPr marL="214313" indent="-214313">
              <a:buFont typeface="Arial" panose="020B0604020202020204" pitchFamily="34" charset="0"/>
              <a:buChar char="•"/>
            </a:pPr>
            <a:endParaRPr lang="en-US" sz="1350" dirty="0"/>
          </a:p>
        </p:txBody>
      </p:sp>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3044" y="283714"/>
            <a:ext cx="525826" cy="830652"/>
          </a:xfrm>
          <a:prstGeom prst="rect">
            <a:avLst/>
          </a:prstGeom>
        </p:spPr>
      </p:pic>
    </p:spTree>
    <p:extLst>
      <p:ext uri="{BB962C8B-B14F-4D97-AF65-F5344CB8AC3E}">
        <p14:creationId xmlns:p14="http://schemas.microsoft.com/office/powerpoint/2010/main" val="382533536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half" idx="1"/>
          </p:nvPr>
        </p:nvSpPr>
        <p:spPr>
          <a:xfrm>
            <a:off x="0" y="1340768"/>
            <a:ext cx="3993053" cy="4968552"/>
          </a:xfrm>
        </p:spPr>
        <p:txBody>
          <a:bodyPr>
            <a:noAutofit/>
          </a:bodyPr>
          <a:lstStyle/>
          <a:p>
            <a:pPr>
              <a:spcBef>
                <a:spcPts val="0"/>
              </a:spcBef>
            </a:pPr>
            <a:r>
              <a:rPr lang="en-US" sz="1800" dirty="0"/>
              <a:t>Need to differentiate short term variation and medium/long term modification of the trend.</a:t>
            </a:r>
          </a:p>
          <a:p>
            <a:pPr>
              <a:spcBef>
                <a:spcPts val="0"/>
              </a:spcBef>
            </a:pPr>
            <a:endParaRPr lang="en-US" sz="1800" dirty="0"/>
          </a:p>
          <a:p>
            <a:pPr>
              <a:spcBef>
                <a:spcPts val="0"/>
              </a:spcBef>
            </a:pPr>
            <a:r>
              <a:rPr lang="en-US" sz="1800" dirty="0"/>
              <a:t>Different policy responses on both energy and agricultural, and macroeconomic policies.</a:t>
            </a:r>
          </a:p>
          <a:p>
            <a:pPr>
              <a:spcBef>
                <a:spcPts val="0"/>
              </a:spcBef>
            </a:pPr>
            <a:endParaRPr lang="en-US" sz="1800" dirty="0"/>
          </a:p>
          <a:p>
            <a:pPr>
              <a:spcBef>
                <a:spcPts val="0"/>
              </a:spcBef>
            </a:pPr>
            <a:r>
              <a:rPr lang="en-US" sz="1800" dirty="0"/>
              <a:t>In SSA, weak institutions, capital, financial and insurance markets: incremental costs of volatility.</a:t>
            </a:r>
          </a:p>
          <a:p>
            <a:pPr>
              <a:spcBef>
                <a:spcPts val="0"/>
              </a:spcBef>
            </a:pPr>
            <a:endParaRPr lang="en-US" sz="1800" dirty="0"/>
          </a:p>
          <a:p>
            <a:pPr>
              <a:spcBef>
                <a:spcPts val="0"/>
              </a:spcBef>
            </a:pPr>
            <a:r>
              <a:rPr lang="en-US" sz="1800" dirty="0"/>
              <a:t>Energy and food prices: high level of distortions, and huge heterogeneity of policies within the continent.</a:t>
            </a:r>
          </a:p>
          <a:p>
            <a:pPr>
              <a:spcBef>
                <a:spcPts val="0"/>
              </a:spcBef>
            </a:pPr>
            <a:endParaRPr lang="en-US" sz="1800" dirty="0"/>
          </a:p>
          <a:p>
            <a:pPr>
              <a:spcBef>
                <a:spcPts val="0"/>
              </a:spcBef>
            </a:pPr>
            <a:r>
              <a:rPr lang="en-US" sz="1800" dirty="0"/>
              <a:t>From energy to food prices: many links (inputs, fertilizers, transports, biofuels).</a:t>
            </a:r>
          </a:p>
        </p:txBody>
      </p:sp>
      <p:sp>
        <p:nvSpPr>
          <p:cNvPr id="2" name="Title 1"/>
          <p:cNvSpPr>
            <a:spLocks noGrp="1"/>
          </p:cNvSpPr>
          <p:nvPr>
            <p:ph type="title"/>
          </p:nvPr>
        </p:nvSpPr>
        <p:spPr>
          <a:xfrm>
            <a:off x="827584" y="188640"/>
            <a:ext cx="7450825" cy="994172"/>
          </a:xfrm>
          <a:noFill/>
          <a:ln w="9525">
            <a:noFill/>
            <a:miter lim="800000"/>
            <a:headEnd/>
            <a:tailEnd/>
          </a:ln>
        </p:spPr>
        <p:txBody>
          <a:bodyPr vert="horz" wrap="square" lIns="91440" tIns="18288" rIns="91440" bIns="18288" numCol="1" rtlCol="0" anchor="ctr" anchorCtr="0" compatLnSpc="1">
            <a:prstTxWarp prst="textNoShape">
              <a:avLst/>
            </a:prstTxWarp>
            <a:noAutofit/>
          </a:bodyPr>
          <a:lstStyle/>
          <a:p>
            <a:pPr algn="ctr"/>
            <a:r>
              <a:rPr lang="en-US" sz="2800" b="1" dirty="0">
                <a:solidFill>
                  <a:srgbClr val="000000"/>
                </a:solidFill>
              </a:rPr>
              <a:t>Implications of Changing Prices and Demand for Energy and Food</a:t>
            </a:r>
          </a:p>
        </p:txBody>
      </p:sp>
      <p:graphicFrame>
        <p:nvGraphicFramePr>
          <p:cNvPr id="5" name="Chart 4"/>
          <p:cNvGraphicFramePr>
            <a:graphicFrameLocks noGrp="1"/>
          </p:cNvGraphicFramePr>
          <p:nvPr>
            <p:extLst>
              <p:ext uri="{D42A27DB-BD31-4B8C-83A1-F6EECF244321}">
                <p14:modId xmlns:p14="http://schemas.microsoft.com/office/powerpoint/2010/main" val="3759591436"/>
              </p:ext>
            </p:extLst>
          </p:nvPr>
        </p:nvGraphicFramePr>
        <p:xfrm>
          <a:off x="3995936" y="1628800"/>
          <a:ext cx="4917989" cy="4409837"/>
        </p:xfrm>
        <a:graphic>
          <a:graphicData uri="http://schemas.openxmlformats.org/drawingml/2006/chart">
            <c:chart xmlns:c="http://schemas.openxmlformats.org/drawingml/2006/chart" xmlns:r="http://schemas.openxmlformats.org/officeDocument/2006/relationships" r:id="rId3"/>
          </a:graphicData>
        </a:graphic>
      </p:graphicFrame>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1747" y="188640"/>
            <a:ext cx="525826" cy="830652"/>
          </a:xfrm>
          <a:prstGeom prst="rect">
            <a:avLst/>
          </a:prstGeom>
        </p:spPr>
      </p:pic>
    </p:spTree>
    <p:extLst>
      <p:ext uri="{BB962C8B-B14F-4D97-AF65-F5344CB8AC3E}">
        <p14:creationId xmlns:p14="http://schemas.microsoft.com/office/powerpoint/2010/main" val="280132668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1991" y="77858"/>
            <a:ext cx="7491768" cy="994172"/>
          </a:xfrm>
          <a:noFill/>
          <a:ln w="9525">
            <a:noFill/>
            <a:miter lim="800000"/>
            <a:headEnd/>
            <a:tailEnd/>
          </a:ln>
        </p:spPr>
        <p:txBody>
          <a:bodyPr vert="horz" wrap="square" lIns="91440" tIns="18288" rIns="91440" bIns="18288" numCol="1" rtlCol="0" anchor="ctr" anchorCtr="0" compatLnSpc="1">
            <a:prstTxWarp prst="textNoShape">
              <a:avLst/>
            </a:prstTxWarp>
            <a:noAutofit/>
          </a:bodyPr>
          <a:lstStyle/>
          <a:p>
            <a:pPr algn="ctr" defTabSz="914400"/>
            <a:r>
              <a:rPr lang="en-US" sz="2800" b="1" dirty="0">
                <a:solidFill>
                  <a:srgbClr val="000000"/>
                </a:solidFill>
                <a:latin typeface="Arial" pitchFamily="34" charset="0"/>
                <a:cs typeface="Arial" pitchFamily="34" charset="0"/>
              </a:rPr>
              <a:t>Looking at the Past</a:t>
            </a:r>
          </a:p>
        </p:txBody>
      </p:sp>
      <p:sp>
        <p:nvSpPr>
          <p:cNvPr id="3" name="Content Placeholder 2"/>
          <p:cNvSpPr>
            <a:spLocks noGrp="1"/>
          </p:cNvSpPr>
          <p:nvPr>
            <p:ph idx="1"/>
          </p:nvPr>
        </p:nvSpPr>
        <p:spPr>
          <a:xfrm>
            <a:off x="736879" y="1164845"/>
            <a:ext cx="7886700" cy="3263504"/>
          </a:xfrm>
        </p:spPr>
        <p:txBody>
          <a:bodyPr>
            <a:normAutofit/>
          </a:bodyPr>
          <a:lstStyle/>
          <a:p>
            <a:r>
              <a:rPr lang="en-US" dirty="0"/>
              <a:t>Increased regional integration, especially when looking at the nutritional contents of trade </a:t>
            </a:r>
            <a:r>
              <a:rPr lang="en-US" dirty="0" smtClean="0"/>
              <a:t>flows.</a:t>
            </a:r>
            <a:endParaRPr lang="en-US" dirty="0"/>
          </a:p>
        </p:txBody>
      </p:sp>
      <p:pic>
        <p:nvPicPr>
          <p:cNvPr id="5" name="Picture 4"/>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3147" y="1827944"/>
            <a:ext cx="6756170" cy="1627485"/>
          </a:xfrm>
          <a:prstGeom prst="rect">
            <a:avLst/>
          </a:prstGeom>
          <a:noFill/>
          <a:ln>
            <a:noFill/>
          </a:ln>
        </p:spPr>
      </p:pic>
      <p:pic>
        <p:nvPicPr>
          <p:cNvPr id="6" name="Picture 5"/>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15616" y="4419146"/>
            <a:ext cx="5312390" cy="1536101"/>
          </a:xfrm>
          <a:prstGeom prst="rect">
            <a:avLst/>
          </a:prstGeom>
          <a:noFill/>
          <a:ln>
            <a:noFill/>
          </a:ln>
        </p:spPr>
      </p:pic>
      <p:sp>
        <p:nvSpPr>
          <p:cNvPr id="4" name="TextBox 3"/>
          <p:cNvSpPr txBox="1"/>
          <p:nvPr/>
        </p:nvSpPr>
        <p:spPr>
          <a:xfrm>
            <a:off x="1763688" y="6346170"/>
            <a:ext cx="4165156" cy="300082"/>
          </a:xfrm>
          <a:prstGeom prst="rect">
            <a:avLst/>
          </a:prstGeom>
          <a:noFill/>
        </p:spPr>
        <p:txBody>
          <a:bodyPr wrap="square" rtlCol="0">
            <a:spAutoFit/>
          </a:bodyPr>
          <a:lstStyle/>
          <a:p>
            <a:r>
              <a:rPr lang="en-US" sz="1350" dirty="0">
                <a:solidFill>
                  <a:prstClr val="black"/>
                </a:solidFill>
              </a:rPr>
              <a:t>1/3 of the calories exported by Africa, go to Africa</a:t>
            </a:r>
          </a:p>
        </p:txBody>
      </p:sp>
      <p:sp>
        <p:nvSpPr>
          <p:cNvPr id="7" name="Up Arrow 6"/>
          <p:cNvSpPr/>
          <p:nvPr/>
        </p:nvSpPr>
        <p:spPr>
          <a:xfrm>
            <a:off x="3084433" y="3356992"/>
            <a:ext cx="254488" cy="330351"/>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8" name="Up Arrow 7"/>
          <p:cNvSpPr/>
          <p:nvPr/>
        </p:nvSpPr>
        <p:spPr>
          <a:xfrm>
            <a:off x="3059522" y="5877272"/>
            <a:ext cx="411067" cy="487121"/>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9" name="TextBox 8"/>
          <p:cNvSpPr txBox="1"/>
          <p:nvPr/>
        </p:nvSpPr>
        <p:spPr>
          <a:xfrm>
            <a:off x="624142" y="3638872"/>
            <a:ext cx="4523922" cy="707886"/>
          </a:xfrm>
          <a:prstGeom prst="rect">
            <a:avLst/>
          </a:prstGeom>
          <a:noFill/>
        </p:spPr>
        <p:txBody>
          <a:bodyPr wrap="square" rtlCol="0">
            <a:spAutoFit/>
          </a:bodyPr>
          <a:lstStyle/>
          <a:p>
            <a:r>
              <a:rPr lang="en-US" sz="2000" dirty="0">
                <a:solidFill>
                  <a:prstClr val="black"/>
                </a:solidFill>
              </a:rPr>
              <a:t>Role of African intra-trade  over the previous decade has more than doubled.</a:t>
            </a:r>
          </a:p>
        </p:txBody>
      </p:sp>
      <p:sp>
        <p:nvSpPr>
          <p:cNvPr id="11" name="TextBox 10"/>
          <p:cNvSpPr txBox="1"/>
          <p:nvPr/>
        </p:nvSpPr>
        <p:spPr>
          <a:xfrm>
            <a:off x="7860746" y="2333181"/>
            <a:ext cx="1756525" cy="1631216"/>
          </a:xfrm>
          <a:prstGeom prst="rect">
            <a:avLst/>
          </a:prstGeom>
          <a:noFill/>
        </p:spPr>
        <p:txBody>
          <a:bodyPr wrap="square" rtlCol="0">
            <a:spAutoFit/>
          </a:bodyPr>
          <a:lstStyle/>
          <a:p>
            <a:r>
              <a:rPr lang="en-US" sz="2000" i="1" dirty="0">
                <a:solidFill>
                  <a:prstClr val="black"/>
                </a:solidFill>
              </a:rPr>
              <a:t>Shift in external suppliers among Americas.</a:t>
            </a:r>
          </a:p>
        </p:txBody>
      </p:sp>
      <p:cxnSp>
        <p:nvCxnSpPr>
          <p:cNvPr id="18" name="Elbow Connector 17"/>
          <p:cNvCxnSpPr/>
          <p:nvPr/>
        </p:nvCxnSpPr>
        <p:spPr>
          <a:xfrm rot="16200000" flipV="1">
            <a:off x="5085229" y="3419828"/>
            <a:ext cx="260227" cy="13455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Elbow Connector 23"/>
          <p:cNvCxnSpPr/>
          <p:nvPr/>
        </p:nvCxnSpPr>
        <p:spPr>
          <a:xfrm flipV="1">
            <a:off x="5801034" y="3412078"/>
            <a:ext cx="499158" cy="205142"/>
          </a:xfrm>
          <a:prstGeom prst="bentConnector3">
            <a:avLst>
              <a:gd name="adj1" fmla="val 10043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Elbow Connector 26"/>
          <p:cNvCxnSpPr/>
          <p:nvPr/>
        </p:nvCxnSpPr>
        <p:spPr>
          <a:xfrm flipV="1">
            <a:off x="5282621" y="3502872"/>
            <a:ext cx="2578125" cy="104382"/>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6084168" y="6429282"/>
            <a:ext cx="2952327" cy="276999"/>
          </a:xfrm>
          <a:prstGeom prst="rect">
            <a:avLst/>
          </a:prstGeom>
          <a:noFill/>
        </p:spPr>
        <p:txBody>
          <a:bodyPr wrap="square" rtlCol="0">
            <a:spAutoFit/>
          </a:bodyPr>
          <a:lstStyle/>
          <a:p>
            <a:r>
              <a:rPr lang="en-US" sz="1200" i="1" dirty="0">
                <a:solidFill>
                  <a:prstClr val="black"/>
                </a:solidFill>
              </a:rPr>
              <a:t>Source: </a:t>
            </a:r>
            <a:r>
              <a:rPr lang="en-US" sz="1200" i="1" dirty="0">
                <a:solidFill>
                  <a:prstClr val="black"/>
                </a:solidFill>
                <a:hlinkClick r:id="rId4"/>
              </a:rPr>
              <a:t>Bouet, </a:t>
            </a:r>
            <a:r>
              <a:rPr lang="en-US" sz="1200" i="1" dirty="0" err="1">
                <a:solidFill>
                  <a:prstClr val="black"/>
                </a:solidFill>
                <a:hlinkClick r:id="rId4"/>
              </a:rPr>
              <a:t>Deason</a:t>
            </a:r>
            <a:r>
              <a:rPr lang="en-US" sz="1200" i="1" dirty="0">
                <a:solidFill>
                  <a:prstClr val="black"/>
                </a:solidFill>
                <a:hlinkClick r:id="rId4"/>
              </a:rPr>
              <a:t> and Laborde (2014)</a:t>
            </a:r>
            <a:endParaRPr lang="en-US" sz="1200" i="1" dirty="0">
              <a:solidFill>
                <a:prstClr val="black"/>
              </a:solidFill>
            </a:endParaRPr>
          </a:p>
        </p:txBody>
      </p:sp>
      <p:pic>
        <p:nvPicPr>
          <p:cNvPr id="16" name="Pictur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1747" y="188640"/>
            <a:ext cx="525826" cy="830652"/>
          </a:xfrm>
          <a:prstGeom prst="rect">
            <a:avLst/>
          </a:prstGeom>
        </p:spPr>
      </p:pic>
    </p:spTree>
    <p:extLst>
      <p:ext uri="{BB962C8B-B14F-4D97-AF65-F5344CB8AC3E}">
        <p14:creationId xmlns:p14="http://schemas.microsoft.com/office/powerpoint/2010/main" val="229360127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1213" y="106880"/>
            <a:ext cx="7886700" cy="994172"/>
          </a:xfrm>
          <a:noFill/>
          <a:ln w="9525">
            <a:noFill/>
            <a:miter lim="800000"/>
            <a:headEnd/>
            <a:tailEnd/>
          </a:ln>
        </p:spPr>
        <p:txBody>
          <a:bodyPr vert="horz" wrap="square" lIns="91440" tIns="18288" rIns="91440" bIns="18288" numCol="1" rtlCol="0" anchor="ctr" anchorCtr="0" compatLnSpc="1">
            <a:prstTxWarp prst="textNoShape">
              <a:avLst/>
            </a:prstTxWarp>
            <a:noAutofit/>
          </a:bodyPr>
          <a:lstStyle/>
          <a:p>
            <a:pPr algn="ctr" defTabSz="914400"/>
            <a:r>
              <a:rPr lang="en-US" sz="2800" b="1" dirty="0">
                <a:solidFill>
                  <a:srgbClr val="000000"/>
                </a:solidFill>
                <a:latin typeface="Arial" pitchFamily="34" charset="0"/>
                <a:cs typeface="Arial" pitchFamily="34" charset="0"/>
              </a:rPr>
              <a:t>How Will Intra-African Trade Perform?</a:t>
            </a:r>
          </a:p>
        </p:txBody>
      </p:sp>
      <p:sp>
        <p:nvSpPr>
          <p:cNvPr id="3" name="Content Placeholder 2"/>
          <p:cNvSpPr>
            <a:spLocks noGrp="1"/>
          </p:cNvSpPr>
          <p:nvPr>
            <p:ph idx="1"/>
          </p:nvPr>
        </p:nvSpPr>
        <p:spPr>
          <a:xfrm>
            <a:off x="467543" y="1412776"/>
            <a:ext cx="8230369" cy="5184576"/>
          </a:xfrm>
        </p:spPr>
        <p:txBody>
          <a:bodyPr>
            <a:noAutofit/>
          </a:bodyPr>
          <a:lstStyle/>
          <a:p>
            <a:r>
              <a:rPr lang="en-US" sz="1600" dirty="0"/>
              <a:t>Under a business as usual scenario? +122% in </a:t>
            </a:r>
            <a:r>
              <a:rPr lang="en-US" sz="1600" dirty="0" smtClean="0"/>
              <a:t>average</a:t>
            </a:r>
          </a:p>
          <a:p>
            <a:endParaRPr lang="en-US" sz="1600" dirty="0"/>
          </a:p>
          <a:p>
            <a:endParaRPr lang="en-US" sz="1600" dirty="0" smtClean="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endParaRPr lang="en-US" sz="1600" dirty="0"/>
          </a:p>
          <a:p>
            <a:r>
              <a:rPr lang="en-US" sz="1600" dirty="0"/>
              <a:t>Which levers could we use to reach the CAADP target (+200% from 2014 to 2025, Malabo Declaration)?</a:t>
            </a:r>
          </a:p>
          <a:p>
            <a:pPr lvl="1"/>
            <a:r>
              <a:rPr lang="en-US" sz="1600" dirty="0"/>
              <a:t>Addressing trade policy barriers</a:t>
            </a:r>
          </a:p>
          <a:p>
            <a:pPr lvl="1"/>
            <a:r>
              <a:rPr lang="en-US" sz="1600" dirty="0"/>
              <a:t>Improving infrastructure</a:t>
            </a:r>
          </a:p>
        </p:txBody>
      </p:sp>
      <p:sp>
        <p:nvSpPr>
          <p:cNvPr id="4" name="TextBox 3"/>
          <p:cNvSpPr txBox="1"/>
          <p:nvPr/>
        </p:nvSpPr>
        <p:spPr>
          <a:xfrm>
            <a:off x="6084168" y="6412686"/>
            <a:ext cx="2821329" cy="369332"/>
          </a:xfrm>
          <a:prstGeom prst="rect">
            <a:avLst/>
          </a:prstGeom>
          <a:noFill/>
        </p:spPr>
        <p:txBody>
          <a:bodyPr wrap="square" rtlCol="0">
            <a:spAutoFit/>
          </a:bodyPr>
          <a:lstStyle/>
          <a:p>
            <a:r>
              <a:rPr lang="en-US" sz="900" i="1" dirty="0">
                <a:solidFill>
                  <a:prstClr val="black"/>
                </a:solidFill>
              </a:rPr>
              <a:t>Source: MIRAGRODEP model simulations, </a:t>
            </a:r>
            <a:r>
              <a:rPr lang="en-US" sz="900" i="1" dirty="0">
                <a:solidFill>
                  <a:prstClr val="black"/>
                </a:solidFill>
                <a:hlinkClick r:id="rId3"/>
              </a:rPr>
              <a:t>Bouet, Deason and Laborde (2014)</a:t>
            </a:r>
            <a:endParaRPr lang="en-US" sz="900" i="1" dirty="0">
              <a:solidFill>
                <a:prstClr val="black"/>
              </a:solidFill>
            </a:endParaRPr>
          </a:p>
        </p:txBody>
      </p:sp>
      <p:graphicFrame>
        <p:nvGraphicFramePr>
          <p:cNvPr id="5" name="Chart 4"/>
          <p:cNvGraphicFramePr>
            <a:graphicFrameLocks/>
          </p:cNvGraphicFramePr>
          <p:nvPr>
            <p:extLst>
              <p:ext uri="{D42A27DB-BD31-4B8C-83A1-F6EECF244321}">
                <p14:modId xmlns:p14="http://schemas.microsoft.com/office/powerpoint/2010/main" val="1292362690"/>
              </p:ext>
            </p:extLst>
          </p:nvPr>
        </p:nvGraphicFramePr>
        <p:xfrm>
          <a:off x="155040" y="2065815"/>
          <a:ext cx="5717464" cy="337310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Table 5"/>
          <p:cNvGraphicFramePr>
            <a:graphicFrameLocks noGrp="1"/>
          </p:cNvGraphicFramePr>
          <p:nvPr>
            <p:extLst>
              <p:ext uri="{D42A27DB-BD31-4B8C-83A1-F6EECF244321}">
                <p14:modId xmlns:p14="http://schemas.microsoft.com/office/powerpoint/2010/main" val="1329762890"/>
              </p:ext>
            </p:extLst>
          </p:nvPr>
        </p:nvGraphicFramePr>
        <p:xfrm>
          <a:off x="5580112" y="2090295"/>
          <a:ext cx="3404470" cy="1350350"/>
        </p:xfrm>
        <a:graphic>
          <a:graphicData uri="http://schemas.openxmlformats.org/drawingml/2006/table">
            <a:tbl>
              <a:tblPr firstRow="1" firstCol="1">
                <a:tableStyleId>{ED083AE6-46FA-4A59-8FB0-9F97EB10719F}</a:tableStyleId>
              </a:tblPr>
              <a:tblGrid>
                <a:gridCol w="680894"/>
                <a:gridCol w="680894"/>
                <a:gridCol w="680894"/>
                <a:gridCol w="680894"/>
                <a:gridCol w="680894"/>
              </a:tblGrid>
              <a:tr h="270070">
                <a:tc>
                  <a:txBody>
                    <a:bodyPr/>
                    <a:lstStyle/>
                    <a:p>
                      <a:pPr algn="l" fontAlgn="b"/>
                      <a:endParaRPr lang="en-US" sz="1100" b="0" i="0" u="none" strike="noStrike" dirty="0">
                        <a:solidFill>
                          <a:srgbClr val="000000"/>
                        </a:solidFill>
                        <a:effectLst/>
                        <a:latin typeface="Calibri" panose="020F0502020204030204" pitchFamily="34" charset="0"/>
                      </a:endParaRPr>
                    </a:p>
                  </a:txBody>
                  <a:tcPr marL="7144" marR="7144" marT="7144" marB="0" anchor="b"/>
                </a:tc>
                <a:tc>
                  <a:txBody>
                    <a:bodyPr/>
                    <a:lstStyle/>
                    <a:p>
                      <a:pPr algn="l" fontAlgn="b"/>
                      <a:r>
                        <a:rPr lang="en-US" sz="1100" u="none" strike="noStrike">
                          <a:effectLst/>
                        </a:rPr>
                        <a:t>CEMAC</a:t>
                      </a:r>
                      <a:endParaRPr lang="en-US" sz="1100" b="0" i="0" u="none" strike="noStrike">
                        <a:solidFill>
                          <a:srgbClr val="000000"/>
                        </a:solidFill>
                        <a:effectLst/>
                        <a:latin typeface="Calibri" panose="020F0502020204030204" pitchFamily="34" charset="0"/>
                      </a:endParaRPr>
                    </a:p>
                  </a:txBody>
                  <a:tcPr marL="7144" marR="7144" marT="7144" marB="0" anchor="b"/>
                </a:tc>
                <a:tc>
                  <a:txBody>
                    <a:bodyPr/>
                    <a:lstStyle/>
                    <a:p>
                      <a:pPr algn="l" fontAlgn="b"/>
                      <a:r>
                        <a:rPr lang="en-US" sz="1100" u="none" strike="noStrike">
                          <a:effectLst/>
                        </a:rPr>
                        <a:t>COMESA</a:t>
                      </a:r>
                      <a:endParaRPr lang="en-US" sz="1100" b="0" i="0" u="none" strike="noStrike">
                        <a:solidFill>
                          <a:srgbClr val="000000"/>
                        </a:solidFill>
                        <a:effectLst/>
                        <a:latin typeface="Calibri" panose="020F0502020204030204" pitchFamily="34" charset="0"/>
                      </a:endParaRPr>
                    </a:p>
                  </a:txBody>
                  <a:tcPr marL="7144" marR="7144" marT="7144" marB="0" anchor="b"/>
                </a:tc>
                <a:tc>
                  <a:txBody>
                    <a:bodyPr/>
                    <a:lstStyle/>
                    <a:p>
                      <a:pPr algn="l" fontAlgn="b"/>
                      <a:r>
                        <a:rPr lang="en-US" sz="1100" u="none" strike="noStrike">
                          <a:effectLst/>
                        </a:rPr>
                        <a:t>ECOWAS</a:t>
                      </a:r>
                      <a:endParaRPr lang="en-US" sz="1100" b="0" i="0" u="none" strike="noStrike">
                        <a:solidFill>
                          <a:srgbClr val="000000"/>
                        </a:solidFill>
                        <a:effectLst/>
                        <a:latin typeface="Calibri" panose="020F0502020204030204" pitchFamily="34" charset="0"/>
                      </a:endParaRPr>
                    </a:p>
                  </a:txBody>
                  <a:tcPr marL="7144" marR="7144" marT="7144" marB="0" anchor="b"/>
                </a:tc>
                <a:tc>
                  <a:txBody>
                    <a:bodyPr/>
                    <a:lstStyle/>
                    <a:p>
                      <a:pPr algn="l" fontAlgn="b"/>
                      <a:r>
                        <a:rPr lang="en-US" sz="1100" u="none" strike="noStrike">
                          <a:effectLst/>
                        </a:rPr>
                        <a:t>SACU</a:t>
                      </a:r>
                      <a:endParaRPr lang="en-US" sz="1100" b="0" i="0" u="none" strike="noStrike">
                        <a:solidFill>
                          <a:srgbClr val="000000"/>
                        </a:solidFill>
                        <a:effectLst/>
                        <a:latin typeface="Calibri" panose="020F0502020204030204" pitchFamily="34" charset="0"/>
                      </a:endParaRPr>
                    </a:p>
                  </a:txBody>
                  <a:tcPr marL="7144" marR="7144" marT="7144" marB="0" anchor="b"/>
                </a:tc>
              </a:tr>
              <a:tr h="270070">
                <a:tc>
                  <a:txBody>
                    <a:bodyPr/>
                    <a:lstStyle/>
                    <a:p>
                      <a:pPr algn="l" fontAlgn="b"/>
                      <a:r>
                        <a:rPr lang="en-US" sz="1100" u="none" strike="noStrike">
                          <a:effectLst/>
                        </a:rPr>
                        <a:t>CEMAC</a:t>
                      </a:r>
                      <a:endParaRPr lang="en-US" sz="1100" b="0" i="0" u="none" strike="noStrike">
                        <a:solidFill>
                          <a:srgbClr val="000000"/>
                        </a:solidFill>
                        <a:effectLst/>
                        <a:latin typeface="Calibri" panose="020F0502020204030204" pitchFamily="34" charset="0"/>
                      </a:endParaRPr>
                    </a:p>
                  </a:txBody>
                  <a:tcPr marL="7144" marR="7144" marT="7144" marB="0" anchor="b"/>
                </a:tc>
                <a:tc>
                  <a:txBody>
                    <a:bodyPr/>
                    <a:lstStyle/>
                    <a:p>
                      <a:pPr algn="r" fontAlgn="b"/>
                      <a:r>
                        <a:rPr lang="en-US" sz="1100" u="none" strike="noStrike" dirty="0">
                          <a:effectLst/>
                        </a:rPr>
                        <a:t>67%</a:t>
                      </a:r>
                      <a:endParaRPr lang="en-US" sz="1100" b="0" i="0" u="none" strike="noStrike" dirty="0">
                        <a:solidFill>
                          <a:srgbClr val="000000"/>
                        </a:solidFill>
                        <a:effectLst/>
                        <a:latin typeface="Calibri" panose="020F0502020204030204" pitchFamily="34" charset="0"/>
                      </a:endParaRPr>
                    </a:p>
                  </a:txBody>
                  <a:tcPr marL="7144" marR="7144" marT="7144" marB="0" anchor="b"/>
                </a:tc>
                <a:tc>
                  <a:txBody>
                    <a:bodyPr/>
                    <a:lstStyle/>
                    <a:p>
                      <a:pPr algn="r" fontAlgn="b"/>
                      <a:r>
                        <a:rPr lang="en-US" sz="1100" u="none" strike="noStrike">
                          <a:effectLst/>
                        </a:rPr>
                        <a:t>148%</a:t>
                      </a:r>
                      <a:endParaRPr lang="en-US" sz="1100" b="0" i="0" u="none" strike="noStrike">
                        <a:solidFill>
                          <a:srgbClr val="000000"/>
                        </a:solidFill>
                        <a:effectLst/>
                        <a:latin typeface="Calibri" panose="020F0502020204030204" pitchFamily="34" charset="0"/>
                      </a:endParaRPr>
                    </a:p>
                  </a:txBody>
                  <a:tcPr marL="7144" marR="7144" marT="7144" marB="0" anchor="b"/>
                </a:tc>
                <a:tc>
                  <a:txBody>
                    <a:bodyPr/>
                    <a:lstStyle/>
                    <a:p>
                      <a:pPr algn="r" fontAlgn="b"/>
                      <a:r>
                        <a:rPr lang="en-US" sz="1100" u="none" strike="noStrike">
                          <a:effectLst/>
                        </a:rPr>
                        <a:t>80%</a:t>
                      </a:r>
                      <a:endParaRPr lang="en-US" sz="1100" b="0" i="0" u="none" strike="noStrike">
                        <a:solidFill>
                          <a:srgbClr val="000000"/>
                        </a:solidFill>
                        <a:effectLst/>
                        <a:latin typeface="Calibri" panose="020F0502020204030204" pitchFamily="34" charset="0"/>
                      </a:endParaRPr>
                    </a:p>
                  </a:txBody>
                  <a:tcPr marL="7144" marR="7144" marT="7144" marB="0" anchor="b"/>
                </a:tc>
                <a:tc>
                  <a:txBody>
                    <a:bodyPr/>
                    <a:lstStyle/>
                    <a:p>
                      <a:pPr algn="r" fontAlgn="b"/>
                      <a:r>
                        <a:rPr lang="en-US" sz="1100" u="none" strike="noStrike">
                          <a:effectLst/>
                        </a:rPr>
                        <a:t>88%</a:t>
                      </a:r>
                      <a:endParaRPr lang="en-US" sz="1100" b="0" i="0" u="none" strike="noStrike">
                        <a:solidFill>
                          <a:srgbClr val="000000"/>
                        </a:solidFill>
                        <a:effectLst/>
                        <a:latin typeface="Calibri" panose="020F0502020204030204" pitchFamily="34" charset="0"/>
                      </a:endParaRPr>
                    </a:p>
                  </a:txBody>
                  <a:tcPr marL="7144" marR="7144" marT="7144" marB="0" anchor="b"/>
                </a:tc>
              </a:tr>
              <a:tr h="270070">
                <a:tc>
                  <a:txBody>
                    <a:bodyPr/>
                    <a:lstStyle/>
                    <a:p>
                      <a:pPr algn="l" fontAlgn="b"/>
                      <a:r>
                        <a:rPr lang="en-US" sz="1100" u="none" strike="noStrike">
                          <a:effectLst/>
                        </a:rPr>
                        <a:t>COMESA</a:t>
                      </a:r>
                      <a:endParaRPr lang="en-US" sz="1100" b="0" i="0" u="none" strike="noStrike">
                        <a:solidFill>
                          <a:srgbClr val="000000"/>
                        </a:solidFill>
                        <a:effectLst/>
                        <a:latin typeface="Calibri" panose="020F0502020204030204" pitchFamily="34" charset="0"/>
                      </a:endParaRPr>
                    </a:p>
                  </a:txBody>
                  <a:tcPr marL="7144" marR="7144" marT="7144" marB="0" anchor="b"/>
                </a:tc>
                <a:tc>
                  <a:txBody>
                    <a:bodyPr/>
                    <a:lstStyle/>
                    <a:p>
                      <a:pPr algn="r" fontAlgn="b"/>
                      <a:r>
                        <a:rPr lang="en-US" sz="1100" u="none" strike="noStrike">
                          <a:effectLst/>
                        </a:rPr>
                        <a:t>148%</a:t>
                      </a:r>
                      <a:endParaRPr lang="en-US" sz="1100" b="0" i="0" u="none" strike="noStrike">
                        <a:solidFill>
                          <a:srgbClr val="000000"/>
                        </a:solidFill>
                        <a:effectLst/>
                        <a:latin typeface="Calibri" panose="020F0502020204030204" pitchFamily="34" charset="0"/>
                      </a:endParaRPr>
                    </a:p>
                  </a:txBody>
                  <a:tcPr marL="7144" marR="7144" marT="7144" marB="0" anchor="b"/>
                </a:tc>
                <a:tc>
                  <a:txBody>
                    <a:bodyPr/>
                    <a:lstStyle/>
                    <a:p>
                      <a:pPr algn="r" fontAlgn="b"/>
                      <a:r>
                        <a:rPr lang="en-US" sz="1100" u="none" strike="noStrike">
                          <a:effectLst/>
                        </a:rPr>
                        <a:t>146%</a:t>
                      </a:r>
                      <a:endParaRPr lang="en-US" sz="1100" b="0" i="0" u="none" strike="noStrike">
                        <a:solidFill>
                          <a:srgbClr val="000000"/>
                        </a:solidFill>
                        <a:effectLst/>
                        <a:latin typeface="Calibri" panose="020F0502020204030204" pitchFamily="34" charset="0"/>
                      </a:endParaRPr>
                    </a:p>
                  </a:txBody>
                  <a:tcPr marL="7144" marR="7144" marT="7144" marB="0" anchor="b"/>
                </a:tc>
                <a:tc>
                  <a:txBody>
                    <a:bodyPr/>
                    <a:lstStyle/>
                    <a:p>
                      <a:pPr algn="r" fontAlgn="b"/>
                      <a:r>
                        <a:rPr lang="en-US" sz="1100" u="none" strike="noStrike">
                          <a:effectLst/>
                        </a:rPr>
                        <a:t>179%</a:t>
                      </a:r>
                      <a:endParaRPr lang="en-US" sz="1100" b="0" i="0" u="none" strike="noStrike">
                        <a:solidFill>
                          <a:srgbClr val="000000"/>
                        </a:solidFill>
                        <a:effectLst/>
                        <a:latin typeface="Calibri" panose="020F0502020204030204" pitchFamily="34" charset="0"/>
                      </a:endParaRPr>
                    </a:p>
                  </a:txBody>
                  <a:tcPr marL="7144" marR="7144" marT="7144" marB="0" anchor="b"/>
                </a:tc>
                <a:tc>
                  <a:txBody>
                    <a:bodyPr/>
                    <a:lstStyle/>
                    <a:p>
                      <a:pPr algn="r" fontAlgn="b"/>
                      <a:r>
                        <a:rPr lang="en-US" sz="1100" u="none" strike="noStrike">
                          <a:effectLst/>
                        </a:rPr>
                        <a:t>116%</a:t>
                      </a:r>
                      <a:endParaRPr lang="en-US" sz="1100" b="0" i="0" u="none" strike="noStrike">
                        <a:solidFill>
                          <a:srgbClr val="000000"/>
                        </a:solidFill>
                        <a:effectLst/>
                        <a:latin typeface="Calibri" panose="020F0502020204030204" pitchFamily="34" charset="0"/>
                      </a:endParaRPr>
                    </a:p>
                  </a:txBody>
                  <a:tcPr marL="7144" marR="7144" marT="7144" marB="0" anchor="b"/>
                </a:tc>
              </a:tr>
              <a:tr h="270070">
                <a:tc>
                  <a:txBody>
                    <a:bodyPr/>
                    <a:lstStyle/>
                    <a:p>
                      <a:pPr algn="l" fontAlgn="b"/>
                      <a:r>
                        <a:rPr lang="en-US" sz="1100" u="none" strike="noStrike">
                          <a:effectLst/>
                        </a:rPr>
                        <a:t>ECOWAS</a:t>
                      </a:r>
                      <a:endParaRPr lang="en-US" sz="1100" b="0" i="0" u="none" strike="noStrike">
                        <a:solidFill>
                          <a:srgbClr val="000000"/>
                        </a:solidFill>
                        <a:effectLst/>
                        <a:latin typeface="Calibri" panose="020F0502020204030204" pitchFamily="34" charset="0"/>
                      </a:endParaRPr>
                    </a:p>
                  </a:txBody>
                  <a:tcPr marL="7144" marR="7144" marT="7144" marB="0" anchor="b"/>
                </a:tc>
                <a:tc>
                  <a:txBody>
                    <a:bodyPr/>
                    <a:lstStyle/>
                    <a:p>
                      <a:pPr algn="r" fontAlgn="b"/>
                      <a:r>
                        <a:rPr lang="en-US" sz="1100" u="none" strike="noStrike">
                          <a:effectLst/>
                        </a:rPr>
                        <a:t>80%</a:t>
                      </a:r>
                      <a:endParaRPr lang="en-US" sz="1100" b="0" i="0" u="none" strike="noStrike">
                        <a:solidFill>
                          <a:srgbClr val="000000"/>
                        </a:solidFill>
                        <a:effectLst/>
                        <a:latin typeface="Calibri" panose="020F0502020204030204" pitchFamily="34" charset="0"/>
                      </a:endParaRPr>
                    </a:p>
                  </a:txBody>
                  <a:tcPr marL="7144" marR="7144" marT="7144" marB="0" anchor="b"/>
                </a:tc>
                <a:tc>
                  <a:txBody>
                    <a:bodyPr/>
                    <a:lstStyle/>
                    <a:p>
                      <a:pPr algn="r" fontAlgn="b"/>
                      <a:r>
                        <a:rPr lang="en-US" sz="1100" u="none" strike="noStrike">
                          <a:effectLst/>
                        </a:rPr>
                        <a:t>179%</a:t>
                      </a:r>
                      <a:endParaRPr lang="en-US" sz="1100" b="0" i="0" u="none" strike="noStrike">
                        <a:solidFill>
                          <a:srgbClr val="000000"/>
                        </a:solidFill>
                        <a:effectLst/>
                        <a:latin typeface="Calibri" panose="020F0502020204030204" pitchFamily="34" charset="0"/>
                      </a:endParaRPr>
                    </a:p>
                  </a:txBody>
                  <a:tcPr marL="7144" marR="7144" marT="7144" marB="0" anchor="b"/>
                </a:tc>
                <a:tc>
                  <a:txBody>
                    <a:bodyPr/>
                    <a:lstStyle/>
                    <a:p>
                      <a:pPr algn="r" fontAlgn="b"/>
                      <a:r>
                        <a:rPr lang="en-US" sz="1100" u="none" strike="noStrike">
                          <a:effectLst/>
                        </a:rPr>
                        <a:t>136%</a:t>
                      </a:r>
                      <a:endParaRPr lang="en-US" sz="1100" b="0" i="0" u="none" strike="noStrike">
                        <a:solidFill>
                          <a:srgbClr val="000000"/>
                        </a:solidFill>
                        <a:effectLst/>
                        <a:latin typeface="Calibri" panose="020F0502020204030204" pitchFamily="34" charset="0"/>
                      </a:endParaRPr>
                    </a:p>
                  </a:txBody>
                  <a:tcPr marL="7144" marR="7144" marT="7144" marB="0" anchor="b"/>
                </a:tc>
                <a:tc>
                  <a:txBody>
                    <a:bodyPr/>
                    <a:lstStyle/>
                    <a:p>
                      <a:pPr algn="r" fontAlgn="b"/>
                      <a:r>
                        <a:rPr lang="en-US" sz="1100" u="none" strike="noStrike">
                          <a:effectLst/>
                        </a:rPr>
                        <a:t>137%</a:t>
                      </a:r>
                      <a:endParaRPr lang="en-US" sz="1100" b="0" i="0" u="none" strike="noStrike">
                        <a:solidFill>
                          <a:srgbClr val="000000"/>
                        </a:solidFill>
                        <a:effectLst/>
                        <a:latin typeface="Calibri" panose="020F0502020204030204" pitchFamily="34" charset="0"/>
                      </a:endParaRPr>
                    </a:p>
                  </a:txBody>
                  <a:tcPr marL="7144" marR="7144" marT="7144" marB="0" anchor="b"/>
                </a:tc>
              </a:tr>
              <a:tr h="270070">
                <a:tc>
                  <a:txBody>
                    <a:bodyPr/>
                    <a:lstStyle/>
                    <a:p>
                      <a:pPr algn="l" fontAlgn="b"/>
                      <a:r>
                        <a:rPr lang="en-US" sz="1100" u="none" strike="noStrike" dirty="0">
                          <a:effectLst/>
                        </a:rPr>
                        <a:t>SACU</a:t>
                      </a:r>
                      <a:endParaRPr lang="en-US" sz="1100" b="0" i="0" u="none" strike="noStrike" dirty="0">
                        <a:solidFill>
                          <a:srgbClr val="000000"/>
                        </a:solidFill>
                        <a:effectLst/>
                        <a:latin typeface="Calibri" panose="020F0502020204030204" pitchFamily="34" charset="0"/>
                      </a:endParaRPr>
                    </a:p>
                  </a:txBody>
                  <a:tcPr marL="7144" marR="7144" marT="7144" marB="0" anchor="b"/>
                </a:tc>
                <a:tc>
                  <a:txBody>
                    <a:bodyPr/>
                    <a:lstStyle/>
                    <a:p>
                      <a:pPr algn="r" fontAlgn="b"/>
                      <a:r>
                        <a:rPr lang="en-US" sz="1100" u="none" strike="noStrike" dirty="0">
                          <a:effectLst/>
                        </a:rPr>
                        <a:t>88%</a:t>
                      </a:r>
                      <a:endParaRPr lang="en-US" sz="1100" b="0" i="0" u="none" strike="noStrike" dirty="0">
                        <a:solidFill>
                          <a:srgbClr val="000000"/>
                        </a:solidFill>
                        <a:effectLst/>
                        <a:latin typeface="Calibri" panose="020F0502020204030204" pitchFamily="34" charset="0"/>
                      </a:endParaRPr>
                    </a:p>
                  </a:txBody>
                  <a:tcPr marL="7144" marR="7144" marT="7144" marB="0" anchor="b"/>
                </a:tc>
                <a:tc>
                  <a:txBody>
                    <a:bodyPr/>
                    <a:lstStyle/>
                    <a:p>
                      <a:pPr algn="r" fontAlgn="b"/>
                      <a:r>
                        <a:rPr lang="en-US" sz="1100" u="none" strike="noStrike">
                          <a:effectLst/>
                        </a:rPr>
                        <a:t>116%</a:t>
                      </a:r>
                      <a:endParaRPr lang="en-US" sz="1100" b="0" i="0" u="none" strike="noStrike">
                        <a:solidFill>
                          <a:srgbClr val="000000"/>
                        </a:solidFill>
                        <a:effectLst/>
                        <a:latin typeface="Calibri" panose="020F0502020204030204" pitchFamily="34" charset="0"/>
                      </a:endParaRPr>
                    </a:p>
                  </a:txBody>
                  <a:tcPr marL="7144" marR="7144" marT="7144" marB="0" anchor="b"/>
                </a:tc>
                <a:tc>
                  <a:txBody>
                    <a:bodyPr/>
                    <a:lstStyle/>
                    <a:p>
                      <a:pPr algn="r" fontAlgn="b"/>
                      <a:r>
                        <a:rPr lang="en-US" sz="1100" u="none" strike="noStrike">
                          <a:effectLst/>
                        </a:rPr>
                        <a:t>137%</a:t>
                      </a:r>
                      <a:endParaRPr lang="en-US" sz="1100" b="0" i="0" u="none" strike="noStrike">
                        <a:solidFill>
                          <a:srgbClr val="000000"/>
                        </a:solidFill>
                        <a:effectLst/>
                        <a:latin typeface="Calibri" panose="020F0502020204030204" pitchFamily="34" charset="0"/>
                      </a:endParaRPr>
                    </a:p>
                  </a:txBody>
                  <a:tcPr marL="7144" marR="7144" marT="7144" marB="0" anchor="b"/>
                </a:tc>
                <a:tc>
                  <a:txBody>
                    <a:bodyPr/>
                    <a:lstStyle/>
                    <a:p>
                      <a:pPr algn="r" fontAlgn="b"/>
                      <a:r>
                        <a:rPr lang="en-US" sz="1100" u="none" strike="noStrike" dirty="0">
                          <a:effectLst/>
                        </a:rPr>
                        <a:t>111%</a:t>
                      </a:r>
                      <a:endParaRPr lang="en-US" sz="1100" b="0" i="0" u="none" strike="noStrike" dirty="0">
                        <a:solidFill>
                          <a:srgbClr val="000000"/>
                        </a:solidFill>
                        <a:effectLst/>
                        <a:latin typeface="Calibri" panose="020F0502020204030204" pitchFamily="34" charset="0"/>
                      </a:endParaRPr>
                    </a:p>
                  </a:txBody>
                  <a:tcPr marL="7144" marR="7144" marT="7144" marB="0" anchor="b"/>
                </a:tc>
              </a:tr>
            </a:tbl>
          </a:graphicData>
        </a:graphic>
      </p:graphicFrame>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1747" y="188640"/>
            <a:ext cx="525826" cy="830652"/>
          </a:xfrm>
          <a:prstGeom prst="rect">
            <a:avLst/>
          </a:prstGeom>
        </p:spPr>
      </p:pic>
    </p:spTree>
    <p:extLst>
      <p:ext uri="{BB962C8B-B14F-4D97-AF65-F5344CB8AC3E}">
        <p14:creationId xmlns:p14="http://schemas.microsoft.com/office/powerpoint/2010/main" val="108256800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5576" y="130012"/>
            <a:ext cx="7886700" cy="994172"/>
          </a:xfrm>
          <a:noFill/>
          <a:ln w="9525">
            <a:noFill/>
            <a:miter lim="800000"/>
            <a:headEnd/>
            <a:tailEnd/>
          </a:ln>
        </p:spPr>
        <p:txBody>
          <a:bodyPr vert="horz" wrap="square" lIns="91440" tIns="18288" rIns="91440" bIns="18288" numCol="1" rtlCol="0" anchor="ctr" anchorCtr="0" compatLnSpc="1">
            <a:prstTxWarp prst="textNoShape">
              <a:avLst/>
            </a:prstTxWarp>
            <a:noAutofit/>
          </a:bodyPr>
          <a:lstStyle/>
          <a:p>
            <a:pPr algn="ctr" defTabSz="914400"/>
            <a:r>
              <a:rPr lang="en-US" sz="2800" b="1" dirty="0">
                <a:solidFill>
                  <a:srgbClr val="000000"/>
                </a:solidFill>
                <a:latin typeface="Arial" pitchFamily="34" charset="0"/>
                <a:cs typeface="Arial" pitchFamily="34" charset="0"/>
              </a:rPr>
              <a:t>Trade Policy Barriers for Expanding Trade in Africa</a:t>
            </a:r>
          </a:p>
        </p:txBody>
      </p:sp>
      <p:sp>
        <p:nvSpPr>
          <p:cNvPr id="3" name="Content Placeholder 2"/>
          <p:cNvSpPr>
            <a:spLocks noGrp="1"/>
          </p:cNvSpPr>
          <p:nvPr>
            <p:ph idx="1"/>
          </p:nvPr>
        </p:nvSpPr>
        <p:spPr>
          <a:xfrm>
            <a:off x="121747" y="4581128"/>
            <a:ext cx="4616832" cy="1710381"/>
          </a:xfrm>
        </p:spPr>
        <p:txBody>
          <a:bodyPr>
            <a:noAutofit/>
          </a:bodyPr>
          <a:lstStyle/>
          <a:p>
            <a:pPr marL="0" indent="0">
              <a:buNone/>
            </a:pPr>
            <a:r>
              <a:rPr lang="en-US" sz="1600" dirty="0"/>
              <a:t>Huge potential for an ambitious trade facilitation agenda:</a:t>
            </a:r>
          </a:p>
          <a:p>
            <a:r>
              <a:rPr lang="en-US" sz="1600" dirty="0"/>
              <a:t>Free circulation of goods still not achieved within custom unions (intra-trade still affected by MFN tariffs, double taxation, etc.)</a:t>
            </a:r>
          </a:p>
          <a:p>
            <a:r>
              <a:rPr lang="en-US" sz="1600" dirty="0"/>
              <a:t>Numerous fees and bribes</a:t>
            </a:r>
          </a:p>
          <a:p>
            <a:r>
              <a:rPr lang="en-US" sz="1600" dirty="0"/>
              <a:t>Administrative burden</a:t>
            </a:r>
          </a:p>
          <a:p>
            <a:r>
              <a:rPr lang="en-US" sz="1600" dirty="0"/>
              <a:t>Inefficiency of checkpoints (delays)</a:t>
            </a:r>
          </a:p>
        </p:txBody>
      </p:sp>
      <p:graphicFrame>
        <p:nvGraphicFramePr>
          <p:cNvPr id="4" name="Chart 3"/>
          <p:cNvGraphicFramePr>
            <a:graphicFrameLocks/>
          </p:cNvGraphicFramePr>
          <p:nvPr>
            <p:extLst>
              <p:ext uri="{D42A27DB-BD31-4B8C-83A1-F6EECF244321}">
                <p14:modId xmlns:p14="http://schemas.microsoft.com/office/powerpoint/2010/main" val="2528669590"/>
              </p:ext>
            </p:extLst>
          </p:nvPr>
        </p:nvGraphicFramePr>
        <p:xfrm>
          <a:off x="121747" y="1412776"/>
          <a:ext cx="4554723" cy="2803453"/>
        </p:xfrm>
        <a:graphic>
          <a:graphicData uri="http://schemas.openxmlformats.org/drawingml/2006/chart">
            <c:chart xmlns:c="http://schemas.openxmlformats.org/drawingml/2006/chart" xmlns:r="http://schemas.openxmlformats.org/officeDocument/2006/relationships" r:id="rId3"/>
          </a:graphicData>
        </a:graphic>
      </p:graphicFrame>
      <p:sp>
        <p:nvSpPr>
          <p:cNvPr id="5" name="Content Placeholder 2"/>
          <p:cNvSpPr txBox="1">
            <a:spLocks/>
          </p:cNvSpPr>
          <p:nvPr/>
        </p:nvSpPr>
        <p:spPr>
          <a:xfrm>
            <a:off x="4932040" y="1340768"/>
            <a:ext cx="3982566" cy="2149702"/>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itchFamily="34" charset="0"/>
              <a:buChar char="•"/>
              <a:defRPr sz="3200" kern="1200">
                <a:solidFill>
                  <a:srgbClr val="435363"/>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rgbClr val="435363"/>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rgbClr val="435363"/>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rgbClr val="435363"/>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rgbClr val="435363"/>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t>Despite regional integration, intra-African trade still affected by:</a:t>
            </a:r>
          </a:p>
          <a:p>
            <a:pPr marL="129779" indent="-129779"/>
            <a:r>
              <a:rPr lang="en-US" sz="1600" dirty="0"/>
              <a:t>significant tariffs;</a:t>
            </a:r>
          </a:p>
          <a:p>
            <a:pPr marL="129779" indent="-129779"/>
            <a:r>
              <a:rPr lang="en-US" sz="1600" dirty="0"/>
              <a:t>the need to address between trade barriers between blocs;</a:t>
            </a:r>
          </a:p>
          <a:p>
            <a:pPr marL="129779" indent="-129779"/>
            <a:r>
              <a:rPr lang="en-US" sz="1600" dirty="0"/>
              <a:t>external pressure to liberalize markets with third countries (EPA with the EU: SADC and ECOWAS should sign this year);</a:t>
            </a:r>
          </a:p>
          <a:p>
            <a:pPr marL="129779" indent="-129779"/>
            <a:r>
              <a:rPr lang="en-US" sz="1600" dirty="0"/>
              <a:t>instability/uncertainty regarding some trade policies</a:t>
            </a:r>
          </a:p>
        </p:txBody>
      </p:sp>
      <p:graphicFrame>
        <p:nvGraphicFramePr>
          <p:cNvPr id="7" name="Chart 6"/>
          <p:cNvGraphicFramePr>
            <a:graphicFrameLocks/>
          </p:cNvGraphicFramePr>
          <p:nvPr>
            <p:extLst>
              <p:ext uri="{D42A27DB-BD31-4B8C-83A1-F6EECF244321}">
                <p14:modId xmlns:p14="http://schemas.microsoft.com/office/powerpoint/2010/main" val="1958352035"/>
              </p:ext>
            </p:extLst>
          </p:nvPr>
        </p:nvGraphicFramePr>
        <p:xfrm>
          <a:off x="4572000" y="4005064"/>
          <a:ext cx="4195299" cy="2852935"/>
        </p:xfrm>
        <a:graphic>
          <a:graphicData uri="http://schemas.openxmlformats.org/drawingml/2006/chart">
            <c:chart xmlns:c="http://schemas.openxmlformats.org/drawingml/2006/chart" xmlns:r="http://schemas.openxmlformats.org/officeDocument/2006/relationships" r:id="rId4"/>
          </a:graphicData>
        </a:graphic>
      </p:graphicFrame>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1747" y="188640"/>
            <a:ext cx="525826" cy="830652"/>
          </a:xfrm>
          <a:prstGeom prst="rect">
            <a:avLst/>
          </a:prstGeom>
        </p:spPr>
      </p:pic>
    </p:spTree>
    <p:extLst>
      <p:ext uri="{BB962C8B-B14F-4D97-AF65-F5344CB8AC3E}">
        <p14:creationId xmlns:p14="http://schemas.microsoft.com/office/powerpoint/2010/main" val="100457011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1937" y="127540"/>
            <a:ext cx="8229600" cy="1143000"/>
          </a:xfrm>
          <a:noFill/>
          <a:ln w="9525">
            <a:noFill/>
            <a:miter lim="800000"/>
            <a:headEnd/>
            <a:tailEnd/>
          </a:ln>
        </p:spPr>
        <p:txBody>
          <a:bodyPr vert="horz" wrap="square" lIns="91440" tIns="18288" rIns="91440" bIns="18288" numCol="1" rtlCol="0" anchor="ctr" anchorCtr="0" compatLnSpc="1">
            <a:prstTxWarp prst="textNoShape">
              <a:avLst/>
            </a:prstTxWarp>
            <a:noAutofit/>
          </a:bodyPr>
          <a:lstStyle/>
          <a:p>
            <a:pPr algn="ctr">
              <a:lnSpc>
                <a:spcPct val="90000"/>
              </a:lnSpc>
            </a:pPr>
            <a:r>
              <a:rPr lang="en-US" sz="2800" b="1" dirty="0">
                <a:solidFill>
                  <a:srgbClr val="000000"/>
                </a:solidFill>
              </a:rPr>
              <a:t>ADDITIONAL DEMAND FOR BIOMASS</a:t>
            </a:r>
          </a:p>
        </p:txBody>
      </p:sp>
      <p:grpSp>
        <p:nvGrpSpPr>
          <p:cNvPr id="6" name="Group 5"/>
          <p:cNvGrpSpPr/>
          <p:nvPr/>
        </p:nvGrpSpPr>
        <p:grpSpPr>
          <a:xfrm>
            <a:off x="1907704" y="3861048"/>
            <a:ext cx="4669808" cy="1028196"/>
            <a:chOff x="1948008" y="2615496"/>
            <a:chExt cx="3738710" cy="1028196"/>
          </a:xfrm>
        </p:grpSpPr>
        <p:sp>
          <p:nvSpPr>
            <p:cNvPr id="7" name="Rectangle 6"/>
            <p:cNvSpPr/>
            <p:nvPr/>
          </p:nvSpPr>
          <p:spPr>
            <a:xfrm flipH="1">
              <a:off x="1948008" y="2829010"/>
              <a:ext cx="3340665" cy="601168"/>
            </a:xfrm>
            <a:prstGeom prst="rect">
              <a:avLst/>
            </a:prstGeom>
            <a:gradFill flip="none" rotWithShape="1">
              <a:gsLst>
                <a:gs pos="0">
                  <a:schemeClr val="accent4"/>
                </a:gs>
                <a:gs pos="100000">
                  <a:schemeClr val="accent4">
                    <a:lumMod val="75000"/>
                  </a:schemeClr>
                </a:gs>
              </a:gsLst>
              <a:lin ang="0" scaled="1"/>
              <a:tileRect/>
            </a:gradFill>
            <a:ln>
              <a:noFill/>
            </a:ln>
            <a:effectLst>
              <a:outerShdw blurRad="50800" dist="38100" dir="5400000" algn="t"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8" name="Isosceles Triangle 7"/>
            <p:cNvSpPr/>
            <p:nvPr/>
          </p:nvSpPr>
          <p:spPr>
            <a:xfrm rot="5400000">
              <a:off x="4942712" y="2899686"/>
              <a:ext cx="1028196" cy="459816"/>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grpSp>
        <p:nvGrpSpPr>
          <p:cNvPr id="11" name="Group 10"/>
          <p:cNvGrpSpPr/>
          <p:nvPr/>
        </p:nvGrpSpPr>
        <p:grpSpPr>
          <a:xfrm>
            <a:off x="1907706" y="3254620"/>
            <a:ext cx="3647930" cy="1028196"/>
            <a:chOff x="1948009" y="2009068"/>
            <a:chExt cx="3261379" cy="1028196"/>
          </a:xfrm>
        </p:grpSpPr>
        <p:sp>
          <p:nvSpPr>
            <p:cNvPr id="12" name="Rectangle 11"/>
            <p:cNvSpPr/>
            <p:nvPr/>
          </p:nvSpPr>
          <p:spPr>
            <a:xfrm flipH="1">
              <a:off x="1948009" y="2222582"/>
              <a:ext cx="2844000" cy="601168"/>
            </a:xfrm>
            <a:prstGeom prst="rect">
              <a:avLst/>
            </a:prstGeom>
            <a:gradFill flip="none" rotWithShape="1">
              <a:gsLst>
                <a:gs pos="0">
                  <a:schemeClr val="accent2"/>
                </a:gs>
                <a:gs pos="100000">
                  <a:schemeClr val="accent2">
                    <a:lumMod val="75000"/>
                  </a:schemeClr>
                </a:gs>
              </a:gsLst>
              <a:lin ang="0" scaled="1"/>
              <a:tileRect/>
            </a:gradFill>
            <a:ln>
              <a:noFill/>
            </a:ln>
            <a:effectLst>
              <a:outerShdw blurRad="50800" dist="38100" dir="5400000" algn="t"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3" name="Isosceles Triangle 12"/>
            <p:cNvSpPr/>
            <p:nvPr/>
          </p:nvSpPr>
          <p:spPr>
            <a:xfrm rot="5400000">
              <a:off x="4465382" y="2293258"/>
              <a:ext cx="1028196" cy="459816"/>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grpSp>
        <p:nvGrpSpPr>
          <p:cNvPr id="14" name="Group 13"/>
          <p:cNvGrpSpPr/>
          <p:nvPr/>
        </p:nvGrpSpPr>
        <p:grpSpPr>
          <a:xfrm>
            <a:off x="1907705" y="2656045"/>
            <a:ext cx="2979032" cy="1028196"/>
            <a:chOff x="1948009" y="1400968"/>
            <a:chExt cx="2979032" cy="1028196"/>
          </a:xfrm>
          <a:effectLst>
            <a:outerShdw blurRad="50800" dist="38100" dir="5400000" algn="t" rotWithShape="0">
              <a:prstClr val="black">
                <a:alpha val="19000"/>
              </a:prstClr>
            </a:outerShdw>
          </a:effectLst>
        </p:grpSpPr>
        <p:sp>
          <p:nvSpPr>
            <p:cNvPr id="15" name="Isosceles Triangle 14"/>
            <p:cNvSpPr/>
            <p:nvPr/>
          </p:nvSpPr>
          <p:spPr>
            <a:xfrm rot="5400000">
              <a:off x="4183035" y="1685158"/>
              <a:ext cx="1028196" cy="459816"/>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6" name="Rectangle 15"/>
            <p:cNvSpPr/>
            <p:nvPr/>
          </p:nvSpPr>
          <p:spPr>
            <a:xfrm flipH="1">
              <a:off x="1948009" y="1614482"/>
              <a:ext cx="2519216" cy="601168"/>
            </a:xfrm>
            <a:prstGeom prst="rect">
              <a:avLst/>
            </a:prstGeom>
            <a:gradFill flip="none" rotWithShape="1">
              <a:gsLst>
                <a:gs pos="0">
                  <a:schemeClr val="accent1"/>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sp>
        <p:nvSpPr>
          <p:cNvPr id="17" name="Oval 16"/>
          <p:cNvSpPr/>
          <p:nvPr/>
        </p:nvSpPr>
        <p:spPr>
          <a:xfrm flipH="1">
            <a:off x="575040" y="4618224"/>
            <a:ext cx="2740209" cy="630057"/>
          </a:xfrm>
          <a:prstGeom prst="ellipse">
            <a:avLst/>
          </a:prstGeom>
          <a:solidFill>
            <a:schemeClr val="tx1">
              <a:alpha val="41000"/>
            </a:schemeClr>
          </a:solidFill>
          <a:ln>
            <a:noFill/>
          </a:ln>
          <a:effectLst>
            <a:outerShdw blurRad="685800" sx="119000" sy="119000" algn="ctr" rotWithShape="0">
              <a:prstClr val="black">
                <a:alpha val="8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grpSp>
        <p:nvGrpSpPr>
          <p:cNvPr id="22" name="Group 21"/>
          <p:cNvGrpSpPr/>
          <p:nvPr/>
        </p:nvGrpSpPr>
        <p:grpSpPr>
          <a:xfrm flipH="1">
            <a:off x="610773" y="3900690"/>
            <a:ext cx="2586244" cy="1223556"/>
            <a:chOff x="4529959" y="3303149"/>
            <a:chExt cx="3132081" cy="1481793"/>
          </a:xfrm>
        </p:grpSpPr>
        <p:sp>
          <p:nvSpPr>
            <p:cNvPr id="23" name="Freeform 5"/>
            <p:cNvSpPr>
              <a:spLocks/>
            </p:cNvSpPr>
            <p:nvPr/>
          </p:nvSpPr>
          <p:spPr bwMode="auto">
            <a:xfrm>
              <a:off x="4529959" y="3751895"/>
              <a:ext cx="3132081" cy="1033047"/>
            </a:xfrm>
            <a:custGeom>
              <a:avLst/>
              <a:gdLst>
                <a:gd name="T0" fmla="*/ 1446 w 1446"/>
                <a:gd name="T1" fmla="*/ 0 h 475"/>
                <a:gd name="T2" fmla="*/ 1446 w 1446"/>
                <a:gd name="T3" fmla="*/ 273 h 475"/>
                <a:gd name="T4" fmla="*/ 723 w 1446"/>
                <a:gd name="T5" fmla="*/ 475 h 475"/>
                <a:gd name="T6" fmla="*/ 0 w 1446"/>
                <a:gd name="T7" fmla="*/ 273 h 475"/>
                <a:gd name="T8" fmla="*/ 0 w 1446"/>
                <a:gd name="T9" fmla="*/ 0 h 475"/>
                <a:gd name="T10" fmla="*/ 723 w 1446"/>
                <a:gd name="T11" fmla="*/ 84 h 475"/>
                <a:gd name="T12" fmla="*/ 1446 w 1446"/>
                <a:gd name="T13" fmla="*/ 0 h 475"/>
              </a:gdLst>
              <a:ahLst/>
              <a:cxnLst>
                <a:cxn ang="0">
                  <a:pos x="T0" y="T1"/>
                </a:cxn>
                <a:cxn ang="0">
                  <a:pos x="T2" y="T3"/>
                </a:cxn>
                <a:cxn ang="0">
                  <a:pos x="T4" y="T5"/>
                </a:cxn>
                <a:cxn ang="0">
                  <a:pos x="T6" y="T7"/>
                </a:cxn>
                <a:cxn ang="0">
                  <a:pos x="T8" y="T9"/>
                </a:cxn>
                <a:cxn ang="0">
                  <a:pos x="T10" y="T11"/>
                </a:cxn>
                <a:cxn ang="0">
                  <a:pos x="T12" y="T13"/>
                </a:cxn>
              </a:cxnLst>
              <a:rect l="0" t="0" r="r" b="b"/>
              <a:pathLst>
                <a:path w="1446" h="475">
                  <a:moveTo>
                    <a:pt x="1446" y="0"/>
                  </a:moveTo>
                  <a:cubicBezTo>
                    <a:pt x="1446" y="273"/>
                    <a:pt x="1446" y="273"/>
                    <a:pt x="1446" y="273"/>
                  </a:cubicBezTo>
                  <a:cubicBezTo>
                    <a:pt x="1446" y="384"/>
                    <a:pt x="1122" y="475"/>
                    <a:pt x="723" y="475"/>
                  </a:cubicBezTo>
                  <a:cubicBezTo>
                    <a:pt x="324" y="475"/>
                    <a:pt x="0" y="384"/>
                    <a:pt x="0" y="273"/>
                  </a:cubicBezTo>
                  <a:cubicBezTo>
                    <a:pt x="0" y="0"/>
                    <a:pt x="0" y="0"/>
                    <a:pt x="0" y="0"/>
                  </a:cubicBezTo>
                  <a:cubicBezTo>
                    <a:pt x="0" y="0"/>
                    <a:pt x="440" y="84"/>
                    <a:pt x="723" y="84"/>
                  </a:cubicBezTo>
                  <a:cubicBezTo>
                    <a:pt x="967" y="84"/>
                    <a:pt x="1446" y="0"/>
                    <a:pt x="1446" y="0"/>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24" name="Oval 9"/>
            <p:cNvSpPr>
              <a:spLocks noChangeArrowheads="1"/>
            </p:cNvSpPr>
            <p:nvPr/>
          </p:nvSpPr>
          <p:spPr bwMode="auto">
            <a:xfrm>
              <a:off x="4529959" y="3303149"/>
              <a:ext cx="3132081" cy="880239"/>
            </a:xfrm>
            <a:prstGeom prst="ellipse">
              <a:avLst/>
            </a:pr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25" name="Oval 17"/>
            <p:cNvSpPr>
              <a:spLocks noChangeArrowheads="1"/>
            </p:cNvSpPr>
            <p:nvPr/>
          </p:nvSpPr>
          <p:spPr bwMode="auto">
            <a:xfrm>
              <a:off x="5264255" y="3676698"/>
              <a:ext cx="1663489" cy="334894"/>
            </a:xfrm>
            <a:prstGeom prst="ellipse">
              <a:avLst/>
            </a:prstGeom>
            <a:solidFill>
              <a:schemeClr val="accent4">
                <a:lumMod val="50000"/>
              </a:schemeClr>
            </a:solidFill>
            <a:ln>
              <a:noFill/>
            </a:ln>
          </p:spPr>
          <p:txBody>
            <a:bodyPr vert="horz" wrap="square" lIns="91440" tIns="45720" rIns="91440" bIns="45720" numCol="1" anchor="t" anchorCtr="0" compatLnSpc="1">
              <a:prstTxWarp prst="textNoShape">
                <a:avLst/>
              </a:prstTxWarp>
            </a:bodyPr>
            <a:lstStyle/>
            <a:p>
              <a:pPr algn="ctr"/>
              <a:endParaRPr lang="id-ID"/>
            </a:p>
          </p:txBody>
        </p:sp>
      </p:grpSp>
      <p:grpSp>
        <p:nvGrpSpPr>
          <p:cNvPr id="26" name="Group 25"/>
          <p:cNvGrpSpPr/>
          <p:nvPr/>
        </p:nvGrpSpPr>
        <p:grpSpPr>
          <a:xfrm flipH="1">
            <a:off x="778476" y="3340728"/>
            <a:ext cx="2250838" cy="1058677"/>
            <a:chOff x="4733056" y="2616378"/>
            <a:chExt cx="2725886" cy="1282115"/>
          </a:xfrm>
        </p:grpSpPr>
        <p:sp>
          <p:nvSpPr>
            <p:cNvPr id="27" name="Freeform 5"/>
            <p:cNvSpPr>
              <a:spLocks/>
            </p:cNvSpPr>
            <p:nvPr/>
          </p:nvSpPr>
          <p:spPr bwMode="auto">
            <a:xfrm>
              <a:off x="4733056" y="2999421"/>
              <a:ext cx="2725886" cy="899072"/>
            </a:xfrm>
            <a:custGeom>
              <a:avLst/>
              <a:gdLst>
                <a:gd name="T0" fmla="*/ 1446 w 1446"/>
                <a:gd name="T1" fmla="*/ 0 h 475"/>
                <a:gd name="T2" fmla="*/ 1446 w 1446"/>
                <a:gd name="T3" fmla="*/ 273 h 475"/>
                <a:gd name="T4" fmla="*/ 723 w 1446"/>
                <a:gd name="T5" fmla="*/ 475 h 475"/>
                <a:gd name="T6" fmla="*/ 0 w 1446"/>
                <a:gd name="T7" fmla="*/ 273 h 475"/>
                <a:gd name="T8" fmla="*/ 0 w 1446"/>
                <a:gd name="T9" fmla="*/ 0 h 475"/>
                <a:gd name="T10" fmla="*/ 723 w 1446"/>
                <a:gd name="T11" fmla="*/ 84 h 475"/>
                <a:gd name="T12" fmla="*/ 1446 w 1446"/>
                <a:gd name="T13" fmla="*/ 0 h 475"/>
              </a:gdLst>
              <a:ahLst/>
              <a:cxnLst>
                <a:cxn ang="0">
                  <a:pos x="T0" y="T1"/>
                </a:cxn>
                <a:cxn ang="0">
                  <a:pos x="T2" y="T3"/>
                </a:cxn>
                <a:cxn ang="0">
                  <a:pos x="T4" y="T5"/>
                </a:cxn>
                <a:cxn ang="0">
                  <a:pos x="T6" y="T7"/>
                </a:cxn>
                <a:cxn ang="0">
                  <a:pos x="T8" y="T9"/>
                </a:cxn>
                <a:cxn ang="0">
                  <a:pos x="T10" y="T11"/>
                </a:cxn>
                <a:cxn ang="0">
                  <a:pos x="T12" y="T13"/>
                </a:cxn>
              </a:cxnLst>
              <a:rect l="0" t="0" r="r" b="b"/>
              <a:pathLst>
                <a:path w="1446" h="475">
                  <a:moveTo>
                    <a:pt x="1446" y="0"/>
                  </a:moveTo>
                  <a:cubicBezTo>
                    <a:pt x="1446" y="273"/>
                    <a:pt x="1446" y="273"/>
                    <a:pt x="1446" y="273"/>
                  </a:cubicBezTo>
                  <a:cubicBezTo>
                    <a:pt x="1446" y="384"/>
                    <a:pt x="1122" y="475"/>
                    <a:pt x="723" y="475"/>
                  </a:cubicBezTo>
                  <a:cubicBezTo>
                    <a:pt x="324" y="475"/>
                    <a:pt x="0" y="384"/>
                    <a:pt x="0" y="273"/>
                  </a:cubicBezTo>
                  <a:cubicBezTo>
                    <a:pt x="0" y="0"/>
                    <a:pt x="0" y="0"/>
                    <a:pt x="0" y="0"/>
                  </a:cubicBezTo>
                  <a:cubicBezTo>
                    <a:pt x="0" y="0"/>
                    <a:pt x="440" y="84"/>
                    <a:pt x="723" y="84"/>
                  </a:cubicBezTo>
                  <a:cubicBezTo>
                    <a:pt x="967" y="84"/>
                    <a:pt x="1446" y="0"/>
                    <a:pt x="1446"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28" name="Oval 9"/>
            <p:cNvSpPr>
              <a:spLocks noChangeArrowheads="1"/>
            </p:cNvSpPr>
            <p:nvPr/>
          </p:nvSpPr>
          <p:spPr bwMode="auto">
            <a:xfrm>
              <a:off x="4733056" y="2616378"/>
              <a:ext cx="2725886" cy="766083"/>
            </a:xfrm>
            <a:prstGeom prst="ellipse">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algn="ctr"/>
              <a:endParaRPr lang="id-ID"/>
            </a:p>
          </p:txBody>
        </p:sp>
        <p:sp>
          <p:nvSpPr>
            <p:cNvPr id="29" name="Oval 17"/>
            <p:cNvSpPr>
              <a:spLocks noChangeArrowheads="1"/>
            </p:cNvSpPr>
            <p:nvPr/>
          </p:nvSpPr>
          <p:spPr bwMode="auto">
            <a:xfrm>
              <a:off x="5372122" y="2941482"/>
              <a:ext cx="1447753" cy="291462"/>
            </a:xfrm>
            <a:prstGeom prst="ellipse">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pPr algn="ctr"/>
              <a:endParaRPr lang="id-ID"/>
            </a:p>
          </p:txBody>
        </p:sp>
      </p:grpSp>
      <p:grpSp>
        <p:nvGrpSpPr>
          <p:cNvPr id="30" name="Group 29"/>
          <p:cNvGrpSpPr/>
          <p:nvPr/>
        </p:nvGrpSpPr>
        <p:grpSpPr>
          <a:xfrm flipH="1">
            <a:off x="941409" y="2846944"/>
            <a:ext cx="1924972" cy="905405"/>
            <a:chOff x="4930377" y="2081669"/>
            <a:chExt cx="2331245" cy="1096495"/>
          </a:xfrm>
        </p:grpSpPr>
        <p:grpSp>
          <p:nvGrpSpPr>
            <p:cNvPr id="31" name="Group 30"/>
            <p:cNvGrpSpPr/>
            <p:nvPr/>
          </p:nvGrpSpPr>
          <p:grpSpPr>
            <a:xfrm>
              <a:off x="4930377" y="2081669"/>
              <a:ext cx="2331245" cy="1096495"/>
              <a:chOff x="4930376" y="2059476"/>
              <a:chExt cx="2331245" cy="1096495"/>
            </a:xfrm>
          </p:grpSpPr>
          <p:sp>
            <p:nvSpPr>
              <p:cNvPr id="33" name="Freeform 5"/>
              <p:cNvSpPr>
                <a:spLocks/>
              </p:cNvSpPr>
              <p:nvPr/>
            </p:nvSpPr>
            <p:spPr bwMode="auto">
              <a:xfrm>
                <a:off x="4930376" y="2387062"/>
                <a:ext cx="2331245" cy="768909"/>
              </a:xfrm>
              <a:custGeom>
                <a:avLst/>
                <a:gdLst>
                  <a:gd name="T0" fmla="*/ 1446 w 1446"/>
                  <a:gd name="T1" fmla="*/ 0 h 475"/>
                  <a:gd name="T2" fmla="*/ 1446 w 1446"/>
                  <a:gd name="T3" fmla="*/ 273 h 475"/>
                  <a:gd name="T4" fmla="*/ 723 w 1446"/>
                  <a:gd name="T5" fmla="*/ 475 h 475"/>
                  <a:gd name="T6" fmla="*/ 0 w 1446"/>
                  <a:gd name="T7" fmla="*/ 273 h 475"/>
                  <a:gd name="T8" fmla="*/ 0 w 1446"/>
                  <a:gd name="T9" fmla="*/ 0 h 475"/>
                  <a:gd name="T10" fmla="*/ 723 w 1446"/>
                  <a:gd name="T11" fmla="*/ 84 h 475"/>
                  <a:gd name="T12" fmla="*/ 1446 w 1446"/>
                  <a:gd name="T13" fmla="*/ 0 h 475"/>
                </a:gdLst>
                <a:ahLst/>
                <a:cxnLst>
                  <a:cxn ang="0">
                    <a:pos x="T0" y="T1"/>
                  </a:cxn>
                  <a:cxn ang="0">
                    <a:pos x="T2" y="T3"/>
                  </a:cxn>
                  <a:cxn ang="0">
                    <a:pos x="T4" y="T5"/>
                  </a:cxn>
                  <a:cxn ang="0">
                    <a:pos x="T6" y="T7"/>
                  </a:cxn>
                  <a:cxn ang="0">
                    <a:pos x="T8" y="T9"/>
                  </a:cxn>
                  <a:cxn ang="0">
                    <a:pos x="T10" y="T11"/>
                  </a:cxn>
                  <a:cxn ang="0">
                    <a:pos x="T12" y="T13"/>
                  </a:cxn>
                </a:cxnLst>
                <a:rect l="0" t="0" r="r" b="b"/>
                <a:pathLst>
                  <a:path w="1446" h="475">
                    <a:moveTo>
                      <a:pt x="1446" y="0"/>
                    </a:moveTo>
                    <a:cubicBezTo>
                      <a:pt x="1446" y="273"/>
                      <a:pt x="1446" y="273"/>
                      <a:pt x="1446" y="273"/>
                    </a:cubicBezTo>
                    <a:cubicBezTo>
                      <a:pt x="1446" y="384"/>
                      <a:pt x="1122" y="475"/>
                      <a:pt x="723" y="475"/>
                    </a:cubicBezTo>
                    <a:cubicBezTo>
                      <a:pt x="324" y="475"/>
                      <a:pt x="0" y="384"/>
                      <a:pt x="0" y="273"/>
                    </a:cubicBezTo>
                    <a:cubicBezTo>
                      <a:pt x="0" y="0"/>
                      <a:pt x="0" y="0"/>
                      <a:pt x="0" y="0"/>
                    </a:cubicBezTo>
                    <a:cubicBezTo>
                      <a:pt x="0" y="0"/>
                      <a:pt x="440" y="84"/>
                      <a:pt x="723" y="84"/>
                    </a:cubicBezTo>
                    <a:cubicBezTo>
                      <a:pt x="967" y="84"/>
                      <a:pt x="1446" y="0"/>
                      <a:pt x="1446" y="0"/>
                    </a:cubicBezTo>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algn="ctr"/>
                <a:endParaRPr lang="id-ID"/>
              </a:p>
            </p:txBody>
          </p:sp>
          <p:sp>
            <p:nvSpPr>
              <p:cNvPr id="34" name="Oval 9"/>
              <p:cNvSpPr>
                <a:spLocks noChangeArrowheads="1"/>
              </p:cNvSpPr>
              <p:nvPr/>
            </p:nvSpPr>
            <p:spPr bwMode="auto">
              <a:xfrm>
                <a:off x="4930376" y="2059476"/>
                <a:ext cx="2331245" cy="655173"/>
              </a:xfrm>
              <a:prstGeom prst="ellipse">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pPr algn="ctr"/>
                <a:endParaRPr lang="id-ID"/>
              </a:p>
            </p:txBody>
          </p:sp>
        </p:grpSp>
        <p:sp>
          <p:nvSpPr>
            <p:cNvPr id="32" name="Oval 17"/>
            <p:cNvSpPr>
              <a:spLocks noChangeArrowheads="1"/>
            </p:cNvSpPr>
            <p:nvPr/>
          </p:nvSpPr>
          <p:spPr bwMode="auto">
            <a:xfrm>
              <a:off x="5414147" y="2278742"/>
              <a:ext cx="1363706" cy="274542"/>
            </a:xfrm>
            <a:prstGeom prst="ellipse">
              <a:avLst/>
            </a:pr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algn="ctr"/>
              <a:endParaRPr lang="id-ID"/>
            </a:p>
          </p:txBody>
        </p:sp>
      </p:grpSp>
      <p:sp>
        <p:nvSpPr>
          <p:cNvPr id="37" name="Freeform 49"/>
          <p:cNvSpPr>
            <a:spLocks noEditPoints="1"/>
          </p:cNvSpPr>
          <p:nvPr/>
        </p:nvSpPr>
        <p:spPr bwMode="auto">
          <a:xfrm>
            <a:off x="1752976" y="3420814"/>
            <a:ext cx="252088" cy="207464"/>
          </a:xfrm>
          <a:custGeom>
            <a:avLst/>
            <a:gdLst>
              <a:gd name="T0" fmla="*/ 123 w 136"/>
              <a:gd name="T1" fmla="*/ 22 h 112"/>
              <a:gd name="T2" fmla="*/ 92 w 136"/>
              <a:gd name="T3" fmla="*/ 22 h 112"/>
              <a:gd name="T4" fmla="*/ 92 w 136"/>
              <a:gd name="T5" fmla="*/ 14 h 112"/>
              <a:gd name="T6" fmla="*/ 79 w 136"/>
              <a:gd name="T7" fmla="*/ 0 h 112"/>
              <a:gd name="T8" fmla="*/ 57 w 136"/>
              <a:gd name="T9" fmla="*/ 0 h 112"/>
              <a:gd name="T10" fmla="*/ 44 w 136"/>
              <a:gd name="T11" fmla="*/ 14 h 112"/>
              <a:gd name="T12" fmla="*/ 44 w 136"/>
              <a:gd name="T13" fmla="*/ 22 h 112"/>
              <a:gd name="T14" fmla="*/ 12 w 136"/>
              <a:gd name="T15" fmla="*/ 22 h 112"/>
              <a:gd name="T16" fmla="*/ 0 w 136"/>
              <a:gd name="T17" fmla="*/ 34 h 112"/>
              <a:gd name="T18" fmla="*/ 0 w 136"/>
              <a:gd name="T19" fmla="*/ 99 h 112"/>
              <a:gd name="T20" fmla="*/ 12 w 136"/>
              <a:gd name="T21" fmla="*/ 112 h 112"/>
              <a:gd name="T22" fmla="*/ 123 w 136"/>
              <a:gd name="T23" fmla="*/ 112 h 112"/>
              <a:gd name="T24" fmla="*/ 136 w 136"/>
              <a:gd name="T25" fmla="*/ 99 h 112"/>
              <a:gd name="T26" fmla="*/ 136 w 136"/>
              <a:gd name="T27" fmla="*/ 34 h 112"/>
              <a:gd name="T28" fmla="*/ 123 w 136"/>
              <a:gd name="T29" fmla="*/ 22 h 112"/>
              <a:gd name="T30" fmla="*/ 22 w 136"/>
              <a:gd name="T31" fmla="*/ 104 h 112"/>
              <a:gd name="T32" fmla="*/ 22 w 136"/>
              <a:gd name="T33" fmla="*/ 29 h 112"/>
              <a:gd name="T34" fmla="*/ 39 w 136"/>
              <a:gd name="T35" fmla="*/ 29 h 112"/>
              <a:gd name="T36" fmla="*/ 39 w 136"/>
              <a:gd name="T37" fmla="*/ 104 h 112"/>
              <a:gd name="T38" fmla="*/ 22 w 136"/>
              <a:gd name="T39" fmla="*/ 104 h 112"/>
              <a:gd name="T40" fmla="*/ 83 w 136"/>
              <a:gd name="T41" fmla="*/ 22 h 112"/>
              <a:gd name="T42" fmla="*/ 52 w 136"/>
              <a:gd name="T43" fmla="*/ 22 h 112"/>
              <a:gd name="T44" fmla="*/ 52 w 136"/>
              <a:gd name="T45" fmla="*/ 14 h 112"/>
              <a:gd name="T46" fmla="*/ 57 w 136"/>
              <a:gd name="T47" fmla="*/ 9 h 112"/>
              <a:gd name="T48" fmla="*/ 79 w 136"/>
              <a:gd name="T49" fmla="*/ 9 h 112"/>
              <a:gd name="T50" fmla="*/ 83 w 136"/>
              <a:gd name="T51" fmla="*/ 14 h 112"/>
              <a:gd name="T52" fmla="*/ 83 w 136"/>
              <a:gd name="T53" fmla="*/ 22 h 112"/>
              <a:gd name="T54" fmla="*/ 96 w 136"/>
              <a:gd name="T55" fmla="*/ 104 h 112"/>
              <a:gd name="T56" fmla="*/ 96 w 136"/>
              <a:gd name="T57" fmla="*/ 29 h 112"/>
              <a:gd name="T58" fmla="*/ 114 w 136"/>
              <a:gd name="T59" fmla="*/ 29 h 112"/>
              <a:gd name="T60" fmla="*/ 114 w 136"/>
              <a:gd name="T61" fmla="*/ 104 h 112"/>
              <a:gd name="T62" fmla="*/ 96 w 136"/>
              <a:gd name="T63" fmla="*/ 10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6" h="112">
                <a:moveTo>
                  <a:pt x="123" y="22"/>
                </a:moveTo>
                <a:cubicBezTo>
                  <a:pt x="92" y="22"/>
                  <a:pt x="92" y="22"/>
                  <a:pt x="92" y="22"/>
                </a:cubicBezTo>
                <a:cubicBezTo>
                  <a:pt x="92" y="14"/>
                  <a:pt x="92" y="14"/>
                  <a:pt x="92" y="14"/>
                </a:cubicBezTo>
                <a:cubicBezTo>
                  <a:pt x="92" y="6"/>
                  <a:pt x="86" y="0"/>
                  <a:pt x="79" y="0"/>
                </a:cubicBezTo>
                <a:cubicBezTo>
                  <a:pt x="57" y="0"/>
                  <a:pt x="57" y="0"/>
                  <a:pt x="57" y="0"/>
                </a:cubicBezTo>
                <a:cubicBezTo>
                  <a:pt x="50" y="0"/>
                  <a:pt x="44" y="6"/>
                  <a:pt x="44" y="14"/>
                </a:cubicBezTo>
                <a:cubicBezTo>
                  <a:pt x="44" y="22"/>
                  <a:pt x="44" y="22"/>
                  <a:pt x="44" y="22"/>
                </a:cubicBezTo>
                <a:cubicBezTo>
                  <a:pt x="12" y="22"/>
                  <a:pt x="12" y="22"/>
                  <a:pt x="12" y="22"/>
                </a:cubicBezTo>
                <a:cubicBezTo>
                  <a:pt x="5" y="22"/>
                  <a:pt x="0" y="27"/>
                  <a:pt x="0" y="34"/>
                </a:cubicBezTo>
                <a:cubicBezTo>
                  <a:pt x="0" y="99"/>
                  <a:pt x="0" y="99"/>
                  <a:pt x="0" y="99"/>
                </a:cubicBezTo>
                <a:cubicBezTo>
                  <a:pt x="0" y="106"/>
                  <a:pt x="5" y="112"/>
                  <a:pt x="12" y="112"/>
                </a:cubicBezTo>
                <a:cubicBezTo>
                  <a:pt x="123" y="112"/>
                  <a:pt x="123" y="112"/>
                  <a:pt x="123" y="112"/>
                </a:cubicBezTo>
                <a:cubicBezTo>
                  <a:pt x="130" y="112"/>
                  <a:pt x="136" y="106"/>
                  <a:pt x="136" y="99"/>
                </a:cubicBezTo>
                <a:cubicBezTo>
                  <a:pt x="136" y="34"/>
                  <a:pt x="136" y="34"/>
                  <a:pt x="136" y="34"/>
                </a:cubicBezTo>
                <a:cubicBezTo>
                  <a:pt x="136" y="27"/>
                  <a:pt x="130" y="22"/>
                  <a:pt x="123" y="22"/>
                </a:cubicBezTo>
                <a:close/>
                <a:moveTo>
                  <a:pt x="22" y="104"/>
                </a:moveTo>
                <a:cubicBezTo>
                  <a:pt x="22" y="29"/>
                  <a:pt x="22" y="29"/>
                  <a:pt x="22" y="29"/>
                </a:cubicBezTo>
                <a:cubicBezTo>
                  <a:pt x="39" y="29"/>
                  <a:pt x="39" y="29"/>
                  <a:pt x="39" y="29"/>
                </a:cubicBezTo>
                <a:cubicBezTo>
                  <a:pt x="39" y="104"/>
                  <a:pt x="39" y="104"/>
                  <a:pt x="39" y="104"/>
                </a:cubicBezTo>
                <a:lnTo>
                  <a:pt x="22" y="104"/>
                </a:lnTo>
                <a:close/>
                <a:moveTo>
                  <a:pt x="83" y="22"/>
                </a:moveTo>
                <a:cubicBezTo>
                  <a:pt x="52" y="22"/>
                  <a:pt x="52" y="22"/>
                  <a:pt x="52" y="22"/>
                </a:cubicBezTo>
                <a:cubicBezTo>
                  <a:pt x="52" y="14"/>
                  <a:pt x="52" y="14"/>
                  <a:pt x="52" y="14"/>
                </a:cubicBezTo>
                <a:cubicBezTo>
                  <a:pt x="52" y="11"/>
                  <a:pt x="54" y="9"/>
                  <a:pt x="57" y="9"/>
                </a:cubicBezTo>
                <a:cubicBezTo>
                  <a:pt x="79" y="9"/>
                  <a:pt x="79" y="9"/>
                  <a:pt x="79" y="9"/>
                </a:cubicBezTo>
                <a:cubicBezTo>
                  <a:pt x="81" y="9"/>
                  <a:pt x="83" y="11"/>
                  <a:pt x="83" y="14"/>
                </a:cubicBezTo>
                <a:lnTo>
                  <a:pt x="83" y="22"/>
                </a:lnTo>
                <a:close/>
                <a:moveTo>
                  <a:pt x="96" y="104"/>
                </a:moveTo>
                <a:cubicBezTo>
                  <a:pt x="96" y="29"/>
                  <a:pt x="96" y="29"/>
                  <a:pt x="96" y="29"/>
                </a:cubicBezTo>
                <a:cubicBezTo>
                  <a:pt x="114" y="29"/>
                  <a:pt x="114" y="29"/>
                  <a:pt x="114" y="29"/>
                </a:cubicBezTo>
                <a:cubicBezTo>
                  <a:pt x="114" y="104"/>
                  <a:pt x="114" y="104"/>
                  <a:pt x="114" y="104"/>
                </a:cubicBezTo>
                <a:lnTo>
                  <a:pt x="96" y="104"/>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id-ID"/>
          </a:p>
        </p:txBody>
      </p:sp>
      <p:sp>
        <p:nvSpPr>
          <p:cNvPr id="38" name="TextBox 37"/>
          <p:cNvSpPr txBox="1"/>
          <p:nvPr/>
        </p:nvSpPr>
        <p:spPr>
          <a:xfrm flipH="1">
            <a:off x="2960395" y="3028773"/>
            <a:ext cx="1532792" cy="276999"/>
          </a:xfrm>
          <a:prstGeom prst="rect">
            <a:avLst/>
          </a:prstGeom>
          <a:noFill/>
        </p:spPr>
        <p:txBody>
          <a:bodyPr wrap="none" rtlCol="0">
            <a:spAutoFit/>
          </a:bodyPr>
          <a:lstStyle/>
          <a:p>
            <a:r>
              <a:rPr lang="en-US" sz="1200" dirty="0" smtClean="0">
                <a:solidFill>
                  <a:schemeClr val="bg2"/>
                </a:solidFill>
                <a:latin typeface="Raleway" panose="020B0003030101060003" pitchFamily="34" charset="0"/>
              </a:rPr>
              <a:t>Growing population</a:t>
            </a:r>
            <a:endParaRPr lang="id-ID" sz="1200" dirty="0">
              <a:solidFill>
                <a:schemeClr val="bg2"/>
              </a:solidFill>
              <a:latin typeface="Raleway" panose="020B0003030101060003" pitchFamily="34" charset="0"/>
            </a:endParaRPr>
          </a:p>
        </p:txBody>
      </p:sp>
      <p:grpSp>
        <p:nvGrpSpPr>
          <p:cNvPr id="39" name="Group 38"/>
          <p:cNvGrpSpPr/>
          <p:nvPr/>
        </p:nvGrpSpPr>
        <p:grpSpPr>
          <a:xfrm>
            <a:off x="1813037" y="4766235"/>
            <a:ext cx="256078" cy="257863"/>
            <a:chOff x="9009063" y="3759201"/>
            <a:chExt cx="455613" cy="458788"/>
          </a:xfrm>
          <a:solidFill>
            <a:schemeClr val="bg2"/>
          </a:solidFill>
        </p:grpSpPr>
        <p:sp>
          <p:nvSpPr>
            <p:cNvPr id="40" name="Rectangle 140"/>
            <p:cNvSpPr>
              <a:spLocks noChangeArrowheads="1"/>
            </p:cNvSpPr>
            <p:nvPr/>
          </p:nvSpPr>
          <p:spPr bwMode="auto">
            <a:xfrm>
              <a:off x="9099550" y="4033838"/>
              <a:ext cx="269875" cy="23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solidFill>
                  <a:schemeClr val="bg1"/>
                </a:solidFill>
              </a:endParaRPr>
            </a:p>
          </p:txBody>
        </p:sp>
        <p:sp>
          <p:nvSpPr>
            <p:cNvPr id="41" name="Rectangle 141"/>
            <p:cNvSpPr>
              <a:spLocks noChangeArrowheads="1"/>
            </p:cNvSpPr>
            <p:nvPr/>
          </p:nvSpPr>
          <p:spPr bwMode="auto">
            <a:xfrm>
              <a:off x="9099550" y="3944938"/>
              <a:ext cx="52388" cy="777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solidFill>
                  <a:schemeClr val="bg1"/>
                </a:solidFill>
              </a:endParaRPr>
            </a:p>
          </p:txBody>
        </p:sp>
        <p:sp>
          <p:nvSpPr>
            <p:cNvPr id="42" name="Rectangle 142"/>
            <p:cNvSpPr>
              <a:spLocks noChangeArrowheads="1"/>
            </p:cNvSpPr>
            <p:nvPr/>
          </p:nvSpPr>
          <p:spPr bwMode="auto">
            <a:xfrm>
              <a:off x="9174163" y="3906838"/>
              <a:ext cx="52388" cy="1158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solidFill>
                  <a:schemeClr val="bg1"/>
                </a:solidFill>
              </a:endParaRPr>
            </a:p>
          </p:txBody>
        </p:sp>
        <p:sp>
          <p:nvSpPr>
            <p:cNvPr id="43" name="Rectangle 143"/>
            <p:cNvSpPr>
              <a:spLocks noChangeArrowheads="1"/>
            </p:cNvSpPr>
            <p:nvPr/>
          </p:nvSpPr>
          <p:spPr bwMode="auto">
            <a:xfrm>
              <a:off x="9245600" y="3860801"/>
              <a:ext cx="52388" cy="1619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solidFill>
                  <a:schemeClr val="bg1"/>
                </a:solidFill>
              </a:endParaRPr>
            </a:p>
          </p:txBody>
        </p:sp>
        <p:sp>
          <p:nvSpPr>
            <p:cNvPr id="44" name="Rectangle 144"/>
            <p:cNvSpPr>
              <a:spLocks noChangeArrowheads="1"/>
            </p:cNvSpPr>
            <p:nvPr/>
          </p:nvSpPr>
          <p:spPr bwMode="auto">
            <a:xfrm>
              <a:off x="9321800" y="3921126"/>
              <a:ext cx="52388" cy="1016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solidFill>
                  <a:schemeClr val="bg1"/>
                </a:solidFill>
              </a:endParaRPr>
            </a:p>
          </p:txBody>
        </p:sp>
        <p:sp>
          <p:nvSpPr>
            <p:cNvPr id="45" name="Freeform 145"/>
            <p:cNvSpPr>
              <a:spLocks noEditPoints="1"/>
            </p:cNvSpPr>
            <p:nvPr/>
          </p:nvSpPr>
          <p:spPr bwMode="auto">
            <a:xfrm>
              <a:off x="9009063" y="3759201"/>
              <a:ext cx="455613" cy="365125"/>
            </a:xfrm>
            <a:custGeom>
              <a:avLst/>
              <a:gdLst>
                <a:gd name="T0" fmla="*/ 105 w 121"/>
                <a:gd name="T1" fmla="*/ 6 h 97"/>
                <a:gd name="T2" fmla="*/ 81 w 121"/>
                <a:gd name="T3" fmla="*/ 6 h 97"/>
                <a:gd name="T4" fmla="*/ 73 w 121"/>
                <a:gd name="T5" fmla="*/ 0 h 97"/>
                <a:gd name="T6" fmla="*/ 48 w 121"/>
                <a:gd name="T7" fmla="*/ 0 h 97"/>
                <a:gd name="T8" fmla="*/ 40 w 121"/>
                <a:gd name="T9" fmla="*/ 6 h 97"/>
                <a:gd name="T10" fmla="*/ 16 w 121"/>
                <a:gd name="T11" fmla="*/ 6 h 97"/>
                <a:gd name="T12" fmla="*/ 0 w 121"/>
                <a:gd name="T13" fmla="*/ 23 h 97"/>
                <a:gd name="T14" fmla="*/ 0 w 121"/>
                <a:gd name="T15" fmla="*/ 81 h 97"/>
                <a:gd name="T16" fmla="*/ 16 w 121"/>
                <a:gd name="T17" fmla="*/ 97 h 97"/>
                <a:gd name="T18" fmla="*/ 105 w 121"/>
                <a:gd name="T19" fmla="*/ 97 h 97"/>
                <a:gd name="T20" fmla="*/ 121 w 121"/>
                <a:gd name="T21" fmla="*/ 81 h 97"/>
                <a:gd name="T22" fmla="*/ 121 w 121"/>
                <a:gd name="T23" fmla="*/ 23 h 97"/>
                <a:gd name="T24" fmla="*/ 105 w 121"/>
                <a:gd name="T25" fmla="*/ 6 h 97"/>
                <a:gd name="T26" fmla="*/ 111 w 121"/>
                <a:gd name="T27" fmla="*/ 81 h 97"/>
                <a:gd name="T28" fmla="*/ 105 w 121"/>
                <a:gd name="T29" fmla="*/ 87 h 97"/>
                <a:gd name="T30" fmla="*/ 16 w 121"/>
                <a:gd name="T31" fmla="*/ 87 h 97"/>
                <a:gd name="T32" fmla="*/ 10 w 121"/>
                <a:gd name="T33" fmla="*/ 81 h 97"/>
                <a:gd name="T34" fmla="*/ 10 w 121"/>
                <a:gd name="T35" fmla="*/ 23 h 97"/>
                <a:gd name="T36" fmla="*/ 16 w 121"/>
                <a:gd name="T37" fmla="*/ 17 h 97"/>
                <a:gd name="T38" fmla="*/ 105 w 121"/>
                <a:gd name="T39" fmla="*/ 17 h 97"/>
                <a:gd name="T40" fmla="*/ 111 w 121"/>
                <a:gd name="T41" fmla="*/ 23 h 97"/>
                <a:gd name="T42" fmla="*/ 111 w 121"/>
                <a:gd name="T43" fmla="*/ 81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1" h="97">
                  <a:moveTo>
                    <a:pt x="105" y="6"/>
                  </a:moveTo>
                  <a:cubicBezTo>
                    <a:pt x="81" y="6"/>
                    <a:pt x="81" y="6"/>
                    <a:pt x="81" y="6"/>
                  </a:cubicBezTo>
                  <a:cubicBezTo>
                    <a:pt x="81" y="2"/>
                    <a:pt x="77" y="0"/>
                    <a:pt x="73" y="0"/>
                  </a:cubicBezTo>
                  <a:cubicBezTo>
                    <a:pt x="48" y="0"/>
                    <a:pt x="48" y="0"/>
                    <a:pt x="48" y="0"/>
                  </a:cubicBezTo>
                  <a:cubicBezTo>
                    <a:pt x="44" y="0"/>
                    <a:pt x="40" y="2"/>
                    <a:pt x="40" y="6"/>
                  </a:cubicBezTo>
                  <a:cubicBezTo>
                    <a:pt x="16" y="6"/>
                    <a:pt x="16" y="6"/>
                    <a:pt x="16" y="6"/>
                  </a:cubicBezTo>
                  <a:cubicBezTo>
                    <a:pt x="7" y="6"/>
                    <a:pt x="0" y="14"/>
                    <a:pt x="0" y="23"/>
                  </a:cubicBezTo>
                  <a:cubicBezTo>
                    <a:pt x="0" y="81"/>
                    <a:pt x="0" y="81"/>
                    <a:pt x="0" y="81"/>
                  </a:cubicBezTo>
                  <a:cubicBezTo>
                    <a:pt x="0" y="90"/>
                    <a:pt x="7" y="97"/>
                    <a:pt x="16" y="97"/>
                  </a:cubicBezTo>
                  <a:cubicBezTo>
                    <a:pt x="105" y="97"/>
                    <a:pt x="105" y="97"/>
                    <a:pt x="105" y="97"/>
                  </a:cubicBezTo>
                  <a:cubicBezTo>
                    <a:pt x="114" y="97"/>
                    <a:pt x="121" y="90"/>
                    <a:pt x="121" y="81"/>
                  </a:cubicBezTo>
                  <a:cubicBezTo>
                    <a:pt x="121" y="23"/>
                    <a:pt x="121" y="23"/>
                    <a:pt x="121" y="23"/>
                  </a:cubicBezTo>
                  <a:cubicBezTo>
                    <a:pt x="121" y="14"/>
                    <a:pt x="114" y="6"/>
                    <a:pt x="105" y="6"/>
                  </a:cubicBezTo>
                  <a:close/>
                  <a:moveTo>
                    <a:pt x="111" y="81"/>
                  </a:moveTo>
                  <a:cubicBezTo>
                    <a:pt x="111" y="84"/>
                    <a:pt x="108" y="87"/>
                    <a:pt x="105" y="87"/>
                  </a:cubicBezTo>
                  <a:cubicBezTo>
                    <a:pt x="16" y="87"/>
                    <a:pt x="16" y="87"/>
                    <a:pt x="16" y="87"/>
                  </a:cubicBezTo>
                  <a:cubicBezTo>
                    <a:pt x="13" y="87"/>
                    <a:pt x="10" y="84"/>
                    <a:pt x="10" y="81"/>
                  </a:cubicBezTo>
                  <a:cubicBezTo>
                    <a:pt x="10" y="23"/>
                    <a:pt x="10" y="23"/>
                    <a:pt x="10" y="23"/>
                  </a:cubicBezTo>
                  <a:cubicBezTo>
                    <a:pt x="10" y="20"/>
                    <a:pt x="13" y="17"/>
                    <a:pt x="16" y="17"/>
                  </a:cubicBezTo>
                  <a:cubicBezTo>
                    <a:pt x="105" y="17"/>
                    <a:pt x="105" y="17"/>
                    <a:pt x="105" y="17"/>
                  </a:cubicBezTo>
                  <a:cubicBezTo>
                    <a:pt x="108" y="17"/>
                    <a:pt x="111" y="20"/>
                    <a:pt x="111" y="23"/>
                  </a:cubicBezTo>
                  <a:lnTo>
                    <a:pt x="111"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chemeClr val="bg1"/>
                </a:solidFill>
              </a:endParaRPr>
            </a:p>
          </p:txBody>
        </p:sp>
        <p:sp>
          <p:nvSpPr>
            <p:cNvPr id="46" name="Freeform 146"/>
            <p:cNvSpPr>
              <a:spLocks/>
            </p:cNvSpPr>
            <p:nvPr/>
          </p:nvSpPr>
          <p:spPr bwMode="auto">
            <a:xfrm>
              <a:off x="9069388" y="4143376"/>
              <a:ext cx="79375" cy="74613"/>
            </a:xfrm>
            <a:custGeom>
              <a:avLst/>
              <a:gdLst>
                <a:gd name="T0" fmla="*/ 2 w 21"/>
                <a:gd name="T1" fmla="*/ 13 h 20"/>
                <a:gd name="T2" fmla="*/ 4 w 21"/>
                <a:gd name="T3" fmla="*/ 20 h 20"/>
                <a:gd name="T4" fmla="*/ 6 w 21"/>
                <a:gd name="T5" fmla="*/ 20 h 20"/>
                <a:gd name="T6" fmla="*/ 11 w 21"/>
                <a:gd name="T7" fmla="*/ 18 h 20"/>
                <a:gd name="T8" fmla="*/ 21 w 21"/>
                <a:gd name="T9" fmla="*/ 0 h 20"/>
                <a:gd name="T10" fmla="*/ 9 w 21"/>
                <a:gd name="T11" fmla="*/ 0 h 20"/>
                <a:gd name="T12" fmla="*/ 2 w 21"/>
                <a:gd name="T13" fmla="*/ 13 h 20"/>
              </a:gdLst>
              <a:ahLst/>
              <a:cxnLst>
                <a:cxn ang="0">
                  <a:pos x="T0" y="T1"/>
                </a:cxn>
                <a:cxn ang="0">
                  <a:pos x="T2" y="T3"/>
                </a:cxn>
                <a:cxn ang="0">
                  <a:pos x="T4" y="T5"/>
                </a:cxn>
                <a:cxn ang="0">
                  <a:pos x="T6" y="T7"/>
                </a:cxn>
                <a:cxn ang="0">
                  <a:pos x="T8" y="T9"/>
                </a:cxn>
                <a:cxn ang="0">
                  <a:pos x="T10" y="T11"/>
                </a:cxn>
                <a:cxn ang="0">
                  <a:pos x="T12" y="T13"/>
                </a:cxn>
              </a:cxnLst>
              <a:rect l="0" t="0" r="r" b="b"/>
              <a:pathLst>
                <a:path w="21" h="20">
                  <a:moveTo>
                    <a:pt x="2" y="13"/>
                  </a:moveTo>
                  <a:cubicBezTo>
                    <a:pt x="0" y="15"/>
                    <a:pt x="1" y="18"/>
                    <a:pt x="4" y="20"/>
                  </a:cubicBezTo>
                  <a:cubicBezTo>
                    <a:pt x="4" y="20"/>
                    <a:pt x="5" y="20"/>
                    <a:pt x="6" y="20"/>
                  </a:cubicBezTo>
                  <a:cubicBezTo>
                    <a:pt x="8" y="20"/>
                    <a:pt x="10" y="19"/>
                    <a:pt x="11" y="18"/>
                  </a:cubicBezTo>
                  <a:cubicBezTo>
                    <a:pt x="21" y="0"/>
                    <a:pt x="21" y="0"/>
                    <a:pt x="21" y="0"/>
                  </a:cubicBezTo>
                  <a:cubicBezTo>
                    <a:pt x="9" y="0"/>
                    <a:pt x="9" y="0"/>
                    <a:pt x="9" y="0"/>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chemeClr val="bg1"/>
                </a:solidFill>
              </a:endParaRPr>
            </a:p>
          </p:txBody>
        </p:sp>
        <p:sp>
          <p:nvSpPr>
            <p:cNvPr id="47" name="Freeform 147"/>
            <p:cNvSpPr>
              <a:spLocks/>
            </p:cNvSpPr>
            <p:nvPr/>
          </p:nvSpPr>
          <p:spPr bwMode="auto">
            <a:xfrm>
              <a:off x="9324975" y="4143376"/>
              <a:ext cx="79375" cy="74613"/>
            </a:xfrm>
            <a:custGeom>
              <a:avLst/>
              <a:gdLst>
                <a:gd name="T0" fmla="*/ 12 w 21"/>
                <a:gd name="T1" fmla="*/ 0 h 20"/>
                <a:gd name="T2" fmla="*/ 0 w 21"/>
                <a:gd name="T3" fmla="*/ 0 h 20"/>
                <a:gd name="T4" fmla="*/ 10 w 21"/>
                <a:gd name="T5" fmla="*/ 18 h 20"/>
                <a:gd name="T6" fmla="*/ 15 w 21"/>
                <a:gd name="T7" fmla="*/ 20 h 20"/>
                <a:gd name="T8" fmla="*/ 17 w 21"/>
                <a:gd name="T9" fmla="*/ 20 h 20"/>
                <a:gd name="T10" fmla="*/ 19 w 21"/>
                <a:gd name="T11" fmla="*/ 13 h 20"/>
                <a:gd name="T12" fmla="*/ 12 w 21"/>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1" h="20">
                  <a:moveTo>
                    <a:pt x="12" y="0"/>
                  </a:moveTo>
                  <a:cubicBezTo>
                    <a:pt x="0" y="0"/>
                    <a:pt x="0" y="0"/>
                    <a:pt x="0" y="0"/>
                  </a:cubicBezTo>
                  <a:cubicBezTo>
                    <a:pt x="10" y="18"/>
                    <a:pt x="10" y="18"/>
                    <a:pt x="10" y="18"/>
                  </a:cubicBezTo>
                  <a:cubicBezTo>
                    <a:pt x="11" y="19"/>
                    <a:pt x="13" y="20"/>
                    <a:pt x="15" y="20"/>
                  </a:cubicBezTo>
                  <a:cubicBezTo>
                    <a:pt x="16" y="20"/>
                    <a:pt x="17" y="20"/>
                    <a:pt x="17" y="20"/>
                  </a:cubicBezTo>
                  <a:cubicBezTo>
                    <a:pt x="20" y="18"/>
                    <a:pt x="21" y="15"/>
                    <a:pt x="19" y="13"/>
                  </a:cubicBez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chemeClr val="bg1"/>
                </a:solidFill>
              </a:endParaRPr>
            </a:p>
          </p:txBody>
        </p:sp>
      </p:grpSp>
      <p:grpSp>
        <p:nvGrpSpPr>
          <p:cNvPr id="51" name="Group 50"/>
          <p:cNvGrpSpPr/>
          <p:nvPr/>
        </p:nvGrpSpPr>
        <p:grpSpPr>
          <a:xfrm>
            <a:off x="1756320" y="4066860"/>
            <a:ext cx="282183" cy="218050"/>
            <a:chOff x="6715125" y="4873626"/>
            <a:chExt cx="593726" cy="458788"/>
          </a:xfrm>
          <a:solidFill>
            <a:schemeClr val="bg2"/>
          </a:solidFill>
        </p:grpSpPr>
        <p:sp>
          <p:nvSpPr>
            <p:cNvPr id="52" name="Freeform 149"/>
            <p:cNvSpPr>
              <a:spLocks/>
            </p:cNvSpPr>
            <p:nvPr/>
          </p:nvSpPr>
          <p:spPr bwMode="auto">
            <a:xfrm>
              <a:off x="7050088" y="4873626"/>
              <a:ext cx="258763" cy="269875"/>
            </a:xfrm>
            <a:custGeom>
              <a:avLst/>
              <a:gdLst>
                <a:gd name="T0" fmla="*/ 53 w 69"/>
                <a:gd name="T1" fmla="*/ 43 h 72"/>
                <a:gd name="T2" fmla="*/ 47 w 69"/>
                <a:gd name="T3" fmla="*/ 26 h 72"/>
                <a:gd name="T4" fmla="*/ 34 w 69"/>
                <a:gd name="T5" fmla="*/ 11 h 72"/>
                <a:gd name="T6" fmla="*/ 18 w 69"/>
                <a:gd name="T7" fmla="*/ 2 h 72"/>
                <a:gd name="T8" fmla="*/ 0 w 69"/>
                <a:gd name="T9" fmla="*/ 1 h 72"/>
                <a:gd name="T10" fmla="*/ 0 w 69"/>
                <a:gd name="T11" fmla="*/ 1 h 72"/>
                <a:gd name="T12" fmla="*/ 16 w 69"/>
                <a:gd name="T13" fmla="*/ 6 h 72"/>
                <a:gd name="T14" fmla="*/ 28 w 69"/>
                <a:gd name="T15" fmla="*/ 17 h 72"/>
                <a:gd name="T16" fmla="*/ 35 w 69"/>
                <a:gd name="T17" fmla="*/ 31 h 72"/>
                <a:gd name="T18" fmla="*/ 36 w 69"/>
                <a:gd name="T19" fmla="*/ 43 h 72"/>
                <a:gd name="T20" fmla="*/ 20 w 69"/>
                <a:gd name="T21" fmla="*/ 43 h 72"/>
                <a:gd name="T22" fmla="*/ 32 w 69"/>
                <a:gd name="T23" fmla="*/ 58 h 72"/>
                <a:gd name="T24" fmla="*/ 44 w 69"/>
                <a:gd name="T25" fmla="*/ 72 h 72"/>
                <a:gd name="T26" fmla="*/ 56 w 69"/>
                <a:gd name="T27" fmla="*/ 58 h 72"/>
                <a:gd name="T28" fmla="*/ 69 w 69"/>
                <a:gd name="T29" fmla="*/ 43 h 72"/>
                <a:gd name="T30" fmla="*/ 53 w 69"/>
                <a:gd name="T31" fmla="*/ 43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72">
                  <a:moveTo>
                    <a:pt x="53" y="43"/>
                  </a:moveTo>
                  <a:cubicBezTo>
                    <a:pt x="52" y="37"/>
                    <a:pt x="50" y="31"/>
                    <a:pt x="47" y="26"/>
                  </a:cubicBezTo>
                  <a:cubicBezTo>
                    <a:pt x="44" y="20"/>
                    <a:pt x="39" y="15"/>
                    <a:pt x="34" y="11"/>
                  </a:cubicBezTo>
                  <a:cubicBezTo>
                    <a:pt x="29" y="7"/>
                    <a:pt x="24" y="4"/>
                    <a:pt x="18" y="2"/>
                  </a:cubicBezTo>
                  <a:cubicBezTo>
                    <a:pt x="12" y="0"/>
                    <a:pt x="6" y="0"/>
                    <a:pt x="0" y="1"/>
                  </a:cubicBezTo>
                  <a:cubicBezTo>
                    <a:pt x="0" y="1"/>
                    <a:pt x="0" y="1"/>
                    <a:pt x="0" y="1"/>
                  </a:cubicBezTo>
                  <a:cubicBezTo>
                    <a:pt x="6" y="1"/>
                    <a:pt x="11" y="3"/>
                    <a:pt x="16" y="6"/>
                  </a:cubicBezTo>
                  <a:cubicBezTo>
                    <a:pt x="21" y="9"/>
                    <a:pt x="25" y="13"/>
                    <a:pt x="28" y="17"/>
                  </a:cubicBezTo>
                  <a:cubicBezTo>
                    <a:pt x="31" y="21"/>
                    <a:pt x="34" y="26"/>
                    <a:pt x="35" y="31"/>
                  </a:cubicBezTo>
                  <a:cubicBezTo>
                    <a:pt x="36" y="35"/>
                    <a:pt x="36" y="39"/>
                    <a:pt x="36" y="43"/>
                  </a:cubicBezTo>
                  <a:cubicBezTo>
                    <a:pt x="20" y="43"/>
                    <a:pt x="20" y="43"/>
                    <a:pt x="20" y="43"/>
                  </a:cubicBezTo>
                  <a:cubicBezTo>
                    <a:pt x="32" y="58"/>
                    <a:pt x="32" y="58"/>
                    <a:pt x="32" y="58"/>
                  </a:cubicBezTo>
                  <a:cubicBezTo>
                    <a:pt x="44" y="72"/>
                    <a:pt x="44" y="72"/>
                    <a:pt x="44" y="72"/>
                  </a:cubicBezTo>
                  <a:cubicBezTo>
                    <a:pt x="56" y="58"/>
                    <a:pt x="56" y="58"/>
                    <a:pt x="56" y="58"/>
                  </a:cubicBezTo>
                  <a:cubicBezTo>
                    <a:pt x="69" y="43"/>
                    <a:pt x="69" y="43"/>
                    <a:pt x="69" y="43"/>
                  </a:cubicBezTo>
                  <a:lnTo>
                    <a:pt x="53"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3" name="Freeform 150"/>
            <p:cNvSpPr>
              <a:spLocks/>
            </p:cNvSpPr>
            <p:nvPr/>
          </p:nvSpPr>
          <p:spPr bwMode="auto">
            <a:xfrm>
              <a:off x="6715125" y="5057776"/>
              <a:ext cx="258763" cy="274638"/>
            </a:xfrm>
            <a:custGeom>
              <a:avLst/>
              <a:gdLst>
                <a:gd name="T0" fmla="*/ 40 w 69"/>
                <a:gd name="T1" fmla="*/ 56 h 73"/>
                <a:gd name="T2" fmla="*/ 34 w 69"/>
                <a:gd name="T3" fmla="*/ 42 h 73"/>
                <a:gd name="T4" fmla="*/ 33 w 69"/>
                <a:gd name="T5" fmla="*/ 29 h 73"/>
                <a:gd name="T6" fmla="*/ 48 w 69"/>
                <a:gd name="T7" fmla="*/ 29 h 73"/>
                <a:gd name="T8" fmla="*/ 36 w 69"/>
                <a:gd name="T9" fmla="*/ 15 h 73"/>
                <a:gd name="T10" fmla="*/ 24 w 69"/>
                <a:gd name="T11" fmla="*/ 0 h 73"/>
                <a:gd name="T12" fmla="*/ 12 w 69"/>
                <a:gd name="T13" fmla="*/ 15 h 73"/>
                <a:gd name="T14" fmla="*/ 0 w 69"/>
                <a:gd name="T15" fmla="*/ 29 h 73"/>
                <a:gd name="T16" fmla="*/ 16 w 69"/>
                <a:gd name="T17" fmla="*/ 29 h 73"/>
                <a:gd name="T18" fmla="*/ 21 w 69"/>
                <a:gd name="T19" fmla="*/ 47 h 73"/>
                <a:gd name="T20" fmla="*/ 34 w 69"/>
                <a:gd name="T21" fmla="*/ 62 h 73"/>
                <a:gd name="T22" fmla="*/ 51 w 69"/>
                <a:gd name="T23" fmla="*/ 71 h 73"/>
                <a:gd name="T24" fmla="*/ 69 w 69"/>
                <a:gd name="T25" fmla="*/ 72 h 73"/>
                <a:gd name="T26" fmla="*/ 69 w 69"/>
                <a:gd name="T27" fmla="*/ 72 h 73"/>
                <a:gd name="T28" fmla="*/ 52 w 69"/>
                <a:gd name="T29" fmla="*/ 67 h 73"/>
                <a:gd name="T30" fmla="*/ 40 w 69"/>
                <a:gd name="T31" fmla="*/ 5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 h="73">
                  <a:moveTo>
                    <a:pt x="40" y="56"/>
                  </a:moveTo>
                  <a:cubicBezTo>
                    <a:pt x="37" y="52"/>
                    <a:pt x="35" y="47"/>
                    <a:pt x="34" y="42"/>
                  </a:cubicBezTo>
                  <a:cubicBezTo>
                    <a:pt x="32" y="38"/>
                    <a:pt x="32" y="33"/>
                    <a:pt x="33" y="29"/>
                  </a:cubicBezTo>
                  <a:cubicBezTo>
                    <a:pt x="48" y="29"/>
                    <a:pt x="48" y="29"/>
                    <a:pt x="48" y="29"/>
                  </a:cubicBezTo>
                  <a:cubicBezTo>
                    <a:pt x="36" y="15"/>
                    <a:pt x="36" y="15"/>
                    <a:pt x="36" y="15"/>
                  </a:cubicBezTo>
                  <a:cubicBezTo>
                    <a:pt x="24" y="0"/>
                    <a:pt x="24" y="0"/>
                    <a:pt x="24" y="0"/>
                  </a:cubicBezTo>
                  <a:cubicBezTo>
                    <a:pt x="12" y="15"/>
                    <a:pt x="12" y="15"/>
                    <a:pt x="12" y="15"/>
                  </a:cubicBezTo>
                  <a:cubicBezTo>
                    <a:pt x="0" y="29"/>
                    <a:pt x="0" y="29"/>
                    <a:pt x="0" y="29"/>
                  </a:cubicBezTo>
                  <a:cubicBezTo>
                    <a:pt x="16" y="29"/>
                    <a:pt x="16" y="29"/>
                    <a:pt x="16" y="29"/>
                  </a:cubicBezTo>
                  <a:cubicBezTo>
                    <a:pt x="16" y="36"/>
                    <a:pt x="18" y="42"/>
                    <a:pt x="21" y="47"/>
                  </a:cubicBezTo>
                  <a:cubicBezTo>
                    <a:pt x="25" y="53"/>
                    <a:pt x="29" y="58"/>
                    <a:pt x="34" y="62"/>
                  </a:cubicBezTo>
                  <a:cubicBezTo>
                    <a:pt x="39" y="66"/>
                    <a:pt x="45" y="69"/>
                    <a:pt x="51" y="71"/>
                  </a:cubicBezTo>
                  <a:cubicBezTo>
                    <a:pt x="57" y="72"/>
                    <a:pt x="63" y="73"/>
                    <a:pt x="69" y="72"/>
                  </a:cubicBezTo>
                  <a:cubicBezTo>
                    <a:pt x="69" y="72"/>
                    <a:pt x="69" y="72"/>
                    <a:pt x="69" y="72"/>
                  </a:cubicBezTo>
                  <a:cubicBezTo>
                    <a:pt x="63" y="71"/>
                    <a:pt x="57" y="69"/>
                    <a:pt x="52" y="67"/>
                  </a:cubicBezTo>
                  <a:cubicBezTo>
                    <a:pt x="48" y="64"/>
                    <a:pt x="43" y="60"/>
                    <a:pt x="4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54" name="Freeform 151"/>
            <p:cNvSpPr>
              <a:spLocks/>
            </p:cNvSpPr>
            <p:nvPr/>
          </p:nvSpPr>
          <p:spPr bwMode="auto">
            <a:xfrm>
              <a:off x="6918325" y="4921251"/>
              <a:ext cx="195264" cy="358774"/>
            </a:xfrm>
            <a:custGeom>
              <a:avLst/>
              <a:gdLst>
                <a:gd name="T0" fmla="*/ 33 w 52"/>
                <a:gd name="T1" fmla="*/ 40 h 95"/>
                <a:gd name="T2" fmla="*/ 18 w 52"/>
                <a:gd name="T3" fmla="*/ 30 h 95"/>
                <a:gd name="T4" fmla="*/ 28 w 52"/>
                <a:gd name="T5" fmla="*/ 23 h 95"/>
                <a:gd name="T6" fmla="*/ 45 w 52"/>
                <a:gd name="T7" fmla="*/ 28 h 95"/>
                <a:gd name="T8" fmla="*/ 49 w 52"/>
                <a:gd name="T9" fmla="*/ 14 h 95"/>
                <a:gd name="T10" fmla="*/ 32 w 52"/>
                <a:gd name="T11" fmla="*/ 11 h 95"/>
                <a:gd name="T12" fmla="*/ 32 w 52"/>
                <a:gd name="T13" fmla="*/ 0 h 95"/>
                <a:gd name="T14" fmla="*/ 20 w 52"/>
                <a:gd name="T15" fmla="*/ 0 h 95"/>
                <a:gd name="T16" fmla="*/ 20 w 52"/>
                <a:gd name="T17" fmla="*/ 11 h 95"/>
                <a:gd name="T18" fmla="*/ 1 w 52"/>
                <a:gd name="T19" fmla="*/ 32 h 95"/>
                <a:gd name="T20" fmla="*/ 22 w 52"/>
                <a:gd name="T21" fmla="*/ 53 h 95"/>
                <a:gd name="T22" fmla="*/ 34 w 52"/>
                <a:gd name="T23" fmla="*/ 64 h 95"/>
                <a:gd name="T24" fmla="*/ 23 w 52"/>
                <a:gd name="T25" fmla="*/ 71 h 95"/>
                <a:gd name="T26" fmla="*/ 3 w 52"/>
                <a:gd name="T27" fmla="*/ 66 h 95"/>
                <a:gd name="T28" fmla="*/ 0 w 52"/>
                <a:gd name="T29" fmla="*/ 79 h 95"/>
                <a:gd name="T30" fmla="*/ 20 w 52"/>
                <a:gd name="T31" fmla="*/ 84 h 95"/>
                <a:gd name="T32" fmla="*/ 20 w 52"/>
                <a:gd name="T33" fmla="*/ 95 h 95"/>
                <a:gd name="T34" fmla="*/ 31 w 52"/>
                <a:gd name="T35" fmla="*/ 95 h 95"/>
                <a:gd name="T36" fmla="*/ 31 w 52"/>
                <a:gd name="T37" fmla="*/ 83 h 95"/>
                <a:gd name="T38" fmla="*/ 52 w 52"/>
                <a:gd name="T39" fmla="*/ 62 h 95"/>
                <a:gd name="T40" fmla="*/ 33 w 52"/>
                <a:gd name="T41" fmla="*/ 4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 h="95">
                  <a:moveTo>
                    <a:pt x="33" y="40"/>
                  </a:moveTo>
                  <a:cubicBezTo>
                    <a:pt x="23" y="36"/>
                    <a:pt x="18" y="34"/>
                    <a:pt x="18" y="30"/>
                  </a:cubicBezTo>
                  <a:cubicBezTo>
                    <a:pt x="18" y="27"/>
                    <a:pt x="21" y="23"/>
                    <a:pt x="28" y="23"/>
                  </a:cubicBezTo>
                  <a:cubicBezTo>
                    <a:pt x="37" y="23"/>
                    <a:pt x="42" y="26"/>
                    <a:pt x="45" y="28"/>
                  </a:cubicBezTo>
                  <a:cubicBezTo>
                    <a:pt x="49" y="14"/>
                    <a:pt x="49" y="14"/>
                    <a:pt x="49" y="14"/>
                  </a:cubicBezTo>
                  <a:cubicBezTo>
                    <a:pt x="45" y="13"/>
                    <a:pt x="39" y="11"/>
                    <a:pt x="32" y="11"/>
                  </a:cubicBezTo>
                  <a:cubicBezTo>
                    <a:pt x="32" y="0"/>
                    <a:pt x="32" y="0"/>
                    <a:pt x="32" y="0"/>
                  </a:cubicBezTo>
                  <a:cubicBezTo>
                    <a:pt x="20" y="0"/>
                    <a:pt x="20" y="0"/>
                    <a:pt x="20" y="0"/>
                  </a:cubicBezTo>
                  <a:cubicBezTo>
                    <a:pt x="20" y="11"/>
                    <a:pt x="20" y="11"/>
                    <a:pt x="20" y="11"/>
                  </a:cubicBezTo>
                  <a:cubicBezTo>
                    <a:pt x="8" y="14"/>
                    <a:pt x="1" y="22"/>
                    <a:pt x="1" y="32"/>
                  </a:cubicBezTo>
                  <a:cubicBezTo>
                    <a:pt x="1" y="43"/>
                    <a:pt x="9" y="49"/>
                    <a:pt x="22" y="53"/>
                  </a:cubicBezTo>
                  <a:cubicBezTo>
                    <a:pt x="30" y="56"/>
                    <a:pt x="34" y="59"/>
                    <a:pt x="34" y="64"/>
                  </a:cubicBezTo>
                  <a:cubicBezTo>
                    <a:pt x="34" y="68"/>
                    <a:pt x="30" y="71"/>
                    <a:pt x="23" y="71"/>
                  </a:cubicBezTo>
                  <a:cubicBezTo>
                    <a:pt x="15" y="71"/>
                    <a:pt x="8" y="68"/>
                    <a:pt x="3" y="66"/>
                  </a:cubicBezTo>
                  <a:cubicBezTo>
                    <a:pt x="0" y="79"/>
                    <a:pt x="0" y="79"/>
                    <a:pt x="0" y="79"/>
                  </a:cubicBezTo>
                  <a:cubicBezTo>
                    <a:pt x="4" y="82"/>
                    <a:pt x="12" y="84"/>
                    <a:pt x="20" y="84"/>
                  </a:cubicBezTo>
                  <a:cubicBezTo>
                    <a:pt x="20" y="95"/>
                    <a:pt x="20" y="95"/>
                    <a:pt x="20" y="95"/>
                  </a:cubicBezTo>
                  <a:cubicBezTo>
                    <a:pt x="31" y="95"/>
                    <a:pt x="31" y="95"/>
                    <a:pt x="31" y="95"/>
                  </a:cubicBezTo>
                  <a:cubicBezTo>
                    <a:pt x="31" y="83"/>
                    <a:pt x="31" y="83"/>
                    <a:pt x="31" y="83"/>
                  </a:cubicBezTo>
                  <a:cubicBezTo>
                    <a:pt x="45" y="81"/>
                    <a:pt x="52" y="72"/>
                    <a:pt x="52" y="62"/>
                  </a:cubicBezTo>
                  <a:cubicBezTo>
                    <a:pt x="52" y="51"/>
                    <a:pt x="46" y="45"/>
                    <a:pt x="3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60" name="TextBox 59"/>
          <p:cNvSpPr txBox="1"/>
          <p:nvPr/>
        </p:nvSpPr>
        <p:spPr>
          <a:xfrm flipH="1">
            <a:off x="3090377" y="3638550"/>
            <a:ext cx="1284326" cy="276999"/>
          </a:xfrm>
          <a:prstGeom prst="rect">
            <a:avLst/>
          </a:prstGeom>
          <a:noFill/>
        </p:spPr>
        <p:txBody>
          <a:bodyPr wrap="none" rtlCol="0">
            <a:spAutoFit/>
          </a:bodyPr>
          <a:lstStyle/>
          <a:p>
            <a:r>
              <a:rPr lang="en-US" sz="1200" dirty="0" smtClean="0">
                <a:solidFill>
                  <a:schemeClr val="bg2"/>
                </a:solidFill>
                <a:latin typeface="Raleway" panose="020B0003030101060003" pitchFamily="34" charset="0"/>
              </a:rPr>
              <a:t>Growing income</a:t>
            </a:r>
            <a:endParaRPr lang="id-ID" sz="1200" dirty="0">
              <a:solidFill>
                <a:schemeClr val="bg2"/>
              </a:solidFill>
              <a:latin typeface="Raleway" panose="020B0003030101060003" pitchFamily="34" charset="0"/>
            </a:endParaRPr>
          </a:p>
        </p:txBody>
      </p:sp>
      <p:sp>
        <p:nvSpPr>
          <p:cNvPr id="61" name="TextBox 60"/>
          <p:cNvSpPr txBox="1"/>
          <p:nvPr/>
        </p:nvSpPr>
        <p:spPr>
          <a:xfrm flipH="1">
            <a:off x="3179801" y="4249370"/>
            <a:ext cx="3143809" cy="276999"/>
          </a:xfrm>
          <a:prstGeom prst="rect">
            <a:avLst/>
          </a:prstGeom>
          <a:noFill/>
        </p:spPr>
        <p:txBody>
          <a:bodyPr wrap="none" rtlCol="0">
            <a:spAutoFit/>
          </a:bodyPr>
          <a:lstStyle/>
          <a:p>
            <a:r>
              <a:rPr lang="en-US" sz="1200" dirty="0" smtClean="0">
                <a:solidFill>
                  <a:schemeClr val="bg2"/>
                </a:solidFill>
                <a:latin typeface="Raleway" panose="020B0003030101060003" pitchFamily="34" charset="0"/>
              </a:rPr>
              <a:t>Need for alternative to fossil carbon chains</a:t>
            </a:r>
            <a:endParaRPr lang="id-ID" sz="1200" dirty="0">
              <a:solidFill>
                <a:schemeClr val="bg2"/>
              </a:solidFill>
              <a:latin typeface="Raleway" panose="020B0003030101060003" pitchFamily="34" charset="0"/>
            </a:endParaRPr>
          </a:p>
        </p:txBody>
      </p:sp>
      <p:pic>
        <p:nvPicPr>
          <p:cNvPr id="1026" name="Picture 2" descr="http://www.allourkidsfund.net/wp-content/uploads/2014/06/The-world-of-biomass-300x259.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27883" y="2605155"/>
            <a:ext cx="2325915" cy="2008040"/>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6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3044" y="283714"/>
            <a:ext cx="525826" cy="830652"/>
          </a:xfrm>
          <a:prstGeom prst="rect">
            <a:avLst/>
          </a:prstGeom>
        </p:spPr>
      </p:pic>
    </p:spTree>
    <p:extLst>
      <p:ext uri="{BB962C8B-B14F-4D97-AF65-F5344CB8AC3E}">
        <p14:creationId xmlns:p14="http://schemas.microsoft.com/office/powerpoint/2010/main" val="3953468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1" name="Elbow Connector 40"/>
          <p:cNvCxnSpPr/>
          <p:nvPr/>
        </p:nvCxnSpPr>
        <p:spPr>
          <a:xfrm>
            <a:off x="2124850" y="3250227"/>
            <a:ext cx="697034" cy="193115"/>
          </a:xfrm>
          <a:prstGeom prst="bentConnector3">
            <a:avLst>
              <a:gd name="adj1" fmla="val 50000"/>
            </a:avLst>
          </a:prstGeom>
          <a:ln w="12700">
            <a:solidFill>
              <a:schemeClr val="tx1">
                <a:lumMod val="50000"/>
                <a:lumOff val="50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3" name="Elbow Connector 42"/>
          <p:cNvCxnSpPr/>
          <p:nvPr/>
        </p:nvCxnSpPr>
        <p:spPr>
          <a:xfrm>
            <a:off x="2073332" y="2348880"/>
            <a:ext cx="893700" cy="885879"/>
          </a:xfrm>
          <a:prstGeom prst="bentConnector3">
            <a:avLst>
              <a:gd name="adj1" fmla="val 50000"/>
            </a:avLst>
          </a:prstGeom>
          <a:ln w="12700">
            <a:solidFill>
              <a:schemeClr val="tx1">
                <a:lumMod val="50000"/>
                <a:lumOff val="50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2" name="Elbow Connector 41"/>
          <p:cNvCxnSpPr/>
          <p:nvPr/>
        </p:nvCxnSpPr>
        <p:spPr>
          <a:xfrm flipV="1">
            <a:off x="2073332" y="3670108"/>
            <a:ext cx="1072665" cy="441859"/>
          </a:xfrm>
          <a:prstGeom prst="bentConnector3">
            <a:avLst>
              <a:gd name="adj1" fmla="val 50000"/>
            </a:avLst>
          </a:prstGeom>
          <a:ln w="12700">
            <a:solidFill>
              <a:schemeClr val="tx1">
                <a:lumMod val="50000"/>
                <a:lumOff val="50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28" name="Group 27"/>
          <p:cNvGrpSpPr/>
          <p:nvPr/>
        </p:nvGrpSpPr>
        <p:grpSpPr>
          <a:xfrm>
            <a:off x="2843809" y="2127066"/>
            <a:ext cx="4400608" cy="3143838"/>
            <a:chOff x="773203" y="2393305"/>
            <a:chExt cx="4893744" cy="2338329"/>
          </a:xfrm>
        </p:grpSpPr>
        <p:cxnSp>
          <p:nvCxnSpPr>
            <p:cNvPr id="8" name="Elbow Connector 7"/>
            <p:cNvCxnSpPr/>
            <p:nvPr/>
          </p:nvCxnSpPr>
          <p:spPr>
            <a:xfrm rot="10800000" flipV="1">
              <a:off x="2894263" y="2669507"/>
              <a:ext cx="788655" cy="596544"/>
            </a:xfrm>
            <a:prstGeom prst="bentConnector3">
              <a:avLst>
                <a:gd name="adj1" fmla="val 50000"/>
              </a:avLst>
            </a:prstGeom>
            <a:ln w="12700">
              <a:solidFill>
                <a:schemeClr val="tx1">
                  <a:lumMod val="50000"/>
                  <a:lumOff val="50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9" name="Elbow Connector 8"/>
            <p:cNvCxnSpPr/>
            <p:nvPr/>
          </p:nvCxnSpPr>
          <p:spPr>
            <a:xfrm rot="10800000">
              <a:off x="2888389" y="3585486"/>
              <a:ext cx="798425" cy="592789"/>
            </a:xfrm>
            <a:prstGeom prst="bentConnector3">
              <a:avLst>
                <a:gd name="adj1" fmla="val 50000"/>
              </a:avLst>
            </a:prstGeom>
            <a:ln w="12700">
              <a:solidFill>
                <a:schemeClr val="tx1">
                  <a:lumMod val="50000"/>
                  <a:lumOff val="50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 name="Elbow Connector 9"/>
            <p:cNvCxnSpPr/>
            <p:nvPr/>
          </p:nvCxnSpPr>
          <p:spPr>
            <a:xfrm rot="10800000" flipV="1">
              <a:off x="2888386" y="3416209"/>
              <a:ext cx="798428" cy="3756"/>
            </a:xfrm>
            <a:prstGeom prst="bentConnector3">
              <a:avLst>
                <a:gd name="adj1" fmla="val 50000"/>
              </a:avLst>
            </a:prstGeom>
            <a:ln w="12700">
              <a:solidFill>
                <a:schemeClr val="tx1">
                  <a:lumMod val="50000"/>
                  <a:lumOff val="50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Flowchart: Process 10"/>
            <p:cNvSpPr/>
            <p:nvPr/>
          </p:nvSpPr>
          <p:spPr>
            <a:xfrm>
              <a:off x="3627262" y="2393305"/>
              <a:ext cx="2039685" cy="521681"/>
            </a:xfrm>
            <a:prstGeom prst="flowChartProces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12" name="Rectangle 11"/>
            <p:cNvSpPr/>
            <p:nvPr/>
          </p:nvSpPr>
          <p:spPr>
            <a:xfrm>
              <a:off x="4007530" y="2484868"/>
              <a:ext cx="1226668" cy="434945"/>
            </a:xfrm>
            <a:prstGeom prst="rect">
              <a:avLst/>
            </a:prstGeom>
          </p:spPr>
          <p:txBody>
            <a:bodyPr wrap="none">
              <a:spAutoFit/>
            </a:bodyPr>
            <a:lstStyle/>
            <a:p>
              <a:pPr algn="ctr"/>
              <a:r>
                <a:rPr lang="en-US" sz="1600" dirty="0">
                  <a:solidFill>
                    <a:srgbClr val="F2F2F2"/>
                  </a:solidFill>
                </a:rPr>
                <a:t>Increased </a:t>
              </a:r>
              <a:endParaRPr lang="en-US" sz="1600" dirty="0" smtClean="0">
                <a:solidFill>
                  <a:srgbClr val="F2F2F2"/>
                </a:solidFill>
              </a:endParaRPr>
            </a:p>
            <a:p>
              <a:pPr algn="ctr"/>
              <a:r>
                <a:rPr lang="en-US" sz="1600" dirty="0" smtClean="0">
                  <a:solidFill>
                    <a:srgbClr val="F2F2F2"/>
                  </a:solidFill>
                </a:rPr>
                <a:t>production</a:t>
              </a:r>
              <a:endParaRPr lang="en-US" sz="1600" dirty="0">
                <a:solidFill>
                  <a:srgbClr val="F2F2F2"/>
                </a:solidFill>
              </a:endParaRPr>
            </a:p>
          </p:txBody>
        </p:sp>
        <p:sp>
          <p:nvSpPr>
            <p:cNvPr id="13" name="Flowchart: Process 12"/>
            <p:cNvSpPr/>
            <p:nvPr/>
          </p:nvSpPr>
          <p:spPr>
            <a:xfrm>
              <a:off x="3627262" y="3293433"/>
              <a:ext cx="1980288" cy="521681"/>
            </a:xfrm>
            <a:prstGeom prst="flowChartProcess">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14" name="Rectangle 13"/>
            <p:cNvSpPr/>
            <p:nvPr/>
          </p:nvSpPr>
          <p:spPr>
            <a:xfrm>
              <a:off x="3853107" y="3329760"/>
              <a:ext cx="1528596" cy="449026"/>
            </a:xfrm>
            <a:prstGeom prst="rect">
              <a:avLst/>
            </a:prstGeom>
          </p:spPr>
          <p:txBody>
            <a:bodyPr wrap="none">
              <a:spAutoFit/>
            </a:bodyPr>
            <a:lstStyle/>
            <a:p>
              <a:pPr algn="ctr"/>
              <a:r>
                <a:rPr lang="en-US" sz="1600" dirty="0">
                  <a:solidFill>
                    <a:srgbClr val="F2F2F2"/>
                  </a:solidFill>
                </a:rPr>
                <a:t>Reduced  supply </a:t>
              </a:r>
              <a:endParaRPr lang="en-US" sz="1600" dirty="0" smtClean="0">
                <a:solidFill>
                  <a:srgbClr val="F2F2F2"/>
                </a:solidFill>
              </a:endParaRPr>
            </a:p>
            <a:p>
              <a:pPr algn="ctr"/>
              <a:r>
                <a:rPr lang="en-US" sz="1600" dirty="0" smtClean="0">
                  <a:solidFill>
                    <a:srgbClr val="F2F2F2"/>
                  </a:solidFill>
                </a:rPr>
                <a:t>for </a:t>
              </a:r>
              <a:r>
                <a:rPr lang="en-US" sz="1600" dirty="0">
                  <a:solidFill>
                    <a:srgbClr val="F2F2F2"/>
                  </a:solidFill>
                </a:rPr>
                <a:t>final consumers</a:t>
              </a:r>
            </a:p>
          </p:txBody>
        </p:sp>
        <p:sp>
          <p:nvSpPr>
            <p:cNvPr id="15" name="Flowchart: Process 14"/>
            <p:cNvSpPr/>
            <p:nvPr/>
          </p:nvSpPr>
          <p:spPr>
            <a:xfrm>
              <a:off x="3627262" y="4144927"/>
              <a:ext cx="1980288" cy="586707"/>
            </a:xfrm>
            <a:prstGeom prst="flowChartProcess">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16" name="Rectangle 15"/>
            <p:cNvSpPr/>
            <p:nvPr/>
          </p:nvSpPr>
          <p:spPr>
            <a:xfrm>
              <a:off x="3677726" y="4164210"/>
              <a:ext cx="1788223" cy="557417"/>
            </a:xfrm>
            <a:prstGeom prst="rect">
              <a:avLst/>
            </a:prstGeom>
          </p:spPr>
          <p:txBody>
            <a:bodyPr wrap="square">
              <a:spAutoFit/>
            </a:bodyPr>
            <a:lstStyle/>
            <a:p>
              <a:pPr lvl="0" algn="ctr" defTabSz="622300">
                <a:lnSpc>
                  <a:spcPct val="90000"/>
                </a:lnSpc>
                <a:spcBef>
                  <a:spcPct val="0"/>
                </a:spcBef>
                <a:spcAft>
                  <a:spcPct val="35000"/>
                </a:spcAft>
              </a:pPr>
              <a:r>
                <a:rPr lang="en-US" sz="1400" dirty="0">
                  <a:solidFill>
                    <a:schemeClr val="bg1"/>
                  </a:solidFill>
                </a:rPr>
                <a:t>Reduced supply for </a:t>
              </a:r>
              <a:endParaRPr lang="en-US" sz="1400" dirty="0" smtClean="0">
                <a:solidFill>
                  <a:schemeClr val="bg1"/>
                </a:solidFill>
              </a:endParaRPr>
            </a:p>
            <a:p>
              <a:pPr lvl="0" algn="ctr" defTabSz="622300">
                <a:lnSpc>
                  <a:spcPct val="90000"/>
                </a:lnSpc>
                <a:spcBef>
                  <a:spcPct val="0"/>
                </a:spcBef>
                <a:spcAft>
                  <a:spcPct val="35000"/>
                </a:spcAft>
              </a:pPr>
              <a:r>
                <a:rPr lang="en-US" sz="1400" dirty="0" smtClean="0">
                  <a:solidFill>
                    <a:schemeClr val="bg1"/>
                  </a:solidFill>
                </a:rPr>
                <a:t>intermediate consumers</a:t>
              </a:r>
              <a:endParaRPr lang="en-US" sz="1400" dirty="0">
                <a:solidFill>
                  <a:schemeClr val="bg1"/>
                </a:solidFill>
              </a:endParaRPr>
            </a:p>
          </p:txBody>
        </p:sp>
        <p:sp>
          <p:nvSpPr>
            <p:cNvPr id="17" name="Flowchart: Terminator 16"/>
            <p:cNvSpPr/>
            <p:nvPr/>
          </p:nvSpPr>
          <p:spPr>
            <a:xfrm>
              <a:off x="773203" y="3097552"/>
              <a:ext cx="2237103" cy="644826"/>
            </a:xfrm>
            <a:prstGeom prst="flowChartTermina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18" name="Rectangle 17"/>
            <p:cNvSpPr/>
            <p:nvPr/>
          </p:nvSpPr>
          <p:spPr>
            <a:xfrm>
              <a:off x="1095859" y="3217187"/>
              <a:ext cx="1518023" cy="434945"/>
            </a:xfrm>
            <a:prstGeom prst="rect">
              <a:avLst/>
            </a:prstGeom>
          </p:spPr>
          <p:txBody>
            <a:bodyPr wrap="none">
              <a:spAutoFit/>
            </a:bodyPr>
            <a:lstStyle/>
            <a:p>
              <a:pPr algn="ctr"/>
              <a:r>
                <a:rPr lang="en-US" sz="1600" dirty="0">
                  <a:solidFill>
                    <a:schemeClr val="bg1"/>
                  </a:solidFill>
                </a:rPr>
                <a:t>New Demand </a:t>
              </a:r>
              <a:endParaRPr lang="en-US" sz="1600" dirty="0" smtClean="0">
                <a:solidFill>
                  <a:schemeClr val="bg1"/>
                </a:solidFill>
              </a:endParaRPr>
            </a:p>
            <a:p>
              <a:pPr algn="ctr"/>
              <a:r>
                <a:rPr lang="en-US" sz="1600" dirty="0" smtClean="0">
                  <a:solidFill>
                    <a:schemeClr val="bg1"/>
                  </a:solidFill>
                </a:rPr>
                <a:t>for </a:t>
              </a:r>
              <a:r>
                <a:rPr lang="en-US" sz="1600" dirty="0">
                  <a:solidFill>
                    <a:schemeClr val="bg1"/>
                  </a:solidFill>
                </a:rPr>
                <a:t>crops </a:t>
              </a:r>
            </a:p>
          </p:txBody>
        </p:sp>
      </p:grpSp>
      <p:sp>
        <p:nvSpPr>
          <p:cNvPr id="27" name="Rectangle 26"/>
          <p:cNvSpPr/>
          <p:nvPr/>
        </p:nvSpPr>
        <p:spPr>
          <a:xfrm>
            <a:off x="7390832" y="1919404"/>
            <a:ext cx="1516458" cy="1015663"/>
          </a:xfrm>
          <a:prstGeom prst="rect">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lnSpc>
                <a:spcPct val="150000"/>
              </a:lnSpc>
            </a:pPr>
            <a:r>
              <a:rPr lang="en-US" sz="1000" dirty="0">
                <a:solidFill>
                  <a:schemeClr val="bg1"/>
                </a:solidFill>
              </a:rPr>
              <a:t>Increase in </a:t>
            </a:r>
            <a:r>
              <a:rPr lang="en-US" sz="1000" dirty="0" smtClean="0">
                <a:solidFill>
                  <a:schemeClr val="bg1"/>
                </a:solidFill>
              </a:rPr>
              <a:t>yield and area, extension </a:t>
            </a:r>
            <a:r>
              <a:rPr lang="en-US" sz="1000" dirty="0">
                <a:solidFill>
                  <a:schemeClr val="bg1"/>
                </a:solidFill>
              </a:rPr>
              <a:t>of </a:t>
            </a:r>
            <a:r>
              <a:rPr lang="en-US" sz="1000" dirty="0" smtClean="0">
                <a:solidFill>
                  <a:schemeClr val="bg1"/>
                </a:solidFill>
              </a:rPr>
              <a:t>cropland, and reduction </a:t>
            </a:r>
            <a:r>
              <a:rPr lang="en-US" sz="1000" dirty="0">
                <a:solidFill>
                  <a:schemeClr val="bg1"/>
                </a:solidFill>
              </a:rPr>
              <a:t>of other crops</a:t>
            </a:r>
          </a:p>
        </p:txBody>
      </p:sp>
      <p:sp>
        <p:nvSpPr>
          <p:cNvPr id="29" name="Title 1"/>
          <p:cNvSpPr>
            <a:spLocks noGrp="1"/>
          </p:cNvSpPr>
          <p:nvPr>
            <p:ph type="title"/>
          </p:nvPr>
        </p:nvSpPr>
        <p:spPr>
          <a:xfrm>
            <a:off x="754838" y="91521"/>
            <a:ext cx="8229600" cy="1143000"/>
          </a:xfrm>
          <a:noFill/>
          <a:ln w="9525">
            <a:noFill/>
            <a:miter lim="800000"/>
            <a:headEnd/>
            <a:tailEnd/>
          </a:ln>
        </p:spPr>
        <p:txBody>
          <a:bodyPr vert="horz" wrap="square" lIns="91440" tIns="18288" rIns="91440" bIns="18288" numCol="1" rtlCol="0" anchor="ctr" anchorCtr="0" compatLnSpc="1">
            <a:prstTxWarp prst="textNoShape">
              <a:avLst/>
            </a:prstTxWarp>
            <a:noAutofit/>
          </a:bodyPr>
          <a:lstStyle/>
          <a:p>
            <a:pPr algn="ctr">
              <a:lnSpc>
                <a:spcPct val="90000"/>
              </a:lnSpc>
            </a:pPr>
            <a:r>
              <a:rPr lang="en-US" sz="2800" b="1" dirty="0">
                <a:solidFill>
                  <a:srgbClr val="000000"/>
                </a:solidFill>
              </a:rPr>
              <a:t>GROWING DEMAND</a:t>
            </a:r>
          </a:p>
        </p:txBody>
      </p:sp>
      <p:sp>
        <p:nvSpPr>
          <p:cNvPr id="30" name="Rounded Rectangle 29"/>
          <p:cNvSpPr/>
          <p:nvPr/>
        </p:nvSpPr>
        <p:spPr>
          <a:xfrm>
            <a:off x="323528" y="1976189"/>
            <a:ext cx="1946501" cy="786893"/>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1" name="Rectangle 30"/>
          <p:cNvSpPr/>
          <p:nvPr/>
        </p:nvSpPr>
        <p:spPr>
          <a:xfrm>
            <a:off x="337973" y="2075325"/>
            <a:ext cx="1604604" cy="584775"/>
          </a:xfrm>
          <a:prstGeom prst="rect">
            <a:avLst/>
          </a:prstGeom>
        </p:spPr>
        <p:txBody>
          <a:bodyPr wrap="square">
            <a:spAutoFit/>
          </a:bodyPr>
          <a:lstStyle/>
          <a:p>
            <a:pPr algn="ctr"/>
            <a:r>
              <a:rPr lang="en-US" sz="1600" b="1" dirty="0" smtClean="0">
                <a:solidFill>
                  <a:srgbClr val="F2F2F2"/>
                </a:solidFill>
                <a:latin typeface="+mj-lt"/>
              </a:rPr>
              <a:t>Additional food </a:t>
            </a:r>
            <a:r>
              <a:rPr lang="en-US" sz="1600" b="1" dirty="0">
                <a:solidFill>
                  <a:srgbClr val="F2F2F2"/>
                </a:solidFill>
                <a:latin typeface="+mj-lt"/>
              </a:rPr>
              <a:t>d</a:t>
            </a:r>
            <a:r>
              <a:rPr lang="en-US" sz="1600" b="1" dirty="0" smtClean="0">
                <a:solidFill>
                  <a:srgbClr val="F2F2F2"/>
                </a:solidFill>
                <a:latin typeface="+mj-lt"/>
              </a:rPr>
              <a:t>emand</a:t>
            </a:r>
            <a:endParaRPr lang="bg-BG" sz="1600" b="1" dirty="0">
              <a:solidFill>
                <a:srgbClr val="F2F2F2"/>
              </a:solidFill>
              <a:latin typeface="+mj-lt"/>
            </a:endParaRPr>
          </a:p>
        </p:txBody>
      </p:sp>
      <p:sp>
        <p:nvSpPr>
          <p:cNvPr id="32" name="Rounded Rectangle 31"/>
          <p:cNvSpPr/>
          <p:nvPr/>
        </p:nvSpPr>
        <p:spPr>
          <a:xfrm>
            <a:off x="323529" y="2940814"/>
            <a:ext cx="1946500" cy="719882"/>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3" name="Rectangle 32"/>
          <p:cNvSpPr/>
          <p:nvPr/>
        </p:nvSpPr>
        <p:spPr>
          <a:xfrm>
            <a:off x="142816" y="2988241"/>
            <a:ext cx="2295558" cy="553998"/>
          </a:xfrm>
          <a:prstGeom prst="rect">
            <a:avLst/>
          </a:prstGeom>
        </p:spPr>
        <p:txBody>
          <a:bodyPr wrap="square">
            <a:spAutoFit/>
          </a:bodyPr>
          <a:lstStyle/>
          <a:p>
            <a:pPr algn="ctr"/>
            <a:r>
              <a:rPr lang="en-US" sz="1500" b="1" dirty="0" smtClean="0">
                <a:solidFill>
                  <a:srgbClr val="F2F2F2"/>
                </a:solidFill>
                <a:latin typeface="+mj-lt"/>
              </a:rPr>
              <a:t>Additional Bioenergy demand</a:t>
            </a:r>
            <a:endParaRPr lang="bg-BG" sz="1500" b="1" dirty="0">
              <a:solidFill>
                <a:srgbClr val="F2F2F2"/>
              </a:solidFill>
              <a:latin typeface="+mj-lt"/>
            </a:endParaRPr>
          </a:p>
        </p:txBody>
      </p:sp>
      <p:sp>
        <p:nvSpPr>
          <p:cNvPr id="34" name="Rounded Rectangle 33"/>
          <p:cNvSpPr/>
          <p:nvPr/>
        </p:nvSpPr>
        <p:spPr>
          <a:xfrm>
            <a:off x="323528" y="3789040"/>
            <a:ext cx="1946501" cy="719882"/>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35" name="Rectangle 34"/>
          <p:cNvSpPr/>
          <p:nvPr/>
        </p:nvSpPr>
        <p:spPr>
          <a:xfrm>
            <a:off x="655981" y="3892446"/>
            <a:ext cx="1199138" cy="584775"/>
          </a:xfrm>
          <a:prstGeom prst="rect">
            <a:avLst/>
          </a:prstGeom>
        </p:spPr>
        <p:txBody>
          <a:bodyPr wrap="square">
            <a:spAutoFit/>
          </a:bodyPr>
          <a:lstStyle/>
          <a:p>
            <a:pPr algn="ctr"/>
            <a:r>
              <a:rPr lang="en-US" sz="1600" b="1" dirty="0" smtClean="0">
                <a:solidFill>
                  <a:srgbClr val="F2F2F2"/>
                </a:solidFill>
                <a:latin typeface="+mj-lt"/>
              </a:rPr>
              <a:t>Additional industrial</a:t>
            </a:r>
            <a:endParaRPr lang="bg-BG" sz="1600" b="1" dirty="0">
              <a:solidFill>
                <a:srgbClr val="F2F2F2"/>
              </a:solidFill>
              <a:latin typeface="+mj-lt"/>
            </a:endParaRPr>
          </a:p>
        </p:txBody>
      </p:sp>
      <p:cxnSp>
        <p:nvCxnSpPr>
          <p:cNvPr id="40" name="Elbow Connector 39"/>
          <p:cNvCxnSpPr/>
          <p:nvPr/>
        </p:nvCxnSpPr>
        <p:spPr>
          <a:xfrm rot="5400000" flipH="1" flipV="1">
            <a:off x="1938449" y="3967713"/>
            <a:ext cx="1321829" cy="838599"/>
          </a:xfrm>
          <a:prstGeom prst="bentConnector3">
            <a:avLst>
              <a:gd name="adj1" fmla="val 588"/>
            </a:avLst>
          </a:prstGeom>
          <a:ln w="12700">
            <a:solidFill>
              <a:schemeClr val="tx1">
                <a:lumMod val="50000"/>
                <a:lumOff val="50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6" name="Rounded Rectangle 35"/>
          <p:cNvSpPr/>
          <p:nvPr/>
        </p:nvSpPr>
        <p:spPr>
          <a:xfrm>
            <a:off x="315563" y="4750928"/>
            <a:ext cx="1946501" cy="719882"/>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cxnSp>
        <p:nvCxnSpPr>
          <p:cNvPr id="58" name="Elbow Connector 57"/>
          <p:cNvCxnSpPr>
            <a:stCxn id="11" idx="1"/>
            <a:endCxn id="16" idx="1"/>
          </p:cNvCxnSpPr>
          <p:nvPr/>
        </p:nvCxnSpPr>
        <p:spPr>
          <a:xfrm rot="10800000" flipH="1" flipV="1">
            <a:off x="5410267" y="2477761"/>
            <a:ext cx="45379" cy="2404970"/>
          </a:xfrm>
          <a:prstGeom prst="bentConnector3">
            <a:avLst>
              <a:gd name="adj1" fmla="val -503757"/>
            </a:avLst>
          </a:prstGeom>
          <a:ln w="57150">
            <a:headEnd type="arrow" w="med" len="med"/>
            <a:tailEnd type="none" w="med" len="med"/>
          </a:ln>
        </p:spPr>
        <p:style>
          <a:lnRef idx="1">
            <a:schemeClr val="accent5"/>
          </a:lnRef>
          <a:fillRef idx="0">
            <a:schemeClr val="accent5"/>
          </a:fillRef>
          <a:effectRef idx="0">
            <a:schemeClr val="accent5"/>
          </a:effectRef>
          <a:fontRef idx="minor">
            <a:schemeClr val="tx1"/>
          </a:fontRef>
        </p:style>
      </p:cxnSp>
      <p:cxnSp>
        <p:nvCxnSpPr>
          <p:cNvPr id="62" name="Elbow Connector 61"/>
          <p:cNvCxnSpPr>
            <a:stCxn id="11" idx="1"/>
            <a:endCxn id="13" idx="1"/>
          </p:cNvCxnSpPr>
          <p:nvPr/>
        </p:nvCxnSpPr>
        <p:spPr>
          <a:xfrm rot="10800000" flipV="1">
            <a:off x="5410268" y="2477760"/>
            <a:ext cx="12700" cy="1210205"/>
          </a:xfrm>
          <a:prstGeom prst="bentConnector3">
            <a:avLst>
              <a:gd name="adj1" fmla="val 1028575"/>
            </a:avLst>
          </a:prstGeom>
          <a:ln w="38100">
            <a:headEnd type="arrow" w="med" len="med"/>
            <a:tailEnd type="none" w="med" len="med"/>
          </a:ln>
        </p:spPr>
        <p:style>
          <a:lnRef idx="1">
            <a:schemeClr val="accent2"/>
          </a:lnRef>
          <a:fillRef idx="0">
            <a:schemeClr val="accent2"/>
          </a:fillRef>
          <a:effectRef idx="0">
            <a:schemeClr val="accent2"/>
          </a:effectRef>
          <a:fontRef idx="minor">
            <a:schemeClr val="tx1"/>
          </a:fontRef>
        </p:style>
      </p:cxnSp>
      <p:sp>
        <p:nvSpPr>
          <p:cNvPr id="85" name="Rectangle 84"/>
          <p:cNvSpPr/>
          <p:nvPr/>
        </p:nvSpPr>
        <p:spPr>
          <a:xfrm>
            <a:off x="7374667" y="3420944"/>
            <a:ext cx="1516458" cy="530145"/>
          </a:xfrm>
          <a:prstGeom prst="rect">
            <a:avLst/>
          </a:prstGeom>
          <a:solidFill>
            <a:schemeClr val="accent4"/>
          </a:solidFill>
          <a:ln>
            <a:solidFill>
              <a:schemeClr val="accent4"/>
            </a:solidFill>
          </a:ln>
        </p:spPr>
        <p:style>
          <a:lnRef idx="2">
            <a:schemeClr val="accent4">
              <a:shade val="50000"/>
            </a:schemeClr>
          </a:lnRef>
          <a:fillRef idx="1">
            <a:schemeClr val="accent4"/>
          </a:fillRef>
          <a:effectRef idx="0">
            <a:schemeClr val="accent4"/>
          </a:effectRef>
          <a:fontRef idx="minor">
            <a:schemeClr val="lt1"/>
          </a:fontRef>
        </p:style>
        <p:txBody>
          <a:bodyPr wrap="square">
            <a:spAutoFit/>
          </a:bodyPr>
          <a:lstStyle/>
          <a:p>
            <a:pPr>
              <a:lnSpc>
                <a:spcPct val="150000"/>
              </a:lnSpc>
            </a:pPr>
            <a:r>
              <a:rPr lang="en-US" sz="1000" dirty="0">
                <a:solidFill>
                  <a:schemeClr val="bg1"/>
                </a:solidFill>
              </a:rPr>
              <a:t>Hunger?</a:t>
            </a:r>
          </a:p>
          <a:p>
            <a:pPr>
              <a:lnSpc>
                <a:spcPct val="150000"/>
              </a:lnSpc>
            </a:pPr>
            <a:r>
              <a:rPr lang="en-US" sz="1000" dirty="0">
                <a:solidFill>
                  <a:schemeClr val="bg1"/>
                </a:solidFill>
              </a:rPr>
              <a:t>Substitution effects</a:t>
            </a:r>
          </a:p>
        </p:txBody>
      </p:sp>
      <p:sp>
        <p:nvSpPr>
          <p:cNvPr id="86" name="Rectangle 85"/>
          <p:cNvSpPr/>
          <p:nvPr/>
        </p:nvSpPr>
        <p:spPr>
          <a:xfrm>
            <a:off x="7374667" y="4347232"/>
            <a:ext cx="1516458" cy="1015663"/>
          </a:xfrm>
          <a:prstGeom prst="rect">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lnSpc>
                <a:spcPct val="150000"/>
              </a:lnSpc>
            </a:pPr>
            <a:r>
              <a:rPr lang="en-US" sz="1000" dirty="0">
                <a:solidFill>
                  <a:schemeClr val="bg1"/>
                </a:solidFill>
              </a:rPr>
              <a:t>Feed</a:t>
            </a:r>
          </a:p>
          <a:p>
            <a:pPr>
              <a:lnSpc>
                <a:spcPct val="150000"/>
              </a:lnSpc>
            </a:pPr>
            <a:r>
              <a:rPr lang="en-US" sz="1000" dirty="0">
                <a:solidFill>
                  <a:schemeClr val="bg1"/>
                </a:solidFill>
              </a:rPr>
              <a:t>Other sectors (</a:t>
            </a:r>
            <a:r>
              <a:rPr lang="en-US" sz="1000" dirty="0" err="1">
                <a:solidFill>
                  <a:schemeClr val="bg1"/>
                </a:solidFill>
              </a:rPr>
              <a:t>agrifood</a:t>
            </a:r>
            <a:r>
              <a:rPr lang="en-US" sz="1000" dirty="0">
                <a:solidFill>
                  <a:schemeClr val="bg1"/>
                </a:solidFill>
              </a:rPr>
              <a:t>, cosmetics)</a:t>
            </a:r>
          </a:p>
          <a:p>
            <a:pPr>
              <a:lnSpc>
                <a:spcPct val="150000"/>
              </a:lnSpc>
            </a:pPr>
            <a:r>
              <a:rPr lang="en-US" sz="1000" dirty="0">
                <a:solidFill>
                  <a:schemeClr val="bg1"/>
                </a:solidFill>
              </a:rPr>
              <a:t>Substitution effects</a:t>
            </a:r>
          </a:p>
        </p:txBody>
      </p:sp>
      <p:sp>
        <p:nvSpPr>
          <p:cNvPr id="37" name="Rectangle 36"/>
          <p:cNvSpPr/>
          <p:nvPr/>
        </p:nvSpPr>
        <p:spPr>
          <a:xfrm>
            <a:off x="739216" y="4876118"/>
            <a:ext cx="1032667" cy="584775"/>
          </a:xfrm>
          <a:prstGeom prst="rect">
            <a:avLst/>
          </a:prstGeom>
        </p:spPr>
        <p:txBody>
          <a:bodyPr wrap="square">
            <a:spAutoFit/>
          </a:bodyPr>
          <a:lstStyle/>
          <a:p>
            <a:pPr algn="ctr"/>
            <a:r>
              <a:rPr lang="en-US" sz="1600" b="1" dirty="0" smtClean="0">
                <a:solidFill>
                  <a:srgbClr val="F2F2F2"/>
                </a:solidFill>
                <a:latin typeface="+mj-lt"/>
              </a:rPr>
              <a:t>Biomass demand</a:t>
            </a:r>
            <a:endParaRPr lang="bg-BG" sz="1600" b="1" dirty="0">
              <a:solidFill>
                <a:srgbClr val="F2F2F2"/>
              </a:solidFill>
              <a:latin typeface="+mj-lt"/>
            </a:endParaRPr>
          </a:p>
        </p:txBody>
      </p:sp>
      <p:pic>
        <p:nvPicPr>
          <p:cNvPr id="91" name="Picture 9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044" y="283714"/>
            <a:ext cx="525826" cy="830652"/>
          </a:xfrm>
          <a:prstGeom prst="rect">
            <a:avLst/>
          </a:prstGeom>
        </p:spPr>
      </p:pic>
    </p:spTree>
    <p:extLst>
      <p:ext uri="{BB962C8B-B14F-4D97-AF65-F5344CB8AC3E}">
        <p14:creationId xmlns:p14="http://schemas.microsoft.com/office/powerpoint/2010/main" val="56019294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p:cNvSpPr/>
          <p:nvPr/>
        </p:nvSpPr>
        <p:spPr>
          <a:xfrm>
            <a:off x="-3164" y="1462940"/>
            <a:ext cx="9150325" cy="4553220"/>
          </a:xfrm>
          <a:prstGeom prst="rect">
            <a:avLst/>
          </a:prstGeom>
          <a:solidFill>
            <a:schemeClr val="tx1">
              <a:lumMod val="65000"/>
              <a:lumOff val="35000"/>
            </a:schemeClr>
          </a:solidFill>
          <a:ln>
            <a:solidFill>
              <a:schemeClr val="tx1">
                <a:lumMod val="65000"/>
                <a:lumOff val="35000"/>
              </a:schemeClr>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6" name="Shape 6155"/>
          <p:cNvSpPr>
            <a:spLocks noGrp="1"/>
          </p:cNvSpPr>
          <p:nvPr>
            <p:ph type="title"/>
          </p:nvPr>
        </p:nvSpPr>
        <p:spPr>
          <a:xfrm>
            <a:off x="843925" y="380772"/>
            <a:ext cx="7654543" cy="741978"/>
          </a:xfrm>
          <a:prstGeom prst="rect">
            <a:avLst/>
          </a:prstGeom>
        </p:spPr>
        <p:txBody>
          <a:bodyPr>
            <a:normAutofit/>
          </a:bodyPr>
          <a:lstStyle/>
          <a:p>
            <a:pPr lvl="0">
              <a:defRPr sz="1800" b="0">
                <a:solidFill>
                  <a:srgbClr val="000000"/>
                </a:solidFill>
              </a:defRPr>
            </a:pPr>
            <a:r>
              <a:rPr lang="en-US" sz="4000" dirty="0" smtClean="0">
                <a:solidFill>
                  <a:schemeClr val="tx1">
                    <a:lumMod val="65000"/>
                    <a:lumOff val="35000"/>
                  </a:schemeClr>
                </a:solidFill>
                <a:latin typeface="Arial" panose="020B0604020202020204" pitchFamily="34" charset="0"/>
                <a:cs typeface="Arial" panose="020B0604020202020204" pitchFamily="34" charset="0"/>
              </a:rPr>
              <a:t>GLOBAL CHALLENGE</a:t>
            </a:r>
            <a:endParaRPr lang="en-US" sz="400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7" name="Shape 6156"/>
          <p:cNvSpPr txBox="1">
            <a:spLocks/>
          </p:cNvSpPr>
          <p:nvPr/>
        </p:nvSpPr>
        <p:spPr>
          <a:xfrm>
            <a:off x="5658263" y="6531504"/>
            <a:ext cx="3488898" cy="372137"/>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800" dirty="0">
                <a:latin typeface="Helvetica Neue Custom"/>
              </a:rPr>
              <a:t>Source: Johan </a:t>
            </a:r>
            <a:r>
              <a:rPr lang="en-US" sz="800" dirty="0" err="1">
                <a:latin typeface="Helvetica Neue Custom"/>
              </a:rPr>
              <a:t>Rockstrom</a:t>
            </a:r>
            <a:r>
              <a:rPr lang="en-US" sz="800" dirty="0">
                <a:latin typeface="Helvetica Neue Custom"/>
              </a:rPr>
              <a:t>: Let the environment guide our development</a:t>
            </a:r>
          </a:p>
        </p:txBody>
      </p:sp>
      <p:grpSp>
        <p:nvGrpSpPr>
          <p:cNvPr id="8" name="Group 6160"/>
          <p:cNvGrpSpPr/>
          <p:nvPr/>
        </p:nvGrpSpPr>
        <p:grpSpPr>
          <a:xfrm>
            <a:off x="2753919" y="1982946"/>
            <a:ext cx="3636163" cy="3642537"/>
            <a:chOff x="0" y="0"/>
            <a:chExt cx="8013581" cy="8013581"/>
          </a:xfrm>
        </p:grpSpPr>
        <p:sp>
          <p:nvSpPr>
            <p:cNvPr id="9" name="Shape 6158"/>
            <p:cNvSpPr/>
            <p:nvPr/>
          </p:nvSpPr>
          <p:spPr>
            <a:xfrm>
              <a:off x="0" y="0"/>
              <a:ext cx="8013582" cy="801358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565F68"/>
            </a:solidFill>
            <a:ln w="12700" cap="flat">
              <a:noFill/>
              <a:miter lim="400000"/>
            </a:ln>
            <a:effectLst/>
          </p:spPr>
          <p:txBody>
            <a:bodyPr wrap="square" lIns="0" tIns="0" rIns="0" bIns="0" numCol="1" anchor="ctr">
              <a:noAutofit/>
            </a:bodyPr>
            <a:lstStyle/>
            <a:p>
              <a:pPr lvl="0">
                <a:defRPr sz="3200"/>
              </a:pPr>
              <a:endParaRPr/>
            </a:p>
          </p:txBody>
        </p:sp>
        <p:sp>
          <p:nvSpPr>
            <p:cNvPr id="10" name="Shape 6159"/>
            <p:cNvSpPr/>
            <p:nvPr/>
          </p:nvSpPr>
          <p:spPr>
            <a:xfrm>
              <a:off x="94969" y="92019"/>
              <a:ext cx="7823643" cy="7829544"/>
            </a:xfrm>
            <a:custGeom>
              <a:avLst/>
              <a:gdLst/>
              <a:ahLst/>
              <a:cxnLst>
                <a:cxn ang="0">
                  <a:pos x="wd2" y="hd2"/>
                </a:cxn>
                <a:cxn ang="5400000">
                  <a:pos x="wd2" y="hd2"/>
                </a:cxn>
                <a:cxn ang="10800000">
                  <a:pos x="wd2" y="hd2"/>
                </a:cxn>
                <a:cxn ang="16200000">
                  <a:pos x="wd2" y="hd2"/>
                </a:cxn>
              </a:cxnLst>
              <a:rect l="0" t="0" r="r" b="b"/>
              <a:pathLst>
                <a:path w="21600" h="21600" extrusionOk="0">
                  <a:moveTo>
                    <a:pt x="21283" y="12362"/>
                  </a:moveTo>
                  <a:cubicBezTo>
                    <a:pt x="21283" y="12123"/>
                    <a:pt x="21271" y="11883"/>
                    <a:pt x="21248" y="11645"/>
                  </a:cubicBezTo>
                  <a:cubicBezTo>
                    <a:pt x="21271" y="11583"/>
                    <a:pt x="21293" y="11521"/>
                    <a:pt x="21314" y="11457"/>
                  </a:cubicBezTo>
                  <a:cubicBezTo>
                    <a:pt x="21411" y="11159"/>
                    <a:pt x="21468" y="10930"/>
                    <a:pt x="21502" y="10691"/>
                  </a:cubicBezTo>
                  <a:cubicBezTo>
                    <a:pt x="21503" y="10726"/>
                    <a:pt x="21503" y="10762"/>
                    <a:pt x="21503" y="10797"/>
                  </a:cubicBezTo>
                  <a:cubicBezTo>
                    <a:pt x="21503" y="11581"/>
                    <a:pt x="21416" y="12372"/>
                    <a:pt x="21237" y="13158"/>
                  </a:cubicBezTo>
                  <a:cubicBezTo>
                    <a:pt x="21267" y="12893"/>
                    <a:pt x="21283" y="12627"/>
                    <a:pt x="21283" y="12362"/>
                  </a:cubicBezTo>
                  <a:close/>
                  <a:moveTo>
                    <a:pt x="21144" y="10926"/>
                  </a:moveTo>
                  <a:cubicBezTo>
                    <a:pt x="21159" y="10913"/>
                    <a:pt x="21176" y="10902"/>
                    <a:pt x="21180" y="10884"/>
                  </a:cubicBezTo>
                  <a:cubicBezTo>
                    <a:pt x="21184" y="10867"/>
                    <a:pt x="21146" y="10864"/>
                    <a:pt x="21144" y="10847"/>
                  </a:cubicBezTo>
                  <a:cubicBezTo>
                    <a:pt x="21137" y="10785"/>
                    <a:pt x="21143" y="10721"/>
                    <a:pt x="21154" y="10659"/>
                  </a:cubicBezTo>
                  <a:cubicBezTo>
                    <a:pt x="21156" y="10646"/>
                    <a:pt x="21184" y="10643"/>
                    <a:pt x="21183" y="10630"/>
                  </a:cubicBezTo>
                  <a:cubicBezTo>
                    <a:pt x="21175" y="10404"/>
                    <a:pt x="21154" y="10179"/>
                    <a:pt x="21129" y="9954"/>
                  </a:cubicBezTo>
                  <a:cubicBezTo>
                    <a:pt x="21066" y="9403"/>
                    <a:pt x="21085" y="10548"/>
                    <a:pt x="21048" y="9493"/>
                  </a:cubicBezTo>
                  <a:cubicBezTo>
                    <a:pt x="21046" y="9430"/>
                    <a:pt x="21071" y="9369"/>
                    <a:pt x="21072" y="9306"/>
                  </a:cubicBezTo>
                  <a:cubicBezTo>
                    <a:pt x="21076" y="9018"/>
                    <a:pt x="21062" y="8730"/>
                    <a:pt x="21063" y="8441"/>
                  </a:cubicBezTo>
                  <a:cubicBezTo>
                    <a:pt x="21063" y="8415"/>
                    <a:pt x="21088" y="8375"/>
                    <a:pt x="21086" y="8348"/>
                  </a:cubicBezTo>
                  <a:cubicBezTo>
                    <a:pt x="21084" y="8334"/>
                    <a:pt x="21083" y="8321"/>
                    <a:pt x="21082" y="8307"/>
                  </a:cubicBezTo>
                  <a:cubicBezTo>
                    <a:pt x="21274" y="8860"/>
                    <a:pt x="21385" y="9363"/>
                    <a:pt x="21458" y="9971"/>
                  </a:cubicBezTo>
                  <a:lnTo>
                    <a:pt x="21459" y="9970"/>
                  </a:lnTo>
                  <a:cubicBezTo>
                    <a:pt x="21442" y="10471"/>
                    <a:pt x="21414" y="10763"/>
                    <a:pt x="21299" y="11172"/>
                  </a:cubicBezTo>
                  <a:cubicBezTo>
                    <a:pt x="21303" y="11100"/>
                    <a:pt x="21327" y="10926"/>
                    <a:pt x="21264" y="10960"/>
                  </a:cubicBezTo>
                  <a:cubicBezTo>
                    <a:pt x="21183" y="11004"/>
                    <a:pt x="21217" y="11138"/>
                    <a:pt x="21195" y="11227"/>
                  </a:cubicBezTo>
                  <a:cubicBezTo>
                    <a:pt x="21180" y="11127"/>
                    <a:pt x="21163" y="11026"/>
                    <a:pt x="21144" y="10926"/>
                  </a:cubicBezTo>
                  <a:close/>
                  <a:moveTo>
                    <a:pt x="21002" y="13936"/>
                  </a:moveTo>
                  <a:cubicBezTo>
                    <a:pt x="20781" y="14641"/>
                    <a:pt x="20415" y="15258"/>
                    <a:pt x="19950" y="15796"/>
                  </a:cubicBezTo>
                  <a:cubicBezTo>
                    <a:pt x="20072" y="15277"/>
                    <a:pt x="20124" y="14737"/>
                    <a:pt x="20124" y="14194"/>
                  </a:cubicBezTo>
                  <a:cubicBezTo>
                    <a:pt x="20124" y="13949"/>
                    <a:pt x="20114" y="13703"/>
                    <a:pt x="20094" y="13458"/>
                  </a:cubicBezTo>
                  <a:cubicBezTo>
                    <a:pt x="20541" y="12983"/>
                    <a:pt x="20912" y="12447"/>
                    <a:pt x="21167" y="11846"/>
                  </a:cubicBezTo>
                  <a:cubicBezTo>
                    <a:pt x="21180" y="12018"/>
                    <a:pt x="21186" y="12190"/>
                    <a:pt x="21186" y="12362"/>
                  </a:cubicBezTo>
                  <a:cubicBezTo>
                    <a:pt x="21186" y="12888"/>
                    <a:pt x="21128" y="13414"/>
                    <a:pt x="21002" y="13936"/>
                  </a:cubicBezTo>
                  <a:close/>
                  <a:moveTo>
                    <a:pt x="19503" y="17016"/>
                  </a:moveTo>
                  <a:cubicBezTo>
                    <a:pt x="19672" y="16691"/>
                    <a:pt x="19803" y="16350"/>
                    <a:pt x="19899" y="15998"/>
                  </a:cubicBezTo>
                  <a:cubicBezTo>
                    <a:pt x="20181" y="15690"/>
                    <a:pt x="20430" y="15356"/>
                    <a:pt x="20640" y="14993"/>
                  </a:cubicBezTo>
                  <a:cubicBezTo>
                    <a:pt x="20328" y="15721"/>
                    <a:pt x="19946" y="16397"/>
                    <a:pt x="19503" y="17016"/>
                  </a:cubicBezTo>
                  <a:close/>
                  <a:moveTo>
                    <a:pt x="17327" y="19063"/>
                  </a:moveTo>
                  <a:cubicBezTo>
                    <a:pt x="17597" y="18615"/>
                    <a:pt x="17758" y="18104"/>
                    <a:pt x="17879" y="17560"/>
                  </a:cubicBezTo>
                  <a:cubicBezTo>
                    <a:pt x="18567" y="17169"/>
                    <a:pt x="19211" y="16705"/>
                    <a:pt x="19753" y="16152"/>
                  </a:cubicBezTo>
                  <a:cubicBezTo>
                    <a:pt x="19572" y="16738"/>
                    <a:pt x="19291" y="17289"/>
                    <a:pt x="18885" y="17776"/>
                  </a:cubicBezTo>
                  <a:lnTo>
                    <a:pt x="18887" y="17779"/>
                  </a:lnTo>
                  <a:cubicBezTo>
                    <a:pt x="18431" y="18277"/>
                    <a:pt x="17901" y="18702"/>
                    <a:pt x="17327" y="19063"/>
                  </a:cubicBezTo>
                  <a:close/>
                  <a:moveTo>
                    <a:pt x="16998" y="19509"/>
                  </a:moveTo>
                  <a:cubicBezTo>
                    <a:pt x="17072" y="19427"/>
                    <a:pt x="17140" y="19341"/>
                    <a:pt x="17202" y="19253"/>
                  </a:cubicBezTo>
                  <a:cubicBezTo>
                    <a:pt x="17455" y="19102"/>
                    <a:pt x="17700" y="18939"/>
                    <a:pt x="17935" y="18763"/>
                  </a:cubicBezTo>
                  <a:cubicBezTo>
                    <a:pt x="17636" y="19030"/>
                    <a:pt x="17323" y="19279"/>
                    <a:pt x="16998" y="19509"/>
                  </a:cubicBezTo>
                  <a:close/>
                  <a:moveTo>
                    <a:pt x="16454" y="19870"/>
                  </a:moveTo>
                  <a:cubicBezTo>
                    <a:pt x="15767" y="20297"/>
                    <a:pt x="15034" y="20644"/>
                    <a:pt x="14270" y="20906"/>
                  </a:cubicBezTo>
                  <a:cubicBezTo>
                    <a:pt x="14428" y="20760"/>
                    <a:pt x="14556" y="20569"/>
                    <a:pt x="14660" y="20356"/>
                  </a:cubicBezTo>
                  <a:cubicBezTo>
                    <a:pt x="15457" y="20112"/>
                    <a:pt x="16249" y="19793"/>
                    <a:pt x="16984" y="19379"/>
                  </a:cubicBezTo>
                  <a:cubicBezTo>
                    <a:pt x="16835" y="19558"/>
                    <a:pt x="16660" y="19722"/>
                    <a:pt x="16454" y="19870"/>
                  </a:cubicBezTo>
                  <a:close/>
                  <a:moveTo>
                    <a:pt x="13948" y="21011"/>
                  </a:moveTo>
                  <a:cubicBezTo>
                    <a:pt x="13164" y="21253"/>
                    <a:pt x="12351" y="21405"/>
                    <a:pt x="11525" y="21462"/>
                  </a:cubicBezTo>
                  <a:cubicBezTo>
                    <a:pt x="11554" y="21399"/>
                    <a:pt x="11584" y="21329"/>
                    <a:pt x="11603" y="21282"/>
                  </a:cubicBezTo>
                  <a:cubicBezTo>
                    <a:pt x="11623" y="21233"/>
                    <a:pt x="11627" y="21185"/>
                    <a:pt x="11633" y="21142"/>
                  </a:cubicBezTo>
                  <a:cubicBezTo>
                    <a:pt x="11643" y="21060"/>
                    <a:pt x="11655" y="20977"/>
                    <a:pt x="11667" y="20894"/>
                  </a:cubicBezTo>
                  <a:cubicBezTo>
                    <a:pt x="12000" y="20867"/>
                    <a:pt x="12327" y="20827"/>
                    <a:pt x="12593" y="20804"/>
                  </a:cubicBezTo>
                  <a:cubicBezTo>
                    <a:pt x="13236" y="20746"/>
                    <a:pt x="13912" y="20579"/>
                    <a:pt x="14532" y="20395"/>
                  </a:cubicBezTo>
                  <a:cubicBezTo>
                    <a:pt x="14382" y="20673"/>
                    <a:pt x="14190" y="20899"/>
                    <a:pt x="13948" y="21011"/>
                  </a:cubicBezTo>
                  <a:close/>
                  <a:moveTo>
                    <a:pt x="11414" y="21469"/>
                  </a:moveTo>
                  <a:cubicBezTo>
                    <a:pt x="11209" y="21481"/>
                    <a:pt x="11002" y="21487"/>
                    <a:pt x="10795" y="21487"/>
                  </a:cubicBezTo>
                  <a:cubicBezTo>
                    <a:pt x="10201" y="21487"/>
                    <a:pt x="9602" y="21437"/>
                    <a:pt x="9005" y="21335"/>
                  </a:cubicBezTo>
                  <a:cubicBezTo>
                    <a:pt x="8953" y="21303"/>
                    <a:pt x="8882" y="21225"/>
                    <a:pt x="8821" y="21174"/>
                  </a:cubicBezTo>
                  <a:cubicBezTo>
                    <a:pt x="8731" y="21104"/>
                    <a:pt x="8667" y="20920"/>
                    <a:pt x="8622" y="20797"/>
                  </a:cubicBezTo>
                  <a:cubicBezTo>
                    <a:pt x="8616" y="20780"/>
                    <a:pt x="8610" y="20763"/>
                    <a:pt x="8604" y="20747"/>
                  </a:cubicBezTo>
                  <a:cubicBezTo>
                    <a:pt x="8642" y="20752"/>
                    <a:pt x="8679" y="20758"/>
                    <a:pt x="8717" y="20763"/>
                  </a:cubicBezTo>
                  <a:cubicBezTo>
                    <a:pt x="9470" y="20868"/>
                    <a:pt x="10037" y="20890"/>
                    <a:pt x="10845" y="20922"/>
                  </a:cubicBezTo>
                  <a:cubicBezTo>
                    <a:pt x="10902" y="20924"/>
                    <a:pt x="10961" y="20925"/>
                    <a:pt x="11020" y="20925"/>
                  </a:cubicBezTo>
                  <a:cubicBezTo>
                    <a:pt x="11197" y="20925"/>
                    <a:pt x="11383" y="20916"/>
                    <a:pt x="11568" y="20902"/>
                  </a:cubicBezTo>
                  <a:cubicBezTo>
                    <a:pt x="11557" y="20978"/>
                    <a:pt x="11547" y="21054"/>
                    <a:pt x="11537" y="21130"/>
                  </a:cubicBezTo>
                  <a:cubicBezTo>
                    <a:pt x="11532" y="21174"/>
                    <a:pt x="11527" y="21214"/>
                    <a:pt x="11514" y="21246"/>
                  </a:cubicBezTo>
                  <a:cubicBezTo>
                    <a:pt x="11491" y="21303"/>
                    <a:pt x="11447" y="21402"/>
                    <a:pt x="11414" y="21469"/>
                  </a:cubicBezTo>
                  <a:close/>
                  <a:moveTo>
                    <a:pt x="6642" y="20644"/>
                  </a:moveTo>
                  <a:cubicBezTo>
                    <a:pt x="6587" y="20621"/>
                    <a:pt x="6533" y="20597"/>
                    <a:pt x="6479" y="20574"/>
                  </a:cubicBezTo>
                  <a:cubicBezTo>
                    <a:pt x="6360" y="20505"/>
                    <a:pt x="6253" y="20399"/>
                    <a:pt x="6143" y="20303"/>
                  </a:cubicBezTo>
                  <a:cubicBezTo>
                    <a:pt x="6046" y="20218"/>
                    <a:pt x="5957" y="20119"/>
                    <a:pt x="5875" y="20011"/>
                  </a:cubicBezTo>
                  <a:cubicBezTo>
                    <a:pt x="6723" y="20354"/>
                    <a:pt x="7614" y="20591"/>
                    <a:pt x="8496" y="20730"/>
                  </a:cubicBezTo>
                  <a:cubicBezTo>
                    <a:pt x="8507" y="20764"/>
                    <a:pt x="8519" y="20798"/>
                    <a:pt x="8532" y="20831"/>
                  </a:cubicBezTo>
                  <a:cubicBezTo>
                    <a:pt x="8579" y="20951"/>
                    <a:pt x="8636" y="21145"/>
                    <a:pt x="8760" y="21249"/>
                  </a:cubicBezTo>
                  <a:cubicBezTo>
                    <a:pt x="8777" y="21263"/>
                    <a:pt x="8796" y="21281"/>
                    <a:pt x="8817" y="21301"/>
                  </a:cubicBezTo>
                  <a:cubicBezTo>
                    <a:pt x="8085" y="21162"/>
                    <a:pt x="7356" y="20945"/>
                    <a:pt x="6642" y="20644"/>
                  </a:cubicBezTo>
                  <a:close/>
                  <a:moveTo>
                    <a:pt x="3955" y="19014"/>
                  </a:moveTo>
                  <a:lnTo>
                    <a:pt x="3955" y="19013"/>
                  </a:lnTo>
                  <a:lnTo>
                    <a:pt x="3955" y="19013"/>
                  </a:lnTo>
                  <a:cubicBezTo>
                    <a:pt x="3911" y="18974"/>
                    <a:pt x="3869" y="18934"/>
                    <a:pt x="3828" y="18893"/>
                  </a:cubicBezTo>
                  <a:cubicBezTo>
                    <a:pt x="4407" y="19312"/>
                    <a:pt x="5043" y="19660"/>
                    <a:pt x="5708" y="19942"/>
                  </a:cubicBezTo>
                  <a:cubicBezTo>
                    <a:pt x="5816" y="20105"/>
                    <a:pt x="5939" y="20253"/>
                    <a:pt x="6080" y="20375"/>
                  </a:cubicBezTo>
                  <a:cubicBezTo>
                    <a:pt x="6091" y="20384"/>
                    <a:pt x="6101" y="20394"/>
                    <a:pt x="6112" y="20404"/>
                  </a:cubicBezTo>
                  <a:cubicBezTo>
                    <a:pt x="5324" y="20021"/>
                    <a:pt x="4603" y="19552"/>
                    <a:pt x="3955" y="19014"/>
                  </a:cubicBezTo>
                  <a:close/>
                  <a:moveTo>
                    <a:pt x="2790" y="16951"/>
                  </a:moveTo>
                  <a:cubicBezTo>
                    <a:pt x="2787" y="16942"/>
                    <a:pt x="2785" y="16932"/>
                    <a:pt x="2782" y="16922"/>
                  </a:cubicBezTo>
                  <a:cubicBezTo>
                    <a:pt x="3487" y="17456"/>
                    <a:pt x="4283" y="17890"/>
                    <a:pt x="5111" y="18236"/>
                  </a:cubicBezTo>
                  <a:cubicBezTo>
                    <a:pt x="5183" y="18739"/>
                    <a:pt x="5342" y="19321"/>
                    <a:pt x="5619" y="19798"/>
                  </a:cubicBezTo>
                  <a:cubicBezTo>
                    <a:pt x="4862" y="19466"/>
                    <a:pt x="4147" y="19046"/>
                    <a:pt x="3515" y="18532"/>
                  </a:cubicBezTo>
                  <a:cubicBezTo>
                    <a:pt x="3169" y="18070"/>
                    <a:pt x="2945" y="17529"/>
                    <a:pt x="2790" y="16951"/>
                  </a:cubicBezTo>
                  <a:close/>
                  <a:moveTo>
                    <a:pt x="2404" y="17415"/>
                  </a:moveTo>
                  <a:lnTo>
                    <a:pt x="2399" y="17419"/>
                  </a:lnTo>
                  <a:cubicBezTo>
                    <a:pt x="2146" y="17097"/>
                    <a:pt x="1912" y="16748"/>
                    <a:pt x="1698" y="16401"/>
                  </a:cubicBezTo>
                  <a:lnTo>
                    <a:pt x="1705" y="16384"/>
                  </a:lnTo>
                  <a:lnTo>
                    <a:pt x="1705" y="16384"/>
                  </a:lnTo>
                  <a:cubicBezTo>
                    <a:pt x="1501" y="16066"/>
                    <a:pt x="1342" y="15693"/>
                    <a:pt x="1222" y="15321"/>
                  </a:cubicBezTo>
                  <a:cubicBezTo>
                    <a:pt x="1620" y="15885"/>
                    <a:pt x="2109" y="16386"/>
                    <a:pt x="2657" y="16818"/>
                  </a:cubicBezTo>
                  <a:cubicBezTo>
                    <a:pt x="2670" y="16869"/>
                    <a:pt x="2683" y="16923"/>
                    <a:pt x="2697" y="16973"/>
                  </a:cubicBezTo>
                  <a:cubicBezTo>
                    <a:pt x="2822" y="17441"/>
                    <a:pt x="2994" y="17891"/>
                    <a:pt x="3239" y="18294"/>
                  </a:cubicBezTo>
                  <a:cubicBezTo>
                    <a:pt x="2937" y="18024"/>
                    <a:pt x="2656" y="17733"/>
                    <a:pt x="2404" y="17415"/>
                  </a:cubicBezTo>
                  <a:close/>
                  <a:moveTo>
                    <a:pt x="1065" y="14737"/>
                  </a:moveTo>
                  <a:cubicBezTo>
                    <a:pt x="1047" y="14571"/>
                    <a:pt x="1020" y="14392"/>
                    <a:pt x="980" y="14240"/>
                  </a:cubicBezTo>
                  <a:cubicBezTo>
                    <a:pt x="940" y="13937"/>
                    <a:pt x="921" y="13630"/>
                    <a:pt x="921" y="13321"/>
                  </a:cubicBezTo>
                  <a:cubicBezTo>
                    <a:pt x="921" y="13136"/>
                    <a:pt x="928" y="12950"/>
                    <a:pt x="941" y="12765"/>
                  </a:cubicBezTo>
                  <a:cubicBezTo>
                    <a:pt x="1356" y="13365"/>
                    <a:pt x="1885" y="13888"/>
                    <a:pt x="2482" y="14337"/>
                  </a:cubicBezTo>
                  <a:cubicBezTo>
                    <a:pt x="2469" y="14510"/>
                    <a:pt x="2466" y="14683"/>
                    <a:pt x="2466" y="14856"/>
                  </a:cubicBezTo>
                  <a:cubicBezTo>
                    <a:pt x="2466" y="14977"/>
                    <a:pt x="2467" y="15098"/>
                    <a:pt x="2467" y="15219"/>
                  </a:cubicBezTo>
                  <a:cubicBezTo>
                    <a:pt x="2467" y="15261"/>
                    <a:pt x="2467" y="15304"/>
                    <a:pt x="2466" y="15347"/>
                  </a:cubicBezTo>
                  <a:cubicBezTo>
                    <a:pt x="2466" y="15351"/>
                    <a:pt x="2466" y="15355"/>
                    <a:pt x="2466" y="15358"/>
                  </a:cubicBezTo>
                  <a:cubicBezTo>
                    <a:pt x="2466" y="15396"/>
                    <a:pt x="2468" y="15433"/>
                    <a:pt x="2472" y="15470"/>
                  </a:cubicBezTo>
                  <a:cubicBezTo>
                    <a:pt x="2495" y="15733"/>
                    <a:pt x="2521" y="15996"/>
                    <a:pt x="2549" y="16259"/>
                  </a:cubicBezTo>
                  <a:cubicBezTo>
                    <a:pt x="2563" y="16397"/>
                    <a:pt x="2589" y="16535"/>
                    <a:pt x="2620" y="16672"/>
                  </a:cubicBezTo>
                  <a:cubicBezTo>
                    <a:pt x="2039" y="16200"/>
                    <a:pt x="1530" y="15655"/>
                    <a:pt x="1133" y="15029"/>
                  </a:cubicBezTo>
                  <a:cubicBezTo>
                    <a:pt x="1107" y="14933"/>
                    <a:pt x="1085" y="14835"/>
                    <a:pt x="1065" y="14737"/>
                  </a:cubicBezTo>
                  <a:close/>
                  <a:moveTo>
                    <a:pt x="1052" y="15131"/>
                  </a:moveTo>
                  <a:cubicBezTo>
                    <a:pt x="1050" y="15122"/>
                    <a:pt x="1057" y="15132"/>
                    <a:pt x="1065" y="15146"/>
                  </a:cubicBezTo>
                  <a:cubicBezTo>
                    <a:pt x="1078" y="15191"/>
                    <a:pt x="1091" y="15235"/>
                    <a:pt x="1104" y="15278"/>
                  </a:cubicBezTo>
                  <a:cubicBezTo>
                    <a:pt x="1085" y="15230"/>
                    <a:pt x="1059" y="15183"/>
                    <a:pt x="1052" y="15131"/>
                  </a:cubicBezTo>
                  <a:close/>
                  <a:moveTo>
                    <a:pt x="1103" y="15288"/>
                  </a:moveTo>
                  <a:cubicBezTo>
                    <a:pt x="1102" y="15285"/>
                    <a:pt x="1107" y="15293"/>
                    <a:pt x="1110" y="15297"/>
                  </a:cubicBezTo>
                  <a:cubicBezTo>
                    <a:pt x="1112" y="15305"/>
                    <a:pt x="1115" y="15312"/>
                    <a:pt x="1117" y="15320"/>
                  </a:cubicBezTo>
                  <a:cubicBezTo>
                    <a:pt x="1113" y="15309"/>
                    <a:pt x="1108" y="15298"/>
                    <a:pt x="1103" y="15288"/>
                  </a:cubicBezTo>
                  <a:close/>
                  <a:moveTo>
                    <a:pt x="388" y="11486"/>
                  </a:moveTo>
                  <a:cubicBezTo>
                    <a:pt x="295" y="11224"/>
                    <a:pt x="245" y="10975"/>
                    <a:pt x="216" y="10717"/>
                  </a:cubicBezTo>
                  <a:cubicBezTo>
                    <a:pt x="302" y="9945"/>
                    <a:pt x="507" y="9196"/>
                    <a:pt x="807" y="8481"/>
                  </a:cubicBezTo>
                  <a:cubicBezTo>
                    <a:pt x="884" y="8835"/>
                    <a:pt x="1079" y="9220"/>
                    <a:pt x="1252" y="9506"/>
                  </a:cubicBezTo>
                  <a:cubicBezTo>
                    <a:pt x="1327" y="9631"/>
                    <a:pt x="1409" y="9752"/>
                    <a:pt x="1495" y="9869"/>
                  </a:cubicBezTo>
                  <a:cubicBezTo>
                    <a:pt x="1487" y="9891"/>
                    <a:pt x="1479" y="9912"/>
                    <a:pt x="1471" y="9933"/>
                  </a:cubicBezTo>
                  <a:cubicBezTo>
                    <a:pt x="1175" y="10735"/>
                    <a:pt x="957" y="11602"/>
                    <a:pt x="868" y="12478"/>
                  </a:cubicBezTo>
                  <a:cubicBezTo>
                    <a:pt x="675" y="12168"/>
                    <a:pt x="513" y="11837"/>
                    <a:pt x="388" y="11486"/>
                  </a:cubicBezTo>
                  <a:close/>
                  <a:moveTo>
                    <a:pt x="852" y="13964"/>
                  </a:moveTo>
                  <a:cubicBezTo>
                    <a:pt x="839" y="13952"/>
                    <a:pt x="826" y="13940"/>
                    <a:pt x="817" y="13924"/>
                  </a:cubicBezTo>
                  <a:cubicBezTo>
                    <a:pt x="695" y="13715"/>
                    <a:pt x="661" y="13458"/>
                    <a:pt x="534" y="13255"/>
                  </a:cubicBezTo>
                  <a:cubicBezTo>
                    <a:pt x="501" y="13202"/>
                    <a:pt x="453" y="13157"/>
                    <a:pt x="426" y="13101"/>
                  </a:cubicBezTo>
                  <a:cubicBezTo>
                    <a:pt x="380" y="13005"/>
                    <a:pt x="350" y="12902"/>
                    <a:pt x="316" y="12801"/>
                  </a:cubicBezTo>
                  <a:cubicBezTo>
                    <a:pt x="309" y="12780"/>
                    <a:pt x="311" y="12758"/>
                    <a:pt x="305" y="12737"/>
                  </a:cubicBezTo>
                  <a:cubicBezTo>
                    <a:pt x="276" y="12655"/>
                    <a:pt x="257" y="12591"/>
                    <a:pt x="242" y="12532"/>
                  </a:cubicBezTo>
                  <a:cubicBezTo>
                    <a:pt x="238" y="12513"/>
                    <a:pt x="235" y="12494"/>
                    <a:pt x="232" y="12475"/>
                  </a:cubicBezTo>
                  <a:cubicBezTo>
                    <a:pt x="190" y="12158"/>
                    <a:pt x="170" y="11844"/>
                    <a:pt x="170" y="11534"/>
                  </a:cubicBezTo>
                  <a:cubicBezTo>
                    <a:pt x="170" y="11393"/>
                    <a:pt x="174" y="11253"/>
                    <a:pt x="182" y="11113"/>
                  </a:cubicBezTo>
                  <a:cubicBezTo>
                    <a:pt x="211" y="11246"/>
                    <a:pt x="248" y="11381"/>
                    <a:pt x="297" y="11519"/>
                  </a:cubicBezTo>
                  <a:cubicBezTo>
                    <a:pt x="440" y="11917"/>
                    <a:pt x="628" y="12288"/>
                    <a:pt x="854" y="12635"/>
                  </a:cubicBezTo>
                  <a:cubicBezTo>
                    <a:pt x="835" y="12863"/>
                    <a:pt x="824" y="13092"/>
                    <a:pt x="824" y="13321"/>
                  </a:cubicBezTo>
                  <a:cubicBezTo>
                    <a:pt x="824" y="13536"/>
                    <a:pt x="834" y="13751"/>
                    <a:pt x="852" y="13964"/>
                  </a:cubicBezTo>
                  <a:close/>
                  <a:moveTo>
                    <a:pt x="153" y="9703"/>
                  </a:moveTo>
                  <a:cubicBezTo>
                    <a:pt x="243" y="8820"/>
                    <a:pt x="447" y="7936"/>
                    <a:pt x="770" y="7068"/>
                  </a:cubicBezTo>
                  <a:cubicBezTo>
                    <a:pt x="757" y="7164"/>
                    <a:pt x="745" y="7266"/>
                    <a:pt x="731" y="7379"/>
                  </a:cubicBezTo>
                  <a:cubicBezTo>
                    <a:pt x="722" y="7452"/>
                    <a:pt x="718" y="7528"/>
                    <a:pt x="718" y="7605"/>
                  </a:cubicBezTo>
                  <a:cubicBezTo>
                    <a:pt x="718" y="7847"/>
                    <a:pt x="754" y="8097"/>
                    <a:pt x="779" y="8302"/>
                  </a:cubicBezTo>
                  <a:cubicBezTo>
                    <a:pt x="501" y="8934"/>
                    <a:pt x="296" y="9594"/>
                    <a:pt x="181" y="10273"/>
                  </a:cubicBezTo>
                  <a:cubicBezTo>
                    <a:pt x="172" y="10094"/>
                    <a:pt x="165" y="9906"/>
                    <a:pt x="155" y="9703"/>
                  </a:cubicBezTo>
                  <a:cubicBezTo>
                    <a:pt x="155" y="9703"/>
                    <a:pt x="153" y="9703"/>
                    <a:pt x="153" y="9703"/>
                  </a:cubicBezTo>
                  <a:close/>
                  <a:moveTo>
                    <a:pt x="827" y="7391"/>
                  </a:moveTo>
                  <a:cubicBezTo>
                    <a:pt x="862" y="7112"/>
                    <a:pt x="880" y="6913"/>
                    <a:pt x="941" y="6695"/>
                  </a:cubicBezTo>
                  <a:cubicBezTo>
                    <a:pt x="1266" y="5826"/>
                    <a:pt x="1751" y="5082"/>
                    <a:pt x="2361" y="4443"/>
                  </a:cubicBezTo>
                  <a:cubicBezTo>
                    <a:pt x="2301" y="4602"/>
                    <a:pt x="2251" y="4778"/>
                    <a:pt x="2250" y="4943"/>
                  </a:cubicBezTo>
                  <a:cubicBezTo>
                    <a:pt x="2250" y="4950"/>
                    <a:pt x="2250" y="4957"/>
                    <a:pt x="2251" y="4964"/>
                  </a:cubicBezTo>
                  <a:cubicBezTo>
                    <a:pt x="2262" y="5393"/>
                    <a:pt x="2241" y="5522"/>
                    <a:pt x="2327" y="5823"/>
                  </a:cubicBezTo>
                  <a:cubicBezTo>
                    <a:pt x="1740" y="6535"/>
                    <a:pt x="1237" y="7310"/>
                    <a:pt x="855" y="8132"/>
                  </a:cubicBezTo>
                  <a:cubicBezTo>
                    <a:pt x="835" y="7964"/>
                    <a:pt x="814" y="7780"/>
                    <a:pt x="814" y="7605"/>
                  </a:cubicBezTo>
                  <a:cubicBezTo>
                    <a:pt x="814" y="7531"/>
                    <a:pt x="818" y="7459"/>
                    <a:pt x="827" y="7391"/>
                  </a:cubicBezTo>
                  <a:close/>
                  <a:moveTo>
                    <a:pt x="2620" y="3894"/>
                  </a:moveTo>
                  <a:cubicBezTo>
                    <a:pt x="2561" y="3996"/>
                    <a:pt x="2507" y="4100"/>
                    <a:pt x="2459" y="4207"/>
                  </a:cubicBezTo>
                  <a:cubicBezTo>
                    <a:pt x="2303" y="4359"/>
                    <a:pt x="2155" y="4518"/>
                    <a:pt x="2015" y="4683"/>
                  </a:cubicBezTo>
                  <a:cubicBezTo>
                    <a:pt x="2205" y="4409"/>
                    <a:pt x="2407" y="4146"/>
                    <a:pt x="2620" y="3894"/>
                  </a:cubicBezTo>
                  <a:close/>
                  <a:moveTo>
                    <a:pt x="3072" y="3417"/>
                  </a:moveTo>
                  <a:cubicBezTo>
                    <a:pt x="3078" y="3412"/>
                    <a:pt x="3084" y="3406"/>
                    <a:pt x="3090" y="3401"/>
                  </a:cubicBezTo>
                  <a:cubicBezTo>
                    <a:pt x="3083" y="3408"/>
                    <a:pt x="3070" y="3429"/>
                    <a:pt x="3078" y="3425"/>
                  </a:cubicBezTo>
                  <a:cubicBezTo>
                    <a:pt x="3111" y="3405"/>
                    <a:pt x="3139" y="3379"/>
                    <a:pt x="3169" y="3354"/>
                  </a:cubicBezTo>
                  <a:cubicBezTo>
                    <a:pt x="3192" y="3334"/>
                    <a:pt x="3254" y="3268"/>
                    <a:pt x="3235" y="3291"/>
                  </a:cubicBezTo>
                  <a:cubicBezTo>
                    <a:pt x="3180" y="3357"/>
                    <a:pt x="3005" y="3547"/>
                    <a:pt x="3068" y="3489"/>
                  </a:cubicBezTo>
                  <a:cubicBezTo>
                    <a:pt x="3141" y="3422"/>
                    <a:pt x="3215" y="3355"/>
                    <a:pt x="3280" y="3281"/>
                  </a:cubicBezTo>
                  <a:cubicBezTo>
                    <a:pt x="3307" y="3251"/>
                    <a:pt x="3160" y="3385"/>
                    <a:pt x="3186" y="3354"/>
                  </a:cubicBezTo>
                  <a:cubicBezTo>
                    <a:pt x="3235" y="3293"/>
                    <a:pt x="3300" y="3247"/>
                    <a:pt x="3354" y="3190"/>
                  </a:cubicBezTo>
                  <a:cubicBezTo>
                    <a:pt x="3373" y="3170"/>
                    <a:pt x="3386" y="3144"/>
                    <a:pt x="3399" y="3118"/>
                  </a:cubicBezTo>
                  <a:cubicBezTo>
                    <a:pt x="3956" y="2626"/>
                    <a:pt x="4439" y="2289"/>
                    <a:pt x="4937" y="2043"/>
                  </a:cubicBezTo>
                  <a:cubicBezTo>
                    <a:pt x="4790" y="2232"/>
                    <a:pt x="4677" y="2442"/>
                    <a:pt x="4614" y="2676"/>
                  </a:cubicBezTo>
                  <a:cubicBezTo>
                    <a:pt x="3889" y="3054"/>
                    <a:pt x="3232" y="3496"/>
                    <a:pt x="2662" y="4015"/>
                  </a:cubicBezTo>
                  <a:cubicBezTo>
                    <a:pt x="2779" y="3804"/>
                    <a:pt x="2919" y="3603"/>
                    <a:pt x="3072" y="3417"/>
                  </a:cubicBezTo>
                  <a:close/>
                  <a:moveTo>
                    <a:pt x="3211" y="3288"/>
                  </a:moveTo>
                  <a:cubicBezTo>
                    <a:pt x="3187" y="3316"/>
                    <a:pt x="3158" y="3339"/>
                    <a:pt x="3130" y="3363"/>
                  </a:cubicBezTo>
                  <a:cubicBezTo>
                    <a:pt x="3157" y="3338"/>
                    <a:pt x="3184" y="3313"/>
                    <a:pt x="3211" y="3288"/>
                  </a:cubicBezTo>
                  <a:close/>
                  <a:moveTo>
                    <a:pt x="4985" y="1816"/>
                  </a:moveTo>
                  <a:cubicBezTo>
                    <a:pt x="5144" y="1713"/>
                    <a:pt x="5306" y="1615"/>
                    <a:pt x="5470" y="1521"/>
                  </a:cubicBezTo>
                  <a:cubicBezTo>
                    <a:pt x="5478" y="1517"/>
                    <a:pt x="5495" y="1508"/>
                    <a:pt x="5517" y="1496"/>
                  </a:cubicBezTo>
                  <a:cubicBezTo>
                    <a:pt x="5457" y="1540"/>
                    <a:pt x="5397" y="1585"/>
                    <a:pt x="5340" y="1632"/>
                  </a:cubicBezTo>
                  <a:cubicBezTo>
                    <a:pt x="5210" y="1697"/>
                    <a:pt x="5082" y="1765"/>
                    <a:pt x="4955" y="1835"/>
                  </a:cubicBezTo>
                  <a:cubicBezTo>
                    <a:pt x="4965" y="1829"/>
                    <a:pt x="4975" y="1822"/>
                    <a:pt x="4985" y="1816"/>
                  </a:cubicBezTo>
                  <a:close/>
                  <a:moveTo>
                    <a:pt x="5531" y="1485"/>
                  </a:moveTo>
                  <a:cubicBezTo>
                    <a:pt x="5528" y="1487"/>
                    <a:pt x="5526" y="1490"/>
                    <a:pt x="5523" y="1492"/>
                  </a:cubicBezTo>
                  <a:lnTo>
                    <a:pt x="5502" y="1502"/>
                  </a:lnTo>
                  <a:cubicBezTo>
                    <a:pt x="5512" y="1497"/>
                    <a:pt x="5521" y="1491"/>
                    <a:pt x="5531" y="1485"/>
                  </a:cubicBezTo>
                  <a:close/>
                  <a:moveTo>
                    <a:pt x="5715" y="1561"/>
                  </a:moveTo>
                  <a:cubicBezTo>
                    <a:pt x="5824" y="1511"/>
                    <a:pt x="5933" y="1464"/>
                    <a:pt x="6041" y="1420"/>
                  </a:cubicBezTo>
                  <a:cubicBezTo>
                    <a:pt x="6053" y="1417"/>
                    <a:pt x="6062" y="1413"/>
                    <a:pt x="6068" y="1409"/>
                  </a:cubicBezTo>
                  <a:cubicBezTo>
                    <a:pt x="6577" y="1202"/>
                    <a:pt x="7054" y="1062"/>
                    <a:pt x="7408" y="1025"/>
                  </a:cubicBezTo>
                  <a:cubicBezTo>
                    <a:pt x="7556" y="1009"/>
                    <a:pt x="7703" y="989"/>
                    <a:pt x="7848" y="972"/>
                  </a:cubicBezTo>
                  <a:cubicBezTo>
                    <a:pt x="7770" y="1043"/>
                    <a:pt x="7705" y="1118"/>
                    <a:pt x="7654" y="1197"/>
                  </a:cubicBezTo>
                  <a:cubicBezTo>
                    <a:pt x="7620" y="1203"/>
                    <a:pt x="7585" y="1209"/>
                    <a:pt x="7551" y="1215"/>
                  </a:cubicBezTo>
                  <a:cubicBezTo>
                    <a:pt x="7502" y="1224"/>
                    <a:pt x="7454" y="1232"/>
                    <a:pt x="7405" y="1241"/>
                  </a:cubicBezTo>
                  <a:cubicBezTo>
                    <a:pt x="7358" y="1229"/>
                    <a:pt x="7300" y="1241"/>
                    <a:pt x="7254" y="1268"/>
                  </a:cubicBezTo>
                  <a:cubicBezTo>
                    <a:pt x="6569" y="1393"/>
                    <a:pt x="6007" y="1518"/>
                    <a:pt x="5491" y="1704"/>
                  </a:cubicBezTo>
                  <a:cubicBezTo>
                    <a:pt x="5535" y="1673"/>
                    <a:pt x="5579" y="1641"/>
                    <a:pt x="5625" y="1612"/>
                  </a:cubicBezTo>
                  <a:cubicBezTo>
                    <a:pt x="5654" y="1594"/>
                    <a:pt x="5684" y="1577"/>
                    <a:pt x="5715" y="1561"/>
                  </a:cubicBezTo>
                  <a:close/>
                  <a:moveTo>
                    <a:pt x="6534" y="1026"/>
                  </a:moveTo>
                  <a:cubicBezTo>
                    <a:pt x="6508" y="1074"/>
                    <a:pt x="6482" y="1073"/>
                    <a:pt x="6456" y="1063"/>
                  </a:cubicBezTo>
                  <a:cubicBezTo>
                    <a:pt x="6482" y="1050"/>
                    <a:pt x="6508" y="1038"/>
                    <a:pt x="6534" y="1026"/>
                  </a:cubicBezTo>
                  <a:close/>
                  <a:moveTo>
                    <a:pt x="7640" y="836"/>
                  </a:moveTo>
                  <a:cubicBezTo>
                    <a:pt x="7655" y="784"/>
                    <a:pt x="7747" y="818"/>
                    <a:pt x="7796" y="797"/>
                  </a:cubicBezTo>
                  <a:cubicBezTo>
                    <a:pt x="7848" y="775"/>
                    <a:pt x="7885" y="695"/>
                    <a:pt x="7940" y="708"/>
                  </a:cubicBezTo>
                  <a:cubicBezTo>
                    <a:pt x="7988" y="718"/>
                    <a:pt x="7951" y="847"/>
                    <a:pt x="8000" y="843"/>
                  </a:cubicBezTo>
                  <a:cubicBezTo>
                    <a:pt x="8008" y="843"/>
                    <a:pt x="8014" y="840"/>
                    <a:pt x="8019" y="837"/>
                  </a:cubicBezTo>
                  <a:cubicBezTo>
                    <a:pt x="8008" y="844"/>
                    <a:pt x="7997" y="852"/>
                    <a:pt x="7986" y="860"/>
                  </a:cubicBezTo>
                  <a:cubicBezTo>
                    <a:pt x="7895" y="869"/>
                    <a:pt x="7803" y="880"/>
                    <a:pt x="7713" y="891"/>
                  </a:cubicBezTo>
                  <a:cubicBezTo>
                    <a:pt x="7673" y="878"/>
                    <a:pt x="7631" y="867"/>
                    <a:pt x="7640" y="836"/>
                  </a:cubicBezTo>
                  <a:close/>
                  <a:moveTo>
                    <a:pt x="8104" y="693"/>
                  </a:moveTo>
                  <a:cubicBezTo>
                    <a:pt x="8115" y="687"/>
                    <a:pt x="8126" y="682"/>
                    <a:pt x="8137" y="677"/>
                  </a:cubicBezTo>
                  <a:cubicBezTo>
                    <a:pt x="8189" y="675"/>
                    <a:pt x="8240" y="672"/>
                    <a:pt x="8291" y="672"/>
                  </a:cubicBezTo>
                  <a:cubicBezTo>
                    <a:pt x="8193" y="723"/>
                    <a:pt x="8103" y="778"/>
                    <a:pt x="8021" y="835"/>
                  </a:cubicBezTo>
                  <a:cubicBezTo>
                    <a:pt x="8059" y="808"/>
                    <a:pt x="8058" y="719"/>
                    <a:pt x="8104" y="693"/>
                  </a:cubicBezTo>
                  <a:close/>
                  <a:moveTo>
                    <a:pt x="9426" y="776"/>
                  </a:moveTo>
                  <a:cubicBezTo>
                    <a:pt x="9671" y="825"/>
                    <a:pt x="9913" y="879"/>
                    <a:pt x="10151" y="946"/>
                  </a:cubicBezTo>
                  <a:cubicBezTo>
                    <a:pt x="9396" y="854"/>
                    <a:pt x="9217" y="846"/>
                    <a:pt x="8385" y="839"/>
                  </a:cubicBezTo>
                  <a:cubicBezTo>
                    <a:pt x="8377" y="839"/>
                    <a:pt x="8369" y="839"/>
                    <a:pt x="8361" y="839"/>
                  </a:cubicBezTo>
                  <a:cubicBezTo>
                    <a:pt x="8301" y="839"/>
                    <a:pt x="8241" y="841"/>
                    <a:pt x="8182" y="845"/>
                  </a:cubicBezTo>
                  <a:cubicBezTo>
                    <a:pt x="8281" y="784"/>
                    <a:pt x="8392" y="726"/>
                    <a:pt x="8514" y="672"/>
                  </a:cubicBezTo>
                  <a:cubicBezTo>
                    <a:pt x="8812" y="680"/>
                    <a:pt x="9116" y="715"/>
                    <a:pt x="9426" y="776"/>
                  </a:cubicBezTo>
                  <a:close/>
                  <a:moveTo>
                    <a:pt x="8637" y="516"/>
                  </a:moveTo>
                  <a:cubicBezTo>
                    <a:pt x="8639" y="516"/>
                    <a:pt x="8640" y="516"/>
                    <a:pt x="8642" y="515"/>
                  </a:cubicBezTo>
                  <a:cubicBezTo>
                    <a:pt x="8638" y="517"/>
                    <a:pt x="8634" y="519"/>
                    <a:pt x="8631" y="520"/>
                  </a:cubicBezTo>
                  <a:cubicBezTo>
                    <a:pt x="8633" y="519"/>
                    <a:pt x="8635" y="517"/>
                    <a:pt x="8637" y="516"/>
                  </a:cubicBezTo>
                  <a:close/>
                  <a:moveTo>
                    <a:pt x="9098" y="469"/>
                  </a:moveTo>
                  <a:cubicBezTo>
                    <a:pt x="9377" y="510"/>
                    <a:pt x="9638" y="583"/>
                    <a:pt x="9937" y="708"/>
                  </a:cubicBezTo>
                  <a:cubicBezTo>
                    <a:pt x="10078" y="767"/>
                    <a:pt x="10215" y="833"/>
                    <a:pt x="10351" y="905"/>
                  </a:cubicBezTo>
                  <a:cubicBezTo>
                    <a:pt x="10349" y="904"/>
                    <a:pt x="10348" y="904"/>
                    <a:pt x="10346" y="903"/>
                  </a:cubicBezTo>
                  <a:cubicBezTo>
                    <a:pt x="10049" y="809"/>
                    <a:pt x="9748" y="742"/>
                    <a:pt x="9445" y="682"/>
                  </a:cubicBezTo>
                  <a:cubicBezTo>
                    <a:pt x="9202" y="634"/>
                    <a:pt x="8964" y="602"/>
                    <a:pt x="8728" y="586"/>
                  </a:cubicBezTo>
                  <a:cubicBezTo>
                    <a:pt x="8845" y="543"/>
                    <a:pt x="8968" y="504"/>
                    <a:pt x="9098" y="469"/>
                  </a:cubicBezTo>
                  <a:close/>
                  <a:moveTo>
                    <a:pt x="9357" y="291"/>
                  </a:moveTo>
                  <a:cubicBezTo>
                    <a:pt x="9378" y="286"/>
                    <a:pt x="9420" y="290"/>
                    <a:pt x="9448" y="289"/>
                  </a:cubicBezTo>
                  <a:cubicBezTo>
                    <a:pt x="9325" y="313"/>
                    <a:pt x="9206" y="340"/>
                    <a:pt x="9092" y="371"/>
                  </a:cubicBezTo>
                  <a:cubicBezTo>
                    <a:pt x="9079" y="369"/>
                    <a:pt x="9065" y="367"/>
                    <a:pt x="9052" y="366"/>
                  </a:cubicBezTo>
                  <a:cubicBezTo>
                    <a:pt x="9151" y="332"/>
                    <a:pt x="9255" y="314"/>
                    <a:pt x="9357" y="291"/>
                  </a:cubicBezTo>
                  <a:close/>
                  <a:moveTo>
                    <a:pt x="9351" y="287"/>
                  </a:moveTo>
                  <a:cubicBezTo>
                    <a:pt x="9387" y="265"/>
                    <a:pt x="9426" y="250"/>
                    <a:pt x="9466" y="236"/>
                  </a:cubicBezTo>
                  <a:cubicBezTo>
                    <a:pt x="9519" y="243"/>
                    <a:pt x="9573" y="250"/>
                    <a:pt x="9621" y="257"/>
                  </a:cubicBezTo>
                  <a:cubicBezTo>
                    <a:pt x="9570" y="266"/>
                    <a:pt x="9521" y="275"/>
                    <a:pt x="9472" y="284"/>
                  </a:cubicBezTo>
                  <a:cubicBezTo>
                    <a:pt x="9473" y="282"/>
                    <a:pt x="9472" y="280"/>
                    <a:pt x="9468" y="276"/>
                  </a:cubicBezTo>
                  <a:cubicBezTo>
                    <a:pt x="9437" y="252"/>
                    <a:pt x="9318" y="307"/>
                    <a:pt x="9351" y="287"/>
                  </a:cubicBezTo>
                  <a:close/>
                  <a:moveTo>
                    <a:pt x="10440" y="103"/>
                  </a:moveTo>
                  <a:cubicBezTo>
                    <a:pt x="10453" y="124"/>
                    <a:pt x="10467" y="147"/>
                    <a:pt x="10482" y="170"/>
                  </a:cubicBezTo>
                  <a:cubicBezTo>
                    <a:pt x="10267" y="179"/>
                    <a:pt x="10058" y="196"/>
                    <a:pt x="9857" y="222"/>
                  </a:cubicBezTo>
                  <a:cubicBezTo>
                    <a:pt x="9813" y="204"/>
                    <a:pt x="9769" y="189"/>
                    <a:pt x="9726" y="179"/>
                  </a:cubicBezTo>
                  <a:cubicBezTo>
                    <a:pt x="9730" y="175"/>
                    <a:pt x="9733" y="169"/>
                    <a:pt x="9729" y="169"/>
                  </a:cubicBezTo>
                  <a:cubicBezTo>
                    <a:pt x="9709" y="168"/>
                    <a:pt x="9690" y="168"/>
                    <a:pt x="9671" y="168"/>
                  </a:cubicBezTo>
                  <a:cubicBezTo>
                    <a:pt x="9658" y="166"/>
                    <a:pt x="9645" y="164"/>
                    <a:pt x="9631" y="161"/>
                  </a:cubicBezTo>
                  <a:cubicBezTo>
                    <a:pt x="9900" y="132"/>
                    <a:pt x="10169" y="112"/>
                    <a:pt x="10440" y="103"/>
                  </a:cubicBezTo>
                  <a:close/>
                  <a:moveTo>
                    <a:pt x="10589" y="355"/>
                  </a:moveTo>
                  <a:cubicBezTo>
                    <a:pt x="10591" y="360"/>
                    <a:pt x="10593" y="366"/>
                    <a:pt x="10596" y="371"/>
                  </a:cubicBezTo>
                  <a:cubicBezTo>
                    <a:pt x="10544" y="361"/>
                    <a:pt x="10484" y="366"/>
                    <a:pt x="10433" y="354"/>
                  </a:cubicBezTo>
                  <a:cubicBezTo>
                    <a:pt x="10458" y="376"/>
                    <a:pt x="10484" y="398"/>
                    <a:pt x="10510" y="419"/>
                  </a:cubicBezTo>
                  <a:cubicBezTo>
                    <a:pt x="10529" y="402"/>
                    <a:pt x="10574" y="407"/>
                    <a:pt x="10612" y="412"/>
                  </a:cubicBezTo>
                  <a:cubicBezTo>
                    <a:pt x="10666" y="558"/>
                    <a:pt x="10696" y="763"/>
                    <a:pt x="10722" y="944"/>
                  </a:cubicBezTo>
                  <a:cubicBezTo>
                    <a:pt x="10631" y="839"/>
                    <a:pt x="10537" y="738"/>
                    <a:pt x="10436" y="642"/>
                  </a:cubicBezTo>
                  <a:cubicBezTo>
                    <a:pt x="10323" y="536"/>
                    <a:pt x="10170" y="401"/>
                    <a:pt x="10007" y="302"/>
                  </a:cubicBezTo>
                  <a:cubicBezTo>
                    <a:pt x="10180" y="283"/>
                    <a:pt x="10358" y="271"/>
                    <a:pt x="10540" y="265"/>
                  </a:cubicBezTo>
                  <a:cubicBezTo>
                    <a:pt x="10559" y="297"/>
                    <a:pt x="10577" y="328"/>
                    <a:pt x="10589" y="355"/>
                  </a:cubicBezTo>
                  <a:close/>
                  <a:moveTo>
                    <a:pt x="10805" y="97"/>
                  </a:moveTo>
                  <a:cubicBezTo>
                    <a:pt x="11026" y="97"/>
                    <a:pt x="11248" y="104"/>
                    <a:pt x="11471" y="118"/>
                  </a:cubicBezTo>
                  <a:cubicBezTo>
                    <a:pt x="11428" y="141"/>
                    <a:pt x="11385" y="164"/>
                    <a:pt x="11347" y="186"/>
                  </a:cubicBezTo>
                  <a:cubicBezTo>
                    <a:pt x="11163" y="172"/>
                    <a:pt x="10975" y="164"/>
                    <a:pt x="10782" y="164"/>
                  </a:cubicBezTo>
                  <a:cubicBezTo>
                    <a:pt x="10719" y="164"/>
                    <a:pt x="10656" y="165"/>
                    <a:pt x="10593" y="166"/>
                  </a:cubicBezTo>
                  <a:cubicBezTo>
                    <a:pt x="10579" y="144"/>
                    <a:pt x="10565" y="121"/>
                    <a:pt x="10552" y="100"/>
                  </a:cubicBezTo>
                  <a:cubicBezTo>
                    <a:pt x="10636" y="98"/>
                    <a:pt x="10720" y="97"/>
                    <a:pt x="10805" y="97"/>
                  </a:cubicBezTo>
                  <a:close/>
                  <a:moveTo>
                    <a:pt x="11664" y="132"/>
                  </a:moveTo>
                  <a:cubicBezTo>
                    <a:pt x="11934" y="154"/>
                    <a:pt x="12203" y="186"/>
                    <a:pt x="12473" y="229"/>
                  </a:cubicBezTo>
                  <a:cubicBezTo>
                    <a:pt x="12370" y="241"/>
                    <a:pt x="12269" y="254"/>
                    <a:pt x="12165" y="262"/>
                  </a:cubicBezTo>
                  <a:cubicBezTo>
                    <a:pt x="12134" y="264"/>
                    <a:pt x="12101" y="271"/>
                    <a:pt x="12067" y="279"/>
                  </a:cubicBezTo>
                  <a:cubicBezTo>
                    <a:pt x="11892" y="246"/>
                    <a:pt x="11710" y="220"/>
                    <a:pt x="11521" y="201"/>
                  </a:cubicBezTo>
                  <a:cubicBezTo>
                    <a:pt x="11571" y="176"/>
                    <a:pt x="11620" y="152"/>
                    <a:pt x="11664" y="132"/>
                  </a:cubicBezTo>
                  <a:close/>
                  <a:moveTo>
                    <a:pt x="13477" y="439"/>
                  </a:moveTo>
                  <a:cubicBezTo>
                    <a:pt x="13389" y="433"/>
                    <a:pt x="13301" y="430"/>
                    <a:pt x="13214" y="430"/>
                  </a:cubicBezTo>
                  <a:cubicBezTo>
                    <a:pt x="13061" y="430"/>
                    <a:pt x="12908" y="439"/>
                    <a:pt x="12754" y="455"/>
                  </a:cubicBezTo>
                  <a:cubicBezTo>
                    <a:pt x="12627" y="413"/>
                    <a:pt x="12493" y="374"/>
                    <a:pt x="12353" y="340"/>
                  </a:cubicBezTo>
                  <a:cubicBezTo>
                    <a:pt x="12513" y="322"/>
                    <a:pt x="12669" y="300"/>
                    <a:pt x="12829" y="294"/>
                  </a:cubicBezTo>
                  <a:lnTo>
                    <a:pt x="12829" y="292"/>
                  </a:lnTo>
                  <a:cubicBezTo>
                    <a:pt x="13046" y="334"/>
                    <a:pt x="13261" y="383"/>
                    <a:pt x="13477" y="439"/>
                  </a:cubicBezTo>
                  <a:close/>
                  <a:moveTo>
                    <a:pt x="13712" y="596"/>
                  </a:moveTo>
                  <a:cubicBezTo>
                    <a:pt x="13765" y="640"/>
                    <a:pt x="14094" y="708"/>
                    <a:pt x="14137" y="721"/>
                  </a:cubicBezTo>
                  <a:cubicBezTo>
                    <a:pt x="14208" y="742"/>
                    <a:pt x="14277" y="769"/>
                    <a:pt x="14343" y="802"/>
                  </a:cubicBezTo>
                  <a:cubicBezTo>
                    <a:pt x="14315" y="797"/>
                    <a:pt x="14286" y="791"/>
                    <a:pt x="14258" y="786"/>
                  </a:cubicBezTo>
                  <a:cubicBezTo>
                    <a:pt x="14209" y="763"/>
                    <a:pt x="14162" y="734"/>
                    <a:pt x="14111" y="715"/>
                  </a:cubicBezTo>
                  <a:cubicBezTo>
                    <a:pt x="14098" y="710"/>
                    <a:pt x="14084" y="720"/>
                    <a:pt x="14070" y="717"/>
                  </a:cubicBezTo>
                  <a:cubicBezTo>
                    <a:pt x="14012" y="707"/>
                    <a:pt x="13956" y="688"/>
                    <a:pt x="13898" y="676"/>
                  </a:cubicBezTo>
                  <a:cubicBezTo>
                    <a:pt x="13887" y="674"/>
                    <a:pt x="13859" y="667"/>
                    <a:pt x="13866" y="675"/>
                  </a:cubicBezTo>
                  <a:cubicBezTo>
                    <a:pt x="13885" y="700"/>
                    <a:pt x="13913" y="715"/>
                    <a:pt x="13938" y="735"/>
                  </a:cubicBezTo>
                  <a:cubicBezTo>
                    <a:pt x="13926" y="734"/>
                    <a:pt x="13915" y="733"/>
                    <a:pt x="13904" y="732"/>
                  </a:cubicBezTo>
                  <a:cubicBezTo>
                    <a:pt x="13855" y="711"/>
                    <a:pt x="13807" y="688"/>
                    <a:pt x="13757" y="669"/>
                  </a:cubicBezTo>
                  <a:cubicBezTo>
                    <a:pt x="13731" y="659"/>
                    <a:pt x="13655" y="633"/>
                    <a:pt x="13678" y="648"/>
                  </a:cubicBezTo>
                  <a:cubicBezTo>
                    <a:pt x="13717" y="672"/>
                    <a:pt x="13766" y="677"/>
                    <a:pt x="13806" y="700"/>
                  </a:cubicBezTo>
                  <a:cubicBezTo>
                    <a:pt x="13817" y="707"/>
                    <a:pt x="13825" y="718"/>
                    <a:pt x="13833" y="728"/>
                  </a:cubicBezTo>
                  <a:cubicBezTo>
                    <a:pt x="13821" y="728"/>
                    <a:pt x="13809" y="727"/>
                    <a:pt x="13797" y="727"/>
                  </a:cubicBezTo>
                  <a:cubicBezTo>
                    <a:pt x="13793" y="727"/>
                    <a:pt x="13788" y="727"/>
                    <a:pt x="13783" y="727"/>
                  </a:cubicBezTo>
                  <a:cubicBezTo>
                    <a:pt x="13776" y="727"/>
                    <a:pt x="13768" y="727"/>
                    <a:pt x="13761" y="728"/>
                  </a:cubicBezTo>
                  <a:cubicBezTo>
                    <a:pt x="13721" y="703"/>
                    <a:pt x="13683" y="675"/>
                    <a:pt x="13639" y="663"/>
                  </a:cubicBezTo>
                  <a:cubicBezTo>
                    <a:pt x="13596" y="652"/>
                    <a:pt x="13498" y="628"/>
                    <a:pt x="13507" y="671"/>
                  </a:cubicBezTo>
                  <a:cubicBezTo>
                    <a:pt x="13512" y="696"/>
                    <a:pt x="13524" y="715"/>
                    <a:pt x="13538" y="731"/>
                  </a:cubicBezTo>
                  <a:cubicBezTo>
                    <a:pt x="13486" y="731"/>
                    <a:pt x="13435" y="732"/>
                    <a:pt x="13384" y="733"/>
                  </a:cubicBezTo>
                  <a:cubicBezTo>
                    <a:pt x="13288" y="677"/>
                    <a:pt x="13183" y="624"/>
                    <a:pt x="13071" y="575"/>
                  </a:cubicBezTo>
                  <a:cubicBezTo>
                    <a:pt x="13039" y="561"/>
                    <a:pt x="13005" y="548"/>
                    <a:pt x="12972" y="534"/>
                  </a:cubicBezTo>
                  <a:cubicBezTo>
                    <a:pt x="13052" y="530"/>
                    <a:pt x="13133" y="526"/>
                    <a:pt x="13214" y="526"/>
                  </a:cubicBezTo>
                  <a:cubicBezTo>
                    <a:pt x="13398" y="526"/>
                    <a:pt x="13582" y="540"/>
                    <a:pt x="13767" y="567"/>
                  </a:cubicBezTo>
                  <a:cubicBezTo>
                    <a:pt x="13737" y="570"/>
                    <a:pt x="13696" y="582"/>
                    <a:pt x="13712" y="596"/>
                  </a:cubicBezTo>
                  <a:close/>
                  <a:moveTo>
                    <a:pt x="14548" y="1049"/>
                  </a:moveTo>
                  <a:cubicBezTo>
                    <a:pt x="14590" y="1088"/>
                    <a:pt x="14699" y="1138"/>
                    <a:pt x="14683" y="1178"/>
                  </a:cubicBezTo>
                  <a:cubicBezTo>
                    <a:pt x="14601" y="1158"/>
                    <a:pt x="14518" y="1140"/>
                    <a:pt x="14436" y="1123"/>
                  </a:cubicBezTo>
                  <a:cubicBezTo>
                    <a:pt x="14448" y="1102"/>
                    <a:pt x="14488" y="1073"/>
                    <a:pt x="14478" y="1050"/>
                  </a:cubicBezTo>
                  <a:cubicBezTo>
                    <a:pt x="14462" y="1011"/>
                    <a:pt x="14410" y="1001"/>
                    <a:pt x="14371" y="983"/>
                  </a:cubicBezTo>
                  <a:cubicBezTo>
                    <a:pt x="14331" y="965"/>
                    <a:pt x="14285" y="961"/>
                    <a:pt x="14244" y="944"/>
                  </a:cubicBezTo>
                  <a:cubicBezTo>
                    <a:pt x="14178" y="916"/>
                    <a:pt x="14116" y="881"/>
                    <a:pt x="14053" y="847"/>
                  </a:cubicBezTo>
                  <a:cubicBezTo>
                    <a:pt x="14078" y="851"/>
                    <a:pt x="14104" y="856"/>
                    <a:pt x="14129" y="860"/>
                  </a:cubicBezTo>
                  <a:cubicBezTo>
                    <a:pt x="14168" y="888"/>
                    <a:pt x="14184" y="911"/>
                    <a:pt x="14269" y="929"/>
                  </a:cubicBezTo>
                  <a:cubicBezTo>
                    <a:pt x="14334" y="942"/>
                    <a:pt x="14375" y="946"/>
                    <a:pt x="14403" y="945"/>
                  </a:cubicBezTo>
                  <a:cubicBezTo>
                    <a:pt x="14438" y="992"/>
                    <a:pt x="14504" y="1009"/>
                    <a:pt x="14548" y="1049"/>
                  </a:cubicBezTo>
                  <a:close/>
                  <a:moveTo>
                    <a:pt x="14726" y="1048"/>
                  </a:moveTo>
                  <a:cubicBezTo>
                    <a:pt x="14757" y="1065"/>
                    <a:pt x="14654" y="1046"/>
                    <a:pt x="14620" y="1035"/>
                  </a:cubicBezTo>
                  <a:cubicBezTo>
                    <a:pt x="14578" y="1020"/>
                    <a:pt x="14543" y="990"/>
                    <a:pt x="14502" y="972"/>
                  </a:cubicBezTo>
                  <a:cubicBezTo>
                    <a:pt x="14488" y="965"/>
                    <a:pt x="14463" y="952"/>
                    <a:pt x="14440" y="941"/>
                  </a:cubicBezTo>
                  <a:cubicBezTo>
                    <a:pt x="14490" y="930"/>
                    <a:pt x="14478" y="912"/>
                    <a:pt x="14726" y="1048"/>
                  </a:cubicBezTo>
                  <a:close/>
                  <a:moveTo>
                    <a:pt x="14964" y="9184"/>
                  </a:moveTo>
                  <a:cubicBezTo>
                    <a:pt x="15018" y="9253"/>
                    <a:pt x="15050" y="9336"/>
                    <a:pt x="15097" y="9409"/>
                  </a:cubicBezTo>
                  <a:cubicBezTo>
                    <a:pt x="15135" y="9468"/>
                    <a:pt x="15144" y="9320"/>
                    <a:pt x="15157" y="9512"/>
                  </a:cubicBezTo>
                  <a:cubicBezTo>
                    <a:pt x="15160" y="9554"/>
                    <a:pt x="15127" y="9594"/>
                    <a:pt x="15131" y="9636"/>
                  </a:cubicBezTo>
                  <a:cubicBezTo>
                    <a:pt x="15132" y="9655"/>
                    <a:pt x="15165" y="9659"/>
                    <a:pt x="15172" y="9678"/>
                  </a:cubicBezTo>
                  <a:cubicBezTo>
                    <a:pt x="15190" y="9727"/>
                    <a:pt x="15183" y="9785"/>
                    <a:pt x="15206" y="9833"/>
                  </a:cubicBezTo>
                  <a:cubicBezTo>
                    <a:pt x="15230" y="9885"/>
                    <a:pt x="15274" y="9925"/>
                    <a:pt x="15311" y="9969"/>
                  </a:cubicBezTo>
                  <a:cubicBezTo>
                    <a:pt x="15389" y="10061"/>
                    <a:pt x="15432" y="9978"/>
                    <a:pt x="15575" y="10128"/>
                  </a:cubicBezTo>
                  <a:cubicBezTo>
                    <a:pt x="15705" y="10264"/>
                    <a:pt x="15692" y="10464"/>
                    <a:pt x="15846" y="10580"/>
                  </a:cubicBezTo>
                  <a:cubicBezTo>
                    <a:pt x="15884" y="10609"/>
                    <a:pt x="15947" y="10616"/>
                    <a:pt x="15964" y="10661"/>
                  </a:cubicBezTo>
                  <a:cubicBezTo>
                    <a:pt x="16030" y="10832"/>
                    <a:pt x="16028" y="11023"/>
                    <a:pt x="16084" y="11198"/>
                  </a:cubicBezTo>
                  <a:cubicBezTo>
                    <a:pt x="16094" y="11228"/>
                    <a:pt x="16143" y="11230"/>
                    <a:pt x="16156" y="11258"/>
                  </a:cubicBezTo>
                  <a:cubicBezTo>
                    <a:pt x="16201" y="11350"/>
                    <a:pt x="16231" y="11450"/>
                    <a:pt x="16254" y="11550"/>
                  </a:cubicBezTo>
                  <a:cubicBezTo>
                    <a:pt x="16263" y="11586"/>
                    <a:pt x="16218" y="11647"/>
                    <a:pt x="16253" y="11661"/>
                  </a:cubicBezTo>
                  <a:cubicBezTo>
                    <a:pt x="16368" y="11710"/>
                    <a:pt x="16502" y="11683"/>
                    <a:pt x="16625" y="11705"/>
                  </a:cubicBezTo>
                  <a:cubicBezTo>
                    <a:pt x="16633" y="11706"/>
                    <a:pt x="16627" y="11733"/>
                    <a:pt x="16633" y="11728"/>
                  </a:cubicBezTo>
                  <a:cubicBezTo>
                    <a:pt x="16720" y="11667"/>
                    <a:pt x="16793" y="11587"/>
                    <a:pt x="16879" y="11526"/>
                  </a:cubicBezTo>
                  <a:cubicBezTo>
                    <a:pt x="16897" y="11513"/>
                    <a:pt x="16923" y="11516"/>
                    <a:pt x="16943" y="11506"/>
                  </a:cubicBezTo>
                  <a:cubicBezTo>
                    <a:pt x="16990" y="11483"/>
                    <a:pt x="17037" y="11461"/>
                    <a:pt x="17077" y="11429"/>
                  </a:cubicBezTo>
                  <a:cubicBezTo>
                    <a:pt x="17118" y="11395"/>
                    <a:pt x="17137" y="11337"/>
                    <a:pt x="17183" y="11311"/>
                  </a:cubicBezTo>
                  <a:cubicBezTo>
                    <a:pt x="17210" y="11295"/>
                    <a:pt x="17248" y="11304"/>
                    <a:pt x="17280" y="11301"/>
                  </a:cubicBezTo>
                  <a:cubicBezTo>
                    <a:pt x="17314" y="11424"/>
                    <a:pt x="17348" y="11547"/>
                    <a:pt x="17380" y="11670"/>
                  </a:cubicBezTo>
                  <a:cubicBezTo>
                    <a:pt x="17395" y="11727"/>
                    <a:pt x="17410" y="11783"/>
                    <a:pt x="17425" y="11840"/>
                  </a:cubicBezTo>
                  <a:cubicBezTo>
                    <a:pt x="17286" y="11909"/>
                    <a:pt x="17148" y="11974"/>
                    <a:pt x="17011" y="12034"/>
                  </a:cubicBezTo>
                  <a:cubicBezTo>
                    <a:pt x="16806" y="12125"/>
                    <a:pt x="16599" y="12209"/>
                    <a:pt x="16390" y="12288"/>
                  </a:cubicBezTo>
                  <a:cubicBezTo>
                    <a:pt x="16353" y="12233"/>
                    <a:pt x="16317" y="12163"/>
                    <a:pt x="16266" y="12139"/>
                  </a:cubicBezTo>
                  <a:cubicBezTo>
                    <a:pt x="16218" y="12117"/>
                    <a:pt x="16102" y="12208"/>
                    <a:pt x="16108" y="12156"/>
                  </a:cubicBezTo>
                  <a:cubicBezTo>
                    <a:pt x="16117" y="12078"/>
                    <a:pt x="16313" y="12078"/>
                    <a:pt x="16285" y="12005"/>
                  </a:cubicBezTo>
                  <a:cubicBezTo>
                    <a:pt x="16213" y="11815"/>
                    <a:pt x="16200" y="11819"/>
                    <a:pt x="16026" y="11662"/>
                  </a:cubicBezTo>
                  <a:cubicBezTo>
                    <a:pt x="16022" y="11658"/>
                    <a:pt x="16020" y="11673"/>
                    <a:pt x="16016" y="11671"/>
                  </a:cubicBezTo>
                  <a:cubicBezTo>
                    <a:pt x="15973" y="11649"/>
                    <a:pt x="15931" y="11624"/>
                    <a:pt x="15892" y="11593"/>
                  </a:cubicBezTo>
                  <a:cubicBezTo>
                    <a:pt x="15799" y="11519"/>
                    <a:pt x="15724" y="11422"/>
                    <a:pt x="15623" y="11359"/>
                  </a:cubicBezTo>
                  <a:cubicBezTo>
                    <a:pt x="15601" y="11345"/>
                    <a:pt x="15570" y="11396"/>
                    <a:pt x="15548" y="11381"/>
                  </a:cubicBezTo>
                  <a:cubicBezTo>
                    <a:pt x="15509" y="11353"/>
                    <a:pt x="15524" y="11264"/>
                    <a:pt x="15477" y="11256"/>
                  </a:cubicBezTo>
                  <a:cubicBezTo>
                    <a:pt x="15440" y="11250"/>
                    <a:pt x="15486" y="11361"/>
                    <a:pt x="15449" y="11364"/>
                  </a:cubicBezTo>
                  <a:cubicBezTo>
                    <a:pt x="15410" y="11367"/>
                    <a:pt x="15405" y="11297"/>
                    <a:pt x="15386" y="11263"/>
                  </a:cubicBezTo>
                  <a:cubicBezTo>
                    <a:pt x="15299" y="11103"/>
                    <a:pt x="15337" y="11129"/>
                    <a:pt x="15267" y="10899"/>
                  </a:cubicBezTo>
                  <a:cubicBezTo>
                    <a:pt x="15249" y="10841"/>
                    <a:pt x="15181" y="10686"/>
                    <a:pt x="15142" y="10662"/>
                  </a:cubicBezTo>
                  <a:cubicBezTo>
                    <a:pt x="15115" y="10645"/>
                    <a:pt x="15080" y="10640"/>
                    <a:pt x="15054" y="10620"/>
                  </a:cubicBezTo>
                  <a:cubicBezTo>
                    <a:pt x="15013" y="10589"/>
                    <a:pt x="14986" y="10541"/>
                    <a:pt x="14944" y="10510"/>
                  </a:cubicBezTo>
                  <a:cubicBezTo>
                    <a:pt x="14922" y="10493"/>
                    <a:pt x="14877" y="10505"/>
                    <a:pt x="14868" y="10479"/>
                  </a:cubicBezTo>
                  <a:cubicBezTo>
                    <a:pt x="14803" y="10306"/>
                    <a:pt x="14762" y="10124"/>
                    <a:pt x="14731" y="9942"/>
                  </a:cubicBezTo>
                  <a:cubicBezTo>
                    <a:pt x="14729" y="9927"/>
                    <a:pt x="14779" y="9943"/>
                    <a:pt x="14774" y="9929"/>
                  </a:cubicBezTo>
                  <a:cubicBezTo>
                    <a:pt x="14755" y="9879"/>
                    <a:pt x="14701" y="9848"/>
                    <a:pt x="14679" y="9799"/>
                  </a:cubicBezTo>
                  <a:cubicBezTo>
                    <a:pt x="14664" y="9768"/>
                    <a:pt x="14687" y="9724"/>
                    <a:pt x="14667" y="9695"/>
                  </a:cubicBezTo>
                  <a:cubicBezTo>
                    <a:pt x="14626" y="9638"/>
                    <a:pt x="14560" y="9603"/>
                    <a:pt x="14505" y="9558"/>
                  </a:cubicBezTo>
                  <a:cubicBezTo>
                    <a:pt x="14457" y="9519"/>
                    <a:pt x="14381" y="9502"/>
                    <a:pt x="14357" y="9445"/>
                  </a:cubicBezTo>
                  <a:cubicBezTo>
                    <a:pt x="14332" y="9383"/>
                    <a:pt x="14397" y="9310"/>
                    <a:pt x="14378" y="9247"/>
                  </a:cubicBezTo>
                  <a:cubicBezTo>
                    <a:pt x="14376" y="9241"/>
                    <a:pt x="14337" y="9212"/>
                    <a:pt x="14297" y="9181"/>
                  </a:cubicBezTo>
                  <a:cubicBezTo>
                    <a:pt x="14455" y="9145"/>
                    <a:pt x="14612" y="9107"/>
                    <a:pt x="14768" y="9065"/>
                  </a:cubicBezTo>
                  <a:cubicBezTo>
                    <a:pt x="14827" y="9090"/>
                    <a:pt x="14880" y="9079"/>
                    <a:pt x="14964" y="9184"/>
                  </a:cubicBezTo>
                  <a:close/>
                  <a:moveTo>
                    <a:pt x="16538" y="7602"/>
                  </a:moveTo>
                  <a:cubicBezTo>
                    <a:pt x="16632" y="7542"/>
                    <a:pt x="16720" y="7468"/>
                    <a:pt x="16822" y="7422"/>
                  </a:cubicBezTo>
                  <a:cubicBezTo>
                    <a:pt x="16837" y="7415"/>
                    <a:pt x="16830" y="7455"/>
                    <a:pt x="16841" y="7466"/>
                  </a:cubicBezTo>
                  <a:cubicBezTo>
                    <a:pt x="16928" y="7561"/>
                    <a:pt x="17007" y="7612"/>
                    <a:pt x="17071" y="7724"/>
                  </a:cubicBezTo>
                  <a:cubicBezTo>
                    <a:pt x="17099" y="7773"/>
                    <a:pt x="17114" y="7834"/>
                    <a:pt x="17158" y="7870"/>
                  </a:cubicBezTo>
                  <a:cubicBezTo>
                    <a:pt x="17198" y="7904"/>
                    <a:pt x="17256" y="7904"/>
                    <a:pt x="17309" y="7916"/>
                  </a:cubicBezTo>
                  <a:cubicBezTo>
                    <a:pt x="17189" y="7989"/>
                    <a:pt x="17068" y="8059"/>
                    <a:pt x="16948" y="8124"/>
                  </a:cubicBezTo>
                  <a:cubicBezTo>
                    <a:pt x="16915" y="8096"/>
                    <a:pt x="16881" y="8069"/>
                    <a:pt x="16846" y="8045"/>
                  </a:cubicBezTo>
                  <a:cubicBezTo>
                    <a:pt x="16825" y="8031"/>
                    <a:pt x="16790" y="8051"/>
                    <a:pt x="16770" y="8036"/>
                  </a:cubicBezTo>
                  <a:cubicBezTo>
                    <a:pt x="16756" y="8025"/>
                    <a:pt x="16774" y="7999"/>
                    <a:pt x="16765" y="7984"/>
                  </a:cubicBezTo>
                  <a:cubicBezTo>
                    <a:pt x="16731" y="7928"/>
                    <a:pt x="16680" y="7883"/>
                    <a:pt x="16642" y="7828"/>
                  </a:cubicBezTo>
                  <a:cubicBezTo>
                    <a:pt x="16603" y="7772"/>
                    <a:pt x="16585" y="7699"/>
                    <a:pt x="16536" y="7651"/>
                  </a:cubicBezTo>
                  <a:cubicBezTo>
                    <a:pt x="16519" y="7634"/>
                    <a:pt x="16464" y="7675"/>
                    <a:pt x="16465" y="7651"/>
                  </a:cubicBezTo>
                  <a:cubicBezTo>
                    <a:pt x="16466" y="7622"/>
                    <a:pt x="16513" y="7618"/>
                    <a:pt x="16538" y="7602"/>
                  </a:cubicBezTo>
                  <a:close/>
                  <a:moveTo>
                    <a:pt x="17410" y="8002"/>
                  </a:moveTo>
                  <a:cubicBezTo>
                    <a:pt x="17457" y="8033"/>
                    <a:pt x="17517" y="8041"/>
                    <a:pt x="17566" y="8068"/>
                  </a:cubicBezTo>
                  <a:cubicBezTo>
                    <a:pt x="17660" y="8119"/>
                    <a:pt x="17614" y="8187"/>
                    <a:pt x="17782" y="8141"/>
                  </a:cubicBezTo>
                  <a:cubicBezTo>
                    <a:pt x="17818" y="8132"/>
                    <a:pt x="17827" y="8081"/>
                    <a:pt x="17857" y="8059"/>
                  </a:cubicBezTo>
                  <a:cubicBezTo>
                    <a:pt x="17866" y="8052"/>
                    <a:pt x="17884" y="8064"/>
                    <a:pt x="17893" y="8056"/>
                  </a:cubicBezTo>
                  <a:cubicBezTo>
                    <a:pt x="17915" y="8035"/>
                    <a:pt x="17980" y="7876"/>
                    <a:pt x="18064" y="7934"/>
                  </a:cubicBezTo>
                  <a:cubicBezTo>
                    <a:pt x="18096" y="7957"/>
                    <a:pt x="18114" y="7997"/>
                    <a:pt x="18134" y="8032"/>
                  </a:cubicBezTo>
                  <a:cubicBezTo>
                    <a:pt x="18199" y="8149"/>
                    <a:pt x="18174" y="8229"/>
                    <a:pt x="18302" y="8245"/>
                  </a:cubicBezTo>
                  <a:cubicBezTo>
                    <a:pt x="18319" y="8247"/>
                    <a:pt x="18337" y="8250"/>
                    <a:pt x="18355" y="8252"/>
                  </a:cubicBezTo>
                  <a:cubicBezTo>
                    <a:pt x="18459" y="8445"/>
                    <a:pt x="18560" y="8640"/>
                    <a:pt x="18656" y="8837"/>
                  </a:cubicBezTo>
                  <a:cubicBezTo>
                    <a:pt x="18570" y="8778"/>
                    <a:pt x="18483" y="8721"/>
                    <a:pt x="18392" y="8669"/>
                  </a:cubicBezTo>
                  <a:cubicBezTo>
                    <a:pt x="18371" y="8656"/>
                    <a:pt x="18336" y="8672"/>
                    <a:pt x="18319" y="8653"/>
                  </a:cubicBezTo>
                  <a:cubicBezTo>
                    <a:pt x="18238" y="8562"/>
                    <a:pt x="18146" y="8468"/>
                    <a:pt x="18112" y="8350"/>
                  </a:cubicBezTo>
                  <a:cubicBezTo>
                    <a:pt x="18089" y="8273"/>
                    <a:pt x="18107" y="8172"/>
                    <a:pt x="18049" y="8118"/>
                  </a:cubicBezTo>
                  <a:cubicBezTo>
                    <a:pt x="18011" y="8082"/>
                    <a:pt x="18044" y="8222"/>
                    <a:pt x="18027" y="8271"/>
                  </a:cubicBezTo>
                  <a:cubicBezTo>
                    <a:pt x="18019" y="8294"/>
                    <a:pt x="17988" y="8302"/>
                    <a:pt x="17979" y="8325"/>
                  </a:cubicBezTo>
                  <a:cubicBezTo>
                    <a:pt x="17967" y="8354"/>
                    <a:pt x="17978" y="8389"/>
                    <a:pt x="17970" y="8419"/>
                  </a:cubicBezTo>
                  <a:cubicBezTo>
                    <a:pt x="17964" y="8440"/>
                    <a:pt x="17882" y="8683"/>
                    <a:pt x="17845" y="8703"/>
                  </a:cubicBezTo>
                  <a:cubicBezTo>
                    <a:pt x="17799" y="8728"/>
                    <a:pt x="17739" y="8709"/>
                    <a:pt x="17689" y="8725"/>
                  </a:cubicBezTo>
                  <a:cubicBezTo>
                    <a:pt x="17631" y="8744"/>
                    <a:pt x="17586" y="8794"/>
                    <a:pt x="17527" y="8807"/>
                  </a:cubicBezTo>
                  <a:cubicBezTo>
                    <a:pt x="17457" y="8824"/>
                    <a:pt x="17466" y="8735"/>
                    <a:pt x="17420" y="8720"/>
                  </a:cubicBezTo>
                  <a:cubicBezTo>
                    <a:pt x="17403" y="8715"/>
                    <a:pt x="17384" y="8764"/>
                    <a:pt x="17375" y="8749"/>
                  </a:cubicBezTo>
                  <a:cubicBezTo>
                    <a:pt x="17362" y="8728"/>
                    <a:pt x="17399" y="8704"/>
                    <a:pt x="17396" y="8680"/>
                  </a:cubicBezTo>
                  <a:cubicBezTo>
                    <a:pt x="17387" y="8604"/>
                    <a:pt x="17353" y="8533"/>
                    <a:pt x="17337" y="8458"/>
                  </a:cubicBezTo>
                  <a:cubicBezTo>
                    <a:pt x="17331" y="8428"/>
                    <a:pt x="17361" y="8359"/>
                    <a:pt x="17332" y="8366"/>
                  </a:cubicBezTo>
                  <a:cubicBezTo>
                    <a:pt x="17278" y="8378"/>
                    <a:pt x="17230" y="8432"/>
                    <a:pt x="17219" y="8486"/>
                  </a:cubicBezTo>
                  <a:cubicBezTo>
                    <a:pt x="17208" y="8544"/>
                    <a:pt x="17331" y="8673"/>
                    <a:pt x="17274" y="8656"/>
                  </a:cubicBezTo>
                  <a:cubicBezTo>
                    <a:pt x="17190" y="8630"/>
                    <a:pt x="17159" y="8522"/>
                    <a:pt x="17106" y="8451"/>
                  </a:cubicBezTo>
                  <a:cubicBezTo>
                    <a:pt x="17100" y="8444"/>
                    <a:pt x="17131" y="8472"/>
                    <a:pt x="17129" y="8464"/>
                  </a:cubicBezTo>
                  <a:cubicBezTo>
                    <a:pt x="17121" y="8410"/>
                    <a:pt x="17099" y="8360"/>
                    <a:pt x="17083" y="8309"/>
                  </a:cubicBezTo>
                  <a:cubicBezTo>
                    <a:pt x="17074" y="8282"/>
                    <a:pt x="17073" y="8249"/>
                    <a:pt x="17054" y="8228"/>
                  </a:cubicBezTo>
                  <a:cubicBezTo>
                    <a:pt x="17043" y="8216"/>
                    <a:pt x="17032" y="8205"/>
                    <a:pt x="17021" y="8193"/>
                  </a:cubicBezTo>
                  <a:cubicBezTo>
                    <a:pt x="17145" y="8125"/>
                    <a:pt x="17270" y="8053"/>
                    <a:pt x="17394" y="7977"/>
                  </a:cubicBezTo>
                  <a:cubicBezTo>
                    <a:pt x="17398" y="7987"/>
                    <a:pt x="17402" y="7997"/>
                    <a:pt x="17410" y="8002"/>
                  </a:cubicBezTo>
                  <a:close/>
                  <a:moveTo>
                    <a:pt x="18494" y="8258"/>
                  </a:moveTo>
                  <a:cubicBezTo>
                    <a:pt x="18650" y="8241"/>
                    <a:pt x="18802" y="8200"/>
                    <a:pt x="18957" y="8174"/>
                  </a:cubicBezTo>
                  <a:cubicBezTo>
                    <a:pt x="19040" y="8160"/>
                    <a:pt x="19139" y="8165"/>
                    <a:pt x="19216" y="8124"/>
                  </a:cubicBezTo>
                  <a:cubicBezTo>
                    <a:pt x="19226" y="8118"/>
                    <a:pt x="19205" y="8096"/>
                    <a:pt x="19215" y="8088"/>
                  </a:cubicBezTo>
                  <a:cubicBezTo>
                    <a:pt x="19256" y="8054"/>
                    <a:pt x="19312" y="8042"/>
                    <a:pt x="19354" y="8009"/>
                  </a:cubicBezTo>
                  <a:cubicBezTo>
                    <a:pt x="19366" y="8000"/>
                    <a:pt x="19359" y="7959"/>
                    <a:pt x="19372" y="7967"/>
                  </a:cubicBezTo>
                  <a:cubicBezTo>
                    <a:pt x="19406" y="7988"/>
                    <a:pt x="19415" y="8036"/>
                    <a:pt x="19443" y="8064"/>
                  </a:cubicBezTo>
                  <a:cubicBezTo>
                    <a:pt x="19468" y="8089"/>
                    <a:pt x="19507" y="8096"/>
                    <a:pt x="19527" y="8125"/>
                  </a:cubicBezTo>
                  <a:cubicBezTo>
                    <a:pt x="19565" y="8179"/>
                    <a:pt x="19566" y="8256"/>
                    <a:pt x="19610" y="8305"/>
                  </a:cubicBezTo>
                  <a:cubicBezTo>
                    <a:pt x="19628" y="8325"/>
                    <a:pt x="19667" y="8292"/>
                    <a:pt x="19691" y="8304"/>
                  </a:cubicBezTo>
                  <a:cubicBezTo>
                    <a:pt x="19783" y="8347"/>
                    <a:pt x="19681" y="8470"/>
                    <a:pt x="19853" y="8467"/>
                  </a:cubicBezTo>
                  <a:cubicBezTo>
                    <a:pt x="19902" y="8467"/>
                    <a:pt x="19908" y="8350"/>
                    <a:pt x="19956" y="8361"/>
                  </a:cubicBezTo>
                  <a:cubicBezTo>
                    <a:pt x="19999" y="8370"/>
                    <a:pt x="19973" y="8450"/>
                    <a:pt x="19961" y="8492"/>
                  </a:cubicBezTo>
                  <a:cubicBezTo>
                    <a:pt x="19950" y="8531"/>
                    <a:pt x="19918" y="8561"/>
                    <a:pt x="19890" y="8590"/>
                  </a:cubicBezTo>
                  <a:cubicBezTo>
                    <a:pt x="19883" y="8597"/>
                    <a:pt x="19855" y="8585"/>
                    <a:pt x="19860" y="8593"/>
                  </a:cubicBezTo>
                  <a:cubicBezTo>
                    <a:pt x="19903" y="8658"/>
                    <a:pt x="19961" y="8711"/>
                    <a:pt x="20011" y="8769"/>
                  </a:cubicBezTo>
                  <a:cubicBezTo>
                    <a:pt x="20019" y="8778"/>
                    <a:pt x="20111" y="8892"/>
                    <a:pt x="20123" y="8865"/>
                  </a:cubicBezTo>
                  <a:cubicBezTo>
                    <a:pt x="20180" y="8740"/>
                    <a:pt x="20153" y="8586"/>
                    <a:pt x="20210" y="8463"/>
                  </a:cubicBezTo>
                  <a:cubicBezTo>
                    <a:pt x="20219" y="8481"/>
                    <a:pt x="20229" y="8500"/>
                    <a:pt x="20238" y="8519"/>
                  </a:cubicBezTo>
                  <a:cubicBezTo>
                    <a:pt x="20238" y="8565"/>
                    <a:pt x="20237" y="8618"/>
                    <a:pt x="20244" y="8646"/>
                  </a:cubicBezTo>
                  <a:cubicBezTo>
                    <a:pt x="20286" y="8828"/>
                    <a:pt x="20348" y="9011"/>
                    <a:pt x="20406" y="9191"/>
                  </a:cubicBezTo>
                  <a:cubicBezTo>
                    <a:pt x="20170" y="9663"/>
                    <a:pt x="19837" y="10087"/>
                    <a:pt x="19445" y="10463"/>
                  </a:cubicBezTo>
                  <a:cubicBezTo>
                    <a:pt x="19181" y="9704"/>
                    <a:pt x="18847" y="8966"/>
                    <a:pt x="18469" y="8259"/>
                  </a:cubicBezTo>
                  <a:cubicBezTo>
                    <a:pt x="18477" y="8259"/>
                    <a:pt x="18485" y="8259"/>
                    <a:pt x="18494" y="8258"/>
                  </a:cubicBezTo>
                  <a:close/>
                  <a:moveTo>
                    <a:pt x="17918" y="17406"/>
                  </a:moveTo>
                  <a:cubicBezTo>
                    <a:pt x="17968" y="17164"/>
                    <a:pt x="18029" y="16909"/>
                    <a:pt x="18029" y="16654"/>
                  </a:cubicBezTo>
                  <a:lnTo>
                    <a:pt x="18029" y="16648"/>
                  </a:lnTo>
                  <a:cubicBezTo>
                    <a:pt x="18029" y="16112"/>
                    <a:pt x="18016" y="15576"/>
                    <a:pt x="18009" y="15041"/>
                  </a:cubicBezTo>
                  <a:cubicBezTo>
                    <a:pt x="18739" y="14636"/>
                    <a:pt x="19429" y="14142"/>
                    <a:pt x="20007" y="13551"/>
                  </a:cubicBezTo>
                  <a:cubicBezTo>
                    <a:pt x="20022" y="13766"/>
                    <a:pt x="20029" y="13980"/>
                    <a:pt x="20029" y="14194"/>
                  </a:cubicBezTo>
                  <a:cubicBezTo>
                    <a:pt x="20029" y="14793"/>
                    <a:pt x="19963" y="15387"/>
                    <a:pt x="19812" y="15951"/>
                  </a:cubicBezTo>
                  <a:cubicBezTo>
                    <a:pt x="19272" y="16535"/>
                    <a:pt x="18617" y="17024"/>
                    <a:pt x="17910" y="17433"/>
                  </a:cubicBezTo>
                  <a:cubicBezTo>
                    <a:pt x="17911" y="17424"/>
                    <a:pt x="17916" y="17415"/>
                    <a:pt x="17918" y="17406"/>
                  </a:cubicBezTo>
                  <a:close/>
                  <a:moveTo>
                    <a:pt x="17452" y="11947"/>
                  </a:moveTo>
                  <a:cubicBezTo>
                    <a:pt x="17427" y="11954"/>
                    <a:pt x="17401" y="11962"/>
                    <a:pt x="17376" y="11970"/>
                  </a:cubicBezTo>
                  <a:cubicBezTo>
                    <a:pt x="17401" y="11959"/>
                    <a:pt x="17425" y="11947"/>
                    <a:pt x="17449" y="11935"/>
                  </a:cubicBezTo>
                  <a:cubicBezTo>
                    <a:pt x="17450" y="11939"/>
                    <a:pt x="17451" y="11943"/>
                    <a:pt x="17452" y="11947"/>
                  </a:cubicBezTo>
                  <a:close/>
                  <a:moveTo>
                    <a:pt x="17647" y="11834"/>
                  </a:moveTo>
                  <a:cubicBezTo>
                    <a:pt x="17634" y="11855"/>
                    <a:pt x="17620" y="11874"/>
                    <a:pt x="17600" y="11886"/>
                  </a:cubicBezTo>
                  <a:cubicBezTo>
                    <a:pt x="17582" y="11897"/>
                    <a:pt x="17563" y="11906"/>
                    <a:pt x="17544" y="11915"/>
                  </a:cubicBezTo>
                  <a:cubicBezTo>
                    <a:pt x="17542" y="11907"/>
                    <a:pt x="17540" y="11899"/>
                    <a:pt x="17538" y="11891"/>
                  </a:cubicBezTo>
                  <a:cubicBezTo>
                    <a:pt x="17574" y="11873"/>
                    <a:pt x="17611" y="11853"/>
                    <a:pt x="17647" y="11834"/>
                  </a:cubicBezTo>
                  <a:close/>
                  <a:moveTo>
                    <a:pt x="17811" y="11763"/>
                  </a:moveTo>
                  <a:cubicBezTo>
                    <a:pt x="17809" y="11758"/>
                    <a:pt x="17806" y="11755"/>
                    <a:pt x="17803" y="11752"/>
                  </a:cubicBezTo>
                  <a:cubicBezTo>
                    <a:pt x="18365" y="11447"/>
                    <a:pt x="18920" y="11077"/>
                    <a:pt x="19402" y="10637"/>
                  </a:cubicBezTo>
                  <a:cubicBezTo>
                    <a:pt x="19481" y="10875"/>
                    <a:pt x="19555" y="11116"/>
                    <a:pt x="19620" y="11358"/>
                  </a:cubicBezTo>
                  <a:cubicBezTo>
                    <a:pt x="19796" y="12013"/>
                    <a:pt x="19933" y="12715"/>
                    <a:pt x="19994" y="13423"/>
                  </a:cubicBezTo>
                  <a:cubicBezTo>
                    <a:pt x="19425" y="14020"/>
                    <a:pt x="18733" y="14521"/>
                    <a:pt x="18002" y="14931"/>
                  </a:cubicBezTo>
                  <a:cubicBezTo>
                    <a:pt x="18000" y="14785"/>
                    <a:pt x="17998" y="14638"/>
                    <a:pt x="17996" y="14492"/>
                  </a:cubicBezTo>
                  <a:cubicBezTo>
                    <a:pt x="17992" y="14198"/>
                    <a:pt x="17927" y="13912"/>
                    <a:pt x="17889" y="13630"/>
                  </a:cubicBezTo>
                  <a:cubicBezTo>
                    <a:pt x="17840" y="13262"/>
                    <a:pt x="17771" y="12895"/>
                    <a:pt x="17691" y="12532"/>
                  </a:cubicBezTo>
                  <a:cubicBezTo>
                    <a:pt x="17786" y="12201"/>
                    <a:pt x="17745" y="12234"/>
                    <a:pt x="17785" y="11889"/>
                  </a:cubicBezTo>
                  <a:cubicBezTo>
                    <a:pt x="17790" y="11846"/>
                    <a:pt x="17829" y="11802"/>
                    <a:pt x="17811" y="11763"/>
                  </a:cubicBezTo>
                  <a:close/>
                  <a:moveTo>
                    <a:pt x="17898" y="10622"/>
                  </a:moveTo>
                  <a:cubicBezTo>
                    <a:pt x="17913" y="10586"/>
                    <a:pt x="18161" y="10388"/>
                    <a:pt x="18174" y="10376"/>
                  </a:cubicBezTo>
                  <a:cubicBezTo>
                    <a:pt x="18231" y="10322"/>
                    <a:pt x="18290" y="10269"/>
                    <a:pt x="18337" y="10207"/>
                  </a:cubicBezTo>
                  <a:cubicBezTo>
                    <a:pt x="18352" y="10187"/>
                    <a:pt x="18338" y="10149"/>
                    <a:pt x="18358" y="10133"/>
                  </a:cubicBezTo>
                  <a:cubicBezTo>
                    <a:pt x="18396" y="10101"/>
                    <a:pt x="18467" y="10115"/>
                    <a:pt x="18496" y="10074"/>
                  </a:cubicBezTo>
                  <a:cubicBezTo>
                    <a:pt x="18537" y="10017"/>
                    <a:pt x="18480" y="9912"/>
                    <a:pt x="18534" y="9866"/>
                  </a:cubicBezTo>
                  <a:cubicBezTo>
                    <a:pt x="18575" y="9830"/>
                    <a:pt x="18654" y="9829"/>
                    <a:pt x="18671" y="9778"/>
                  </a:cubicBezTo>
                  <a:cubicBezTo>
                    <a:pt x="18768" y="9488"/>
                    <a:pt x="18511" y="9724"/>
                    <a:pt x="18618" y="9487"/>
                  </a:cubicBezTo>
                  <a:cubicBezTo>
                    <a:pt x="18633" y="9452"/>
                    <a:pt x="18688" y="9449"/>
                    <a:pt x="18707" y="9416"/>
                  </a:cubicBezTo>
                  <a:cubicBezTo>
                    <a:pt x="18722" y="9387"/>
                    <a:pt x="18704" y="9349"/>
                    <a:pt x="18710" y="9317"/>
                  </a:cubicBezTo>
                  <a:cubicBezTo>
                    <a:pt x="18725" y="9236"/>
                    <a:pt x="18753" y="9157"/>
                    <a:pt x="18772" y="9077"/>
                  </a:cubicBezTo>
                  <a:cubicBezTo>
                    <a:pt x="18996" y="9553"/>
                    <a:pt x="19197" y="10039"/>
                    <a:pt x="19368" y="10536"/>
                  </a:cubicBezTo>
                  <a:cubicBezTo>
                    <a:pt x="18818" y="11046"/>
                    <a:pt x="18164" y="11465"/>
                    <a:pt x="17513" y="11796"/>
                  </a:cubicBezTo>
                  <a:cubicBezTo>
                    <a:pt x="17500" y="11746"/>
                    <a:pt x="17487" y="11695"/>
                    <a:pt x="17474" y="11645"/>
                  </a:cubicBezTo>
                  <a:cubicBezTo>
                    <a:pt x="17437" y="11507"/>
                    <a:pt x="17399" y="11368"/>
                    <a:pt x="17360" y="11230"/>
                  </a:cubicBezTo>
                  <a:cubicBezTo>
                    <a:pt x="17379" y="11192"/>
                    <a:pt x="17394" y="11150"/>
                    <a:pt x="17424" y="11121"/>
                  </a:cubicBezTo>
                  <a:cubicBezTo>
                    <a:pt x="17526" y="11021"/>
                    <a:pt x="17843" y="10914"/>
                    <a:pt x="17904" y="10779"/>
                  </a:cubicBezTo>
                  <a:cubicBezTo>
                    <a:pt x="17926" y="10731"/>
                    <a:pt x="17878" y="10670"/>
                    <a:pt x="17898" y="10622"/>
                  </a:cubicBezTo>
                  <a:close/>
                  <a:moveTo>
                    <a:pt x="17187" y="12060"/>
                  </a:moveTo>
                  <a:cubicBezTo>
                    <a:pt x="17222" y="12044"/>
                    <a:pt x="17256" y="12028"/>
                    <a:pt x="17291" y="12011"/>
                  </a:cubicBezTo>
                  <a:cubicBezTo>
                    <a:pt x="17275" y="12027"/>
                    <a:pt x="17263" y="12047"/>
                    <a:pt x="17242" y="12054"/>
                  </a:cubicBezTo>
                  <a:cubicBezTo>
                    <a:pt x="17225" y="12060"/>
                    <a:pt x="17206" y="12060"/>
                    <a:pt x="17187" y="12060"/>
                  </a:cubicBezTo>
                  <a:close/>
                  <a:moveTo>
                    <a:pt x="16844" y="12211"/>
                  </a:moveTo>
                  <a:cubicBezTo>
                    <a:pt x="16906" y="12185"/>
                    <a:pt x="16968" y="12159"/>
                    <a:pt x="17029" y="12131"/>
                  </a:cubicBezTo>
                  <a:cubicBezTo>
                    <a:pt x="16997" y="12168"/>
                    <a:pt x="16966" y="12207"/>
                    <a:pt x="16922" y="12225"/>
                  </a:cubicBezTo>
                  <a:cubicBezTo>
                    <a:pt x="16898" y="12235"/>
                    <a:pt x="16871" y="12222"/>
                    <a:pt x="16844" y="12211"/>
                  </a:cubicBezTo>
                  <a:close/>
                  <a:moveTo>
                    <a:pt x="16473" y="12360"/>
                  </a:moveTo>
                  <a:cubicBezTo>
                    <a:pt x="16514" y="12344"/>
                    <a:pt x="16555" y="12328"/>
                    <a:pt x="16596" y="12312"/>
                  </a:cubicBezTo>
                  <a:cubicBezTo>
                    <a:pt x="16562" y="12333"/>
                    <a:pt x="16528" y="12351"/>
                    <a:pt x="16490" y="12359"/>
                  </a:cubicBezTo>
                  <a:cubicBezTo>
                    <a:pt x="16484" y="12360"/>
                    <a:pt x="16478" y="12360"/>
                    <a:pt x="16473" y="12360"/>
                  </a:cubicBezTo>
                  <a:close/>
                  <a:moveTo>
                    <a:pt x="16609" y="14385"/>
                  </a:moveTo>
                  <a:cubicBezTo>
                    <a:pt x="16741" y="14270"/>
                    <a:pt x="16717" y="14322"/>
                    <a:pt x="16863" y="14172"/>
                  </a:cubicBezTo>
                  <a:cubicBezTo>
                    <a:pt x="17070" y="13959"/>
                    <a:pt x="17366" y="13464"/>
                    <a:pt x="17462" y="13190"/>
                  </a:cubicBezTo>
                  <a:cubicBezTo>
                    <a:pt x="17512" y="13045"/>
                    <a:pt x="17541" y="12883"/>
                    <a:pt x="17599" y="12741"/>
                  </a:cubicBezTo>
                  <a:cubicBezTo>
                    <a:pt x="17605" y="12726"/>
                    <a:pt x="17617" y="12715"/>
                    <a:pt x="17628" y="12702"/>
                  </a:cubicBezTo>
                  <a:cubicBezTo>
                    <a:pt x="17694" y="13015"/>
                    <a:pt x="17751" y="13328"/>
                    <a:pt x="17793" y="13642"/>
                  </a:cubicBezTo>
                  <a:cubicBezTo>
                    <a:pt x="17832" y="13931"/>
                    <a:pt x="17896" y="14213"/>
                    <a:pt x="17900" y="14494"/>
                  </a:cubicBezTo>
                  <a:cubicBezTo>
                    <a:pt x="17902" y="14657"/>
                    <a:pt x="17904" y="14820"/>
                    <a:pt x="17906" y="14984"/>
                  </a:cubicBezTo>
                  <a:cubicBezTo>
                    <a:pt x="17367" y="15279"/>
                    <a:pt x="16809" y="15525"/>
                    <a:pt x="16264" y="15724"/>
                  </a:cubicBezTo>
                  <a:cubicBezTo>
                    <a:pt x="15955" y="15837"/>
                    <a:pt x="15644" y="15936"/>
                    <a:pt x="15331" y="16025"/>
                  </a:cubicBezTo>
                  <a:cubicBezTo>
                    <a:pt x="15331" y="16014"/>
                    <a:pt x="15331" y="16004"/>
                    <a:pt x="15337" y="15996"/>
                  </a:cubicBezTo>
                  <a:cubicBezTo>
                    <a:pt x="15387" y="15928"/>
                    <a:pt x="15447" y="15866"/>
                    <a:pt x="15490" y="15793"/>
                  </a:cubicBezTo>
                  <a:cubicBezTo>
                    <a:pt x="15509" y="15762"/>
                    <a:pt x="15502" y="15719"/>
                    <a:pt x="15520" y="15687"/>
                  </a:cubicBezTo>
                  <a:cubicBezTo>
                    <a:pt x="15528" y="15673"/>
                    <a:pt x="15555" y="15680"/>
                    <a:pt x="15561" y="15665"/>
                  </a:cubicBezTo>
                  <a:cubicBezTo>
                    <a:pt x="15578" y="15626"/>
                    <a:pt x="15563" y="15575"/>
                    <a:pt x="15585" y="15538"/>
                  </a:cubicBezTo>
                  <a:cubicBezTo>
                    <a:pt x="15844" y="15100"/>
                    <a:pt x="15632" y="15466"/>
                    <a:pt x="15840" y="15340"/>
                  </a:cubicBezTo>
                  <a:cubicBezTo>
                    <a:pt x="15925" y="15288"/>
                    <a:pt x="15934" y="15164"/>
                    <a:pt x="15990" y="15082"/>
                  </a:cubicBezTo>
                  <a:cubicBezTo>
                    <a:pt x="16001" y="15066"/>
                    <a:pt x="16028" y="15066"/>
                    <a:pt x="16041" y="15051"/>
                  </a:cubicBezTo>
                  <a:cubicBezTo>
                    <a:pt x="16236" y="14835"/>
                    <a:pt x="16387" y="14579"/>
                    <a:pt x="16609" y="14385"/>
                  </a:cubicBezTo>
                  <a:close/>
                  <a:moveTo>
                    <a:pt x="16853" y="17972"/>
                  </a:moveTo>
                  <a:cubicBezTo>
                    <a:pt x="16904" y="17876"/>
                    <a:pt x="16949" y="17778"/>
                    <a:pt x="16994" y="17670"/>
                  </a:cubicBezTo>
                  <a:cubicBezTo>
                    <a:pt x="17004" y="17646"/>
                    <a:pt x="16989" y="17610"/>
                    <a:pt x="17008" y="17592"/>
                  </a:cubicBezTo>
                  <a:cubicBezTo>
                    <a:pt x="17052" y="17551"/>
                    <a:pt x="17128" y="17552"/>
                    <a:pt x="17168" y="17506"/>
                  </a:cubicBezTo>
                  <a:cubicBezTo>
                    <a:pt x="17187" y="17484"/>
                    <a:pt x="17154" y="17451"/>
                    <a:pt x="17155" y="17422"/>
                  </a:cubicBezTo>
                  <a:cubicBezTo>
                    <a:pt x="17157" y="17337"/>
                    <a:pt x="17166" y="17253"/>
                    <a:pt x="17176" y="17168"/>
                  </a:cubicBezTo>
                  <a:cubicBezTo>
                    <a:pt x="17177" y="17157"/>
                    <a:pt x="17192" y="17147"/>
                    <a:pt x="17187" y="17137"/>
                  </a:cubicBezTo>
                  <a:cubicBezTo>
                    <a:pt x="17163" y="17097"/>
                    <a:pt x="17115" y="17074"/>
                    <a:pt x="17097" y="17032"/>
                  </a:cubicBezTo>
                  <a:cubicBezTo>
                    <a:pt x="17094" y="17026"/>
                    <a:pt x="17097" y="17017"/>
                    <a:pt x="17100" y="17008"/>
                  </a:cubicBezTo>
                  <a:cubicBezTo>
                    <a:pt x="17056" y="17091"/>
                    <a:pt x="17026" y="17183"/>
                    <a:pt x="16969" y="17258"/>
                  </a:cubicBezTo>
                  <a:cubicBezTo>
                    <a:pt x="16915" y="17328"/>
                    <a:pt x="16856" y="17396"/>
                    <a:pt x="16790" y="17456"/>
                  </a:cubicBezTo>
                  <a:cubicBezTo>
                    <a:pt x="16783" y="17462"/>
                    <a:pt x="16780" y="17421"/>
                    <a:pt x="16777" y="17430"/>
                  </a:cubicBezTo>
                  <a:cubicBezTo>
                    <a:pt x="16765" y="17466"/>
                    <a:pt x="16786" y="17516"/>
                    <a:pt x="16760" y="17544"/>
                  </a:cubicBezTo>
                  <a:cubicBezTo>
                    <a:pt x="16739" y="17568"/>
                    <a:pt x="16693" y="17538"/>
                    <a:pt x="16666" y="17555"/>
                  </a:cubicBezTo>
                  <a:cubicBezTo>
                    <a:pt x="16626" y="17581"/>
                    <a:pt x="16594" y="17621"/>
                    <a:pt x="16572" y="17663"/>
                  </a:cubicBezTo>
                  <a:cubicBezTo>
                    <a:pt x="16571" y="17665"/>
                    <a:pt x="16661" y="17820"/>
                    <a:pt x="16536" y="17731"/>
                  </a:cubicBezTo>
                  <a:cubicBezTo>
                    <a:pt x="16520" y="17719"/>
                    <a:pt x="16569" y="17664"/>
                    <a:pt x="16550" y="17672"/>
                  </a:cubicBezTo>
                  <a:cubicBezTo>
                    <a:pt x="16486" y="17696"/>
                    <a:pt x="16449" y="17767"/>
                    <a:pt x="16386" y="17795"/>
                  </a:cubicBezTo>
                  <a:cubicBezTo>
                    <a:pt x="16288" y="17838"/>
                    <a:pt x="16121" y="17890"/>
                    <a:pt x="16044" y="17957"/>
                  </a:cubicBezTo>
                  <a:cubicBezTo>
                    <a:pt x="16022" y="17977"/>
                    <a:pt x="16027" y="18015"/>
                    <a:pt x="16017" y="18044"/>
                  </a:cubicBezTo>
                  <a:cubicBezTo>
                    <a:pt x="15983" y="18150"/>
                    <a:pt x="15947" y="18255"/>
                    <a:pt x="15912" y="18361"/>
                  </a:cubicBezTo>
                  <a:cubicBezTo>
                    <a:pt x="15645" y="18460"/>
                    <a:pt x="15372" y="18553"/>
                    <a:pt x="15094" y="18638"/>
                  </a:cubicBezTo>
                  <a:cubicBezTo>
                    <a:pt x="15111" y="18486"/>
                    <a:pt x="15132" y="18333"/>
                    <a:pt x="15147" y="18178"/>
                  </a:cubicBezTo>
                  <a:cubicBezTo>
                    <a:pt x="15206" y="18124"/>
                    <a:pt x="15261" y="18066"/>
                    <a:pt x="15317" y="18007"/>
                  </a:cubicBezTo>
                  <a:cubicBezTo>
                    <a:pt x="15320" y="18004"/>
                    <a:pt x="15317" y="17964"/>
                    <a:pt x="15321" y="17949"/>
                  </a:cubicBezTo>
                  <a:cubicBezTo>
                    <a:pt x="15358" y="17809"/>
                    <a:pt x="15406" y="17671"/>
                    <a:pt x="15430" y="17528"/>
                  </a:cubicBezTo>
                  <a:cubicBezTo>
                    <a:pt x="15434" y="17499"/>
                    <a:pt x="15404" y="17473"/>
                    <a:pt x="15405" y="17445"/>
                  </a:cubicBezTo>
                  <a:cubicBezTo>
                    <a:pt x="15408" y="17391"/>
                    <a:pt x="15437" y="17341"/>
                    <a:pt x="15440" y="17287"/>
                  </a:cubicBezTo>
                  <a:cubicBezTo>
                    <a:pt x="15440" y="17277"/>
                    <a:pt x="15412" y="17282"/>
                    <a:pt x="15415" y="17273"/>
                  </a:cubicBezTo>
                  <a:cubicBezTo>
                    <a:pt x="15434" y="17226"/>
                    <a:pt x="15484" y="17192"/>
                    <a:pt x="15497" y="17143"/>
                  </a:cubicBezTo>
                  <a:cubicBezTo>
                    <a:pt x="15531" y="17016"/>
                    <a:pt x="15410" y="17222"/>
                    <a:pt x="15314" y="17060"/>
                  </a:cubicBezTo>
                  <a:cubicBezTo>
                    <a:pt x="15286" y="17013"/>
                    <a:pt x="15329" y="16951"/>
                    <a:pt x="15330" y="16897"/>
                  </a:cubicBezTo>
                  <a:cubicBezTo>
                    <a:pt x="15332" y="16809"/>
                    <a:pt x="15340" y="16719"/>
                    <a:pt x="15323" y="16632"/>
                  </a:cubicBezTo>
                  <a:cubicBezTo>
                    <a:pt x="15320" y="16618"/>
                    <a:pt x="15277" y="16654"/>
                    <a:pt x="15280" y="16639"/>
                  </a:cubicBezTo>
                  <a:cubicBezTo>
                    <a:pt x="15295" y="16577"/>
                    <a:pt x="15375" y="16528"/>
                    <a:pt x="15364" y="16464"/>
                  </a:cubicBezTo>
                  <a:cubicBezTo>
                    <a:pt x="15347" y="16372"/>
                    <a:pt x="15186" y="16410"/>
                    <a:pt x="15219" y="16298"/>
                  </a:cubicBezTo>
                  <a:cubicBezTo>
                    <a:pt x="15235" y="16243"/>
                    <a:pt x="15258" y="16191"/>
                    <a:pt x="15282" y="16138"/>
                  </a:cubicBezTo>
                  <a:cubicBezTo>
                    <a:pt x="15623" y="16044"/>
                    <a:pt x="15962" y="15938"/>
                    <a:pt x="16297" y="15815"/>
                  </a:cubicBezTo>
                  <a:cubicBezTo>
                    <a:pt x="16830" y="15620"/>
                    <a:pt x="17377" y="15379"/>
                    <a:pt x="17907" y="15093"/>
                  </a:cubicBezTo>
                  <a:cubicBezTo>
                    <a:pt x="17913" y="15611"/>
                    <a:pt x="17918" y="16129"/>
                    <a:pt x="17921" y="16647"/>
                  </a:cubicBezTo>
                  <a:cubicBezTo>
                    <a:pt x="17920" y="16650"/>
                    <a:pt x="17921" y="16652"/>
                    <a:pt x="17921" y="16654"/>
                  </a:cubicBezTo>
                  <a:cubicBezTo>
                    <a:pt x="17921" y="16895"/>
                    <a:pt x="17867" y="17144"/>
                    <a:pt x="17817" y="17387"/>
                  </a:cubicBezTo>
                  <a:cubicBezTo>
                    <a:pt x="17809" y="17423"/>
                    <a:pt x="17802" y="17460"/>
                    <a:pt x="17794" y="17497"/>
                  </a:cubicBezTo>
                  <a:cubicBezTo>
                    <a:pt x="17487" y="17669"/>
                    <a:pt x="17172" y="17827"/>
                    <a:pt x="16853" y="17972"/>
                  </a:cubicBezTo>
                  <a:close/>
                  <a:moveTo>
                    <a:pt x="14788" y="20059"/>
                  </a:moveTo>
                  <a:cubicBezTo>
                    <a:pt x="14957" y="19604"/>
                    <a:pt x="15043" y="19104"/>
                    <a:pt x="15082" y="18742"/>
                  </a:cubicBezTo>
                  <a:cubicBezTo>
                    <a:pt x="15351" y="18661"/>
                    <a:pt x="15616" y="18572"/>
                    <a:pt x="15875" y="18477"/>
                  </a:cubicBezTo>
                  <a:cubicBezTo>
                    <a:pt x="15870" y="18496"/>
                    <a:pt x="15864" y="18514"/>
                    <a:pt x="15858" y="18533"/>
                  </a:cubicBezTo>
                  <a:cubicBezTo>
                    <a:pt x="15856" y="18541"/>
                    <a:pt x="15875" y="18549"/>
                    <a:pt x="15870" y="18556"/>
                  </a:cubicBezTo>
                  <a:cubicBezTo>
                    <a:pt x="15812" y="18636"/>
                    <a:pt x="15609" y="18831"/>
                    <a:pt x="15551" y="18893"/>
                  </a:cubicBezTo>
                  <a:cubicBezTo>
                    <a:pt x="15551" y="18893"/>
                    <a:pt x="15511" y="18979"/>
                    <a:pt x="15510" y="19025"/>
                  </a:cubicBezTo>
                  <a:cubicBezTo>
                    <a:pt x="15509" y="19056"/>
                    <a:pt x="15550" y="19079"/>
                    <a:pt x="15546" y="19110"/>
                  </a:cubicBezTo>
                  <a:cubicBezTo>
                    <a:pt x="15541" y="19151"/>
                    <a:pt x="15493" y="19177"/>
                    <a:pt x="15485" y="19218"/>
                  </a:cubicBezTo>
                  <a:cubicBezTo>
                    <a:pt x="15468" y="19313"/>
                    <a:pt x="15640" y="19318"/>
                    <a:pt x="15668" y="19314"/>
                  </a:cubicBezTo>
                  <a:cubicBezTo>
                    <a:pt x="15692" y="19311"/>
                    <a:pt x="15813" y="19242"/>
                    <a:pt x="15862" y="19219"/>
                  </a:cubicBezTo>
                  <a:cubicBezTo>
                    <a:pt x="15919" y="19193"/>
                    <a:pt x="15985" y="19184"/>
                    <a:pt x="16033" y="19143"/>
                  </a:cubicBezTo>
                  <a:cubicBezTo>
                    <a:pt x="16146" y="19048"/>
                    <a:pt x="16240" y="18886"/>
                    <a:pt x="16324" y="18759"/>
                  </a:cubicBezTo>
                  <a:cubicBezTo>
                    <a:pt x="16452" y="18568"/>
                    <a:pt x="16589" y="18385"/>
                    <a:pt x="16718" y="18197"/>
                  </a:cubicBezTo>
                  <a:cubicBezTo>
                    <a:pt x="16737" y="18170"/>
                    <a:pt x="16753" y="18142"/>
                    <a:pt x="16770" y="18115"/>
                  </a:cubicBezTo>
                  <a:cubicBezTo>
                    <a:pt x="17106" y="17966"/>
                    <a:pt x="17440" y="17803"/>
                    <a:pt x="17765" y="17624"/>
                  </a:cubicBezTo>
                  <a:cubicBezTo>
                    <a:pt x="17631" y="18202"/>
                    <a:pt x="17450" y="18729"/>
                    <a:pt x="17135" y="19180"/>
                  </a:cubicBezTo>
                  <a:cubicBezTo>
                    <a:pt x="16378" y="19631"/>
                    <a:pt x="15551" y="19976"/>
                    <a:pt x="14715" y="20238"/>
                  </a:cubicBezTo>
                  <a:cubicBezTo>
                    <a:pt x="14741" y="20179"/>
                    <a:pt x="14765" y="20120"/>
                    <a:pt x="14788" y="20059"/>
                  </a:cubicBezTo>
                  <a:close/>
                  <a:moveTo>
                    <a:pt x="11684" y="20768"/>
                  </a:moveTo>
                  <a:cubicBezTo>
                    <a:pt x="11732" y="20763"/>
                    <a:pt x="11780" y="20759"/>
                    <a:pt x="11828" y="20755"/>
                  </a:cubicBezTo>
                  <a:cubicBezTo>
                    <a:pt x="11877" y="20750"/>
                    <a:pt x="11928" y="20755"/>
                    <a:pt x="11976" y="20744"/>
                  </a:cubicBezTo>
                  <a:cubicBezTo>
                    <a:pt x="12324" y="20669"/>
                    <a:pt x="12656" y="20485"/>
                    <a:pt x="12932" y="20270"/>
                  </a:cubicBezTo>
                  <a:cubicBezTo>
                    <a:pt x="13012" y="20208"/>
                    <a:pt x="13139" y="20195"/>
                    <a:pt x="13205" y="20121"/>
                  </a:cubicBezTo>
                  <a:cubicBezTo>
                    <a:pt x="13262" y="20056"/>
                    <a:pt x="13319" y="19990"/>
                    <a:pt x="13358" y="19913"/>
                  </a:cubicBezTo>
                  <a:cubicBezTo>
                    <a:pt x="13382" y="19867"/>
                    <a:pt x="13353" y="19799"/>
                    <a:pt x="13388" y="19762"/>
                  </a:cubicBezTo>
                  <a:cubicBezTo>
                    <a:pt x="13491" y="19652"/>
                    <a:pt x="13814" y="19646"/>
                    <a:pt x="13968" y="19494"/>
                  </a:cubicBezTo>
                  <a:cubicBezTo>
                    <a:pt x="14018" y="19445"/>
                    <a:pt x="14016" y="19142"/>
                    <a:pt x="14008" y="19063"/>
                  </a:cubicBezTo>
                  <a:cubicBezTo>
                    <a:pt x="14007" y="19049"/>
                    <a:pt x="14004" y="19035"/>
                    <a:pt x="14002" y="19020"/>
                  </a:cubicBezTo>
                  <a:cubicBezTo>
                    <a:pt x="14330" y="18951"/>
                    <a:pt x="14659" y="18867"/>
                    <a:pt x="14982" y="18772"/>
                  </a:cubicBezTo>
                  <a:cubicBezTo>
                    <a:pt x="14941" y="19125"/>
                    <a:pt x="14856" y="19599"/>
                    <a:pt x="14697" y="20025"/>
                  </a:cubicBezTo>
                  <a:cubicBezTo>
                    <a:pt x="14665" y="20111"/>
                    <a:pt x="14630" y="20195"/>
                    <a:pt x="14592" y="20276"/>
                  </a:cubicBezTo>
                  <a:cubicBezTo>
                    <a:pt x="13951" y="20470"/>
                    <a:pt x="13248" y="20648"/>
                    <a:pt x="12584" y="20708"/>
                  </a:cubicBezTo>
                  <a:cubicBezTo>
                    <a:pt x="12322" y="20731"/>
                    <a:pt x="12004" y="20769"/>
                    <a:pt x="11680" y="20796"/>
                  </a:cubicBezTo>
                  <a:cubicBezTo>
                    <a:pt x="11681" y="20787"/>
                    <a:pt x="11682" y="20777"/>
                    <a:pt x="11684" y="20768"/>
                  </a:cubicBezTo>
                  <a:close/>
                  <a:moveTo>
                    <a:pt x="11582" y="7343"/>
                  </a:moveTo>
                  <a:cubicBezTo>
                    <a:pt x="11553" y="7338"/>
                    <a:pt x="11516" y="7366"/>
                    <a:pt x="11493" y="7348"/>
                  </a:cubicBezTo>
                  <a:cubicBezTo>
                    <a:pt x="11461" y="7322"/>
                    <a:pt x="11480" y="7257"/>
                    <a:pt x="11446" y="7233"/>
                  </a:cubicBezTo>
                  <a:cubicBezTo>
                    <a:pt x="11440" y="7229"/>
                    <a:pt x="11433" y="7225"/>
                    <a:pt x="11427" y="7222"/>
                  </a:cubicBezTo>
                  <a:cubicBezTo>
                    <a:pt x="11405" y="6889"/>
                    <a:pt x="11383" y="6556"/>
                    <a:pt x="11360" y="6223"/>
                  </a:cubicBezTo>
                  <a:cubicBezTo>
                    <a:pt x="11398" y="6231"/>
                    <a:pt x="11411" y="6300"/>
                    <a:pt x="11452" y="6303"/>
                  </a:cubicBezTo>
                  <a:cubicBezTo>
                    <a:pt x="11478" y="6306"/>
                    <a:pt x="11442" y="6252"/>
                    <a:pt x="11432" y="6228"/>
                  </a:cubicBezTo>
                  <a:cubicBezTo>
                    <a:pt x="11414" y="6185"/>
                    <a:pt x="11370" y="6146"/>
                    <a:pt x="11352" y="6104"/>
                  </a:cubicBezTo>
                  <a:cubicBezTo>
                    <a:pt x="11350" y="6083"/>
                    <a:pt x="11349" y="6063"/>
                    <a:pt x="11348" y="6043"/>
                  </a:cubicBezTo>
                  <a:cubicBezTo>
                    <a:pt x="11368" y="5984"/>
                    <a:pt x="11445" y="5945"/>
                    <a:pt x="11508" y="5940"/>
                  </a:cubicBezTo>
                  <a:cubicBezTo>
                    <a:pt x="11551" y="5937"/>
                    <a:pt x="11563" y="6043"/>
                    <a:pt x="11604" y="6028"/>
                  </a:cubicBezTo>
                  <a:cubicBezTo>
                    <a:pt x="11640" y="6015"/>
                    <a:pt x="11628" y="5948"/>
                    <a:pt x="11607" y="5912"/>
                  </a:cubicBezTo>
                  <a:cubicBezTo>
                    <a:pt x="11747" y="5910"/>
                    <a:pt x="11887" y="5909"/>
                    <a:pt x="12028" y="5907"/>
                  </a:cubicBezTo>
                  <a:cubicBezTo>
                    <a:pt x="12050" y="5923"/>
                    <a:pt x="12118" y="5923"/>
                    <a:pt x="12150" y="5934"/>
                  </a:cubicBezTo>
                  <a:cubicBezTo>
                    <a:pt x="12176" y="5942"/>
                    <a:pt x="12220" y="5925"/>
                    <a:pt x="12230" y="5950"/>
                  </a:cubicBezTo>
                  <a:cubicBezTo>
                    <a:pt x="12240" y="5975"/>
                    <a:pt x="12166" y="5998"/>
                    <a:pt x="12185" y="6018"/>
                  </a:cubicBezTo>
                  <a:cubicBezTo>
                    <a:pt x="12244" y="6083"/>
                    <a:pt x="12334" y="6113"/>
                    <a:pt x="12414" y="6150"/>
                  </a:cubicBezTo>
                  <a:cubicBezTo>
                    <a:pt x="12428" y="6157"/>
                    <a:pt x="12472" y="6142"/>
                    <a:pt x="12460" y="6149"/>
                  </a:cubicBezTo>
                  <a:cubicBezTo>
                    <a:pt x="12402" y="6184"/>
                    <a:pt x="12305" y="6172"/>
                    <a:pt x="12278" y="6233"/>
                  </a:cubicBezTo>
                  <a:cubicBezTo>
                    <a:pt x="12260" y="6274"/>
                    <a:pt x="12368" y="6266"/>
                    <a:pt x="12412" y="6256"/>
                  </a:cubicBezTo>
                  <a:cubicBezTo>
                    <a:pt x="12447" y="6248"/>
                    <a:pt x="12454" y="6177"/>
                    <a:pt x="12489" y="6182"/>
                  </a:cubicBezTo>
                  <a:cubicBezTo>
                    <a:pt x="13498" y="6349"/>
                    <a:pt x="11933" y="6244"/>
                    <a:pt x="12749" y="6348"/>
                  </a:cubicBezTo>
                  <a:cubicBezTo>
                    <a:pt x="13043" y="6386"/>
                    <a:pt x="12770" y="6129"/>
                    <a:pt x="12993" y="6174"/>
                  </a:cubicBezTo>
                  <a:cubicBezTo>
                    <a:pt x="13060" y="6188"/>
                    <a:pt x="13130" y="6200"/>
                    <a:pt x="13189" y="6234"/>
                  </a:cubicBezTo>
                  <a:cubicBezTo>
                    <a:pt x="13198" y="6239"/>
                    <a:pt x="13207" y="6245"/>
                    <a:pt x="13215" y="6252"/>
                  </a:cubicBezTo>
                  <a:cubicBezTo>
                    <a:pt x="13254" y="6368"/>
                    <a:pt x="13292" y="6484"/>
                    <a:pt x="13330" y="6600"/>
                  </a:cubicBezTo>
                  <a:cubicBezTo>
                    <a:pt x="13294" y="6599"/>
                    <a:pt x="13259" y="6594"/>
                    <a:pt x="13268" y="6616"/>
                  </a:cubicBezTo>
                  <a:cubicBezTo>
                    <a:pt x="13291" y="6673"/>
                    <a:pt x="13326" y="6704"/>
                    <a:pt x="13367" y="6717"/>
                  </a:cubicBezTo>
                  <a:cubicBezTo>
                    <a:pt x="13447" y="6969"/>
                    <a:pt x="13525" y="7221"/>
                    <a:pt x="13599" y="7474"/>
                  </a:cubicBezTo>
                  <a:cubicBezTo>
                    <a:pt x="13552" y="7477"/>
                    <a:pt x="13504" y="7474"/>
                    <a:pt x="13461" y="7466"/>
                  </a:cubicBezTo>
                  <a:lnTo>
                    <a:pt x="13566" y="7853"/>
                  </a:lnTo>
                  <a:cubicBezTo>
                    <a:pt x="13614" y="7887"/>
                    <a:pt x="13649" y="7938"/>
                    <a:pt x="13678" y="7989"/>
                  </a:cubicBezTo>
                  <a:cubicBezTo>
                    <a:pt x="13697" y="8021"/>
                    <a:pt x="13685" y="8066"/>
                    <a:pt x="13706" y="8097"/>
                  </a:cubicBezTo>
                  <a:cubicBezTo>
                    <a:pt x="13732" y="8134"/>
                    <a:pt x="13767" y="8163"/>
                    <a:pt x="13802" y="8192"/>
                  </a:cubicBezTo>
                  <a:cubicBezTo>
                    <a:pt x="13833" y="8304"/>
                    <a:pt x="13863" y="8417"/>
                    <a:pt x="13892" y="8530"/>
                  </a:cubicBezTo>
                  <a:cubicBezTo>
                    <a:pt x="13854" y="8454"/>
                    <a:pt x="13794" y="8392"/>
                    <a:pt x="13755" y="8317"/>
                  </a:cubicBezTo>
                  <a:cubicBezTo>
                    <a:pt x="13751" y="8309"/>
                    <a:pt x="13784" y="8318"/>
                    <a:pt x="13779" y="8311"/>
                  </a:cubicBezTo>
                  <a:cubicBezTo>
                    <a:pt x="13652" y="8148"/>
                    <a:pt x="13521" y="8131"/>
                    <a:pt x="13462" y="7901"/>
                  </a:cubicBezTo>
                  <a:cubicBezTo>
                    <a:pt x="13455" y="7875"/>
                    <a:pt x="13520" y="7885"/>
                    <a:pt x="13542" y="7901"/>
                  </a:cubicBezTo>
                  <a:lnTo>
                    <a:pt x="13438" y="7514"/>
                  </a:lnTo>
                  <a:cubicBezTo>
                    <a:pt x="13418" y="7510"/>
                    <a:pt x="13399" y="7506"/>
                    <a:pt x="13382" y="7499"/>
                  </a:cubicBezTo>
                  <a:cubicBezTo>
                    <a:pt x="13232" y="7446"/>
                    <a:pt x="13409" y="7362"/>
                    <a:pt x="13131" y="7435"/>
                  </a:cubicBezTo>
                  <a:cubicBezTo>
                    <a:pt x="13075" y="7449"/>
                    <a:pt x="13038" y="7506"/>
                    <a:pt x="12985" y="7529"/>
                  </a:cubicBezTo>
                  <a:cubicBezTo>
                    <a:pt x="12964" y="7537"/>
                    <a:pt x="12940" y="7524"/>
                    <a:pt x="12918" y="7527"/>
                  </a:cubicBezTo>
                  <a:cubicBezTo>
                    <a:pt x="12775" y="7546"/>
                    <a:pt x="12628" y="7613"/>
                    <a:pt x="12489" y="7578"/>
                  </a:cubicBezTo>
                  <a:cubicBezTo>
                    <a:pt x="12417" y="7560"/>
                    <a:pt x="12352" y="7519"/>
                    <a:pt x="12280" y="7500"/>
                  </a:cubicBezTo>
                  <a:cubicBezTo>
                    <a:pt x="12238" y="7489"/>
                    <a:pt x="12194" y="7493"/>
                    <a:pt x="12151" y="7487"/>
                  </a:cubicBezTo>
                  <a:cubicBezTo>
                    <a:pt x="12118" y="7482"/>
                    <a:pt x="12087" y="7464"/>
                    <a:pt x="12054" y="7465"/>
                  </a:cubicBezTo>
                  <a:cubicBezTo>
                    <a:pt x="12011" y="7467"/>
                    <a:pt x="11970" y="7505"/>
                    <a:pt x="11927" y="7496"/>
                  </a:cubicBezTo>
                  <a:cubicBezTo>
                    <a:pt x="11833" y="7476"/>
                    <a:pt x="11750" y="7420"/>
                    <a:pt x="11662" y="7381"/>
                  </a:cubicBezTo>
                  <a:cubicBezTo>
                    <a:pt x="11635" y="7369"/>
                    <a:pt x="11611" y="7347"/>
                    <a:pt x="11582" y="7343"/>
                  </a:cubicBezTo>
                  <a:close/>
                  <a:moveTo>
                    <a:pt x="11585" y="20776"/>
                  </a:moveTo>
                  <a:cubicBezTo>
                    <a:pt x="11584" y="20786"/>
                    <a:pt x="11583" y="20795"/>
                    <a:pt x="11581" y="20804"/>
                  </a:cubicBezTo>
                  <a:cubicBezTo>
                    <a:pt x="11393" y="20818"/>
                    <a:pt x="11205" y="20828"/>
                    <a:pt x="11026" y="20828"/>
                  </a:cubicBezTo>
                  <a:cubicBezTo>
                    <a:pt x="11212" y="20809"/>
                    <a:pt x="11398" y="20793"/>
                    <a:pt x="11585" y="20776"/>
                  </a:cubicBezTo>
                  <a:close/>
                  <a:moveTo>
                    <a:pt x="10394" y="7679"/>
                  </a:moveTo>
                  <a:cubicBezTo>
                    <a:pt x="10323" y="7637"/>
                    <a:pt x="10172" y="7586"/>
                    <a:pt x="10083" y="7571"/>
                  </a:cubicBezTo>
                  <a:cubicBezTo>
                    <a:pt x="10032" y="7563"/>
                    <a:pt x="9954" y="7577"/>
                    <a:pt x="9904" y="7545"/>
                  </a:cubicBezTo>
                  <a:cubicBezTo>
                    <a:pt x="9643" y="7374"/>
                    <a:pt x="10039" y="7575"/>
                    <a:pt x="9761" y="7284"/>
                  </a:cubicBezTo>
                  <a:cubicBezTo>
                    <a:pt x="9727" y="7249"/>
                    <a:pt x="9664" y="7270"/>
                    <a:pt x="9618" y="7253"/>
                  </a:cubicBezTo>
                  <a:cubicBezTo>
                    <a:pt x="9409" y="7177"/>
                    <a:pt x="9811" y="7200"/>
                    <a:pt x="9366" y="7153"/>
                  </a:cubicBezTo>
                  <a:cubicBezTo>
                    <a:pt x="9327" y="7149"/>
                    <a:pt x="9287" y="7159"/>
                    <a:pt x="9247" y="7166"/>
                  </a:cubicBezTo>
                  <a:cubicBezTo>
                    <a:pt x="9302" y="6854"/>
                    <a:pt x="9360" y="6543"/>
                    <a:pt x="9420" y="6233"/>
                  </a:cubicBezTo>
                  <a:cubicBezTo>
                    <a:pt x="9429" y="6192"/>
                    <a:pt x="9437" y="6151"/>
                    <a:pt x="9445" y="6110"/>
                  </a:cubicBezTo>
                  <a:cubicBezTo>
                    <a:pt x="9479" y="6132"/>
                    <a:pt x="9508" y="6163"/>
                    <a:pt x="9545" y="6181"/>
                  </a:cubicBezTo>
                  <a:cubicBezTo>
                    <a:pt x="9575" y="6195"/>
                    <a:pt x="9614" y="6184"/>
                    <a:pt x="9642" y="6201"/>
                  </a:cubicBezTo>
                  <a:cubicBezTo>
                    <a:pt x="9664" y="6215"/>
                    <a:pt x="9664" y="6252"/>
                    <a:pt x="9687" y="6266"/>
                  </a:cubicBezTo>
                  <a:cubicBezTo>
                    <a:pt x="9720" y="6287"/>
                    <a:pt x="9777" y="6330"/>
                    <a:pt x="9800" y="6298"/>
                  </a:cubicBezTo>
                  <a:cubicBezTo>
                    <a:pt x="9876" y="6197"/>
                    <a:pt x="9886" y="6061"/>
                    <a:pt x="9929" y="5942"/>
                  </a:cubicBezTo>
                  <a:cubicBezTo>
                    <a:pt x="9912" y="5942"/>
                    <a:pt x="9895" y="5942"/>
                    <a:pt x="9879" y="5941"/>
                  </a:cubicBezTo>
                  <a:cubicBezTo>
                    <a:pt x="9905" y="5940"/>
                    <a:pt x="9931" y="5939"/>
                    <a:pt x="9957" y="5939"/>
                  </a:cubicBezTo>
                  <a:cubicBezTo>
                    <a:pt x="9955" y="5945"/>
                    <a:pt x="9953" y="5947"/>
                    <a:pt x="9952" y="5954"/>
                  </a:cubicBezTo>
                  <a:cubicBezTo>
                    <a:pt x="9946" y="5982"/>
                    <a:pt x="10010" y="5984"/>
                    <a:pt x="10035" y="5971"/>
                  </a:cubicBezTo>
                  <a:cubicBezTo>
                    <a:pt x="10055" y="5961"/>
                    <a:pt x="10071" y="5946"/>
                    <a:pt x="10087" y="5929"/>
                  </a:cubicBezTo>
                  <a:cubicBezTo>
                    <a:pt x="10406" y="5927"/>
                    <a:pt x="10724" y="5923"/>
                    <a:pt x="11043" y="5919"/>
                  </a:cubicBezTo>
                  <a:cubicBezTo>
                    <a:pt x="11036" y="5938"/>
                    <a:pt x="11030" y="5960"/>
                    <a:pt x="11025" y="5988"/>
                  </a:cubicBezTo>
                  <a:cubicBezTo>
                    <a:pt x="11017" y="6035"/>
                    <a:pt x="11113" y="6035"/>
                    <a:pt x="11135" y="6077"/>
                  </a:cubicBezTo>
                  <a:cubicBezTo>
                    <a:pt x="11158" y="6119"/>
                    <a:pt x="11114" y="6186"/>
                    <a:pt x="11148" y="6219"/>
                  </a:cubicBezTo>
                  <a:cubicBezTo>
                    <a:pt x="11172" y="6242"/>
                    <a:pt x="11208" y="6158"/>
                    <a:pt x="11237" y="6173"/>
                  </a:cubicBezTo>
                  <a:cubicBezTo>
                    <a:pt x="11263" y="6187"/>
                    <a:pt x="11259" y="6230"/>
                    <a:pt x="11266" y="6261"/>
                  </a:cubicBezTo>
                  <a:cubicBezTo>
                    <a:pt x="11287" y="6572"/>
                    <a:pt x="11308" y="6883"/>
                    <a:pt x="11328" y="7194"/>
                  </a:cubicBezTo>
                  <a:cubicBezTo>
                    <a:pt x="11303" y="7189"/>
                    <a:pt x="11278" y="7184"/>
                    <a:pt x="11254" y="7176"/>
                  </a:cubicBezTo>
                  <a:cubicBezTo>
                    <a:pt x="11247" y="7174"/>
                    <a:pt x="11247" y="7160"/>
                    <a:pt x="11240" y="7160"/>
                  </a:cubicBezTo>
                  <a:cubicBezTo>
                    <a:pt x="11189" y="7167"/>
                    <a:pt x="10925" y="7210"/>
                    <a:pt x="10905" y="7253"/>
                  </a:cubicBezTo>
                  <a:cubicBezTo>
                    <a:pt x="10830" y="7415"/>
                    <a:pt x="10874" y="7730"/>
                    <a:pt x="10639" y="7801"/>
                  </a:cubicBezTo>
                  <a:cubicBezTo>
                    <a:pt x="10517" y="7837"/>
                    <a:pt x="10497" y="7739"/>
                    <a:pt x="10394" y="7679"/>
                  </a:cubicBezTo>
                  <a:close/>
                  <a:moveTo>
                    <a:pt x="7547" y="19000"/>
                  </a:moveTo>
                  <a:cubicBezTo>
                    <a:pt x="7754" y="19045"/>
                    <a:pt x="7989" y="19092"/>
                    <a:pt x="8235" y="19135"/>
                  </a:cubicBezTo>
                  <a:cubicBezTo>
                    <a:pt x="8240" y="19419"/>
                    <a:pt x="8297" y="19696"/>
                    <a:pt x="8331" y="19969"/>
                  </a:cubicBezTo>
                  <a:cubicBezTo>
                    <a:pt x="8359" y="20184"/>
                    <a:pt x="8400" y="20411"/>
                    <a:pt x="8463" y="20627"/>
                  </a:cubicBezTo>
                  <a:cubicBezTo>
                    <a:pt x="7555" y="20480"/>
                    <a:pt x="6638" y="20228"/>
                    <a:pt x="5772" y="19864"/>
                  </a:cubicBezTo>
                  <a:cubicBezTo>
                    <a:pt x="5473" y="19400"/>
                    <a:pt x="5296" y="18801"/>
                    <a:pt x="5215" y="18279"/>
                  </a:cubicBezTo>
                  <a:cubicBezTo>
                    <a:pt x="5984" y="18592"/>
                    <a:pt x="6778" y="18829"/>
                    <a:pt x="7547" y="19000"/>
                  </a:cubicBezTo>
                  <a:close/>
                  <a:moveTo>
                    <a:pt x="5106" y="17239"/>
                  </a:moveTo>
                  <a:cubicBezTo>
                    <a:pt x="5106" y="16743"/>
                    <a:pt x="5107" y="16247"/>
                    <a:pt x="5112" y="15751"/>
                  </a:cubicBezTo>
                  <a:cubicBezTo>
                    <a:pt x="5700" y="15975"/>
                    <a:pt x="6292" y="16153"/>
                    <a:pt x="6863" y="16287"/>
                  </a:cubicBezTo>
                  <a:cubicBezTo>
                    <a:pt x="7319" y="16394"/>
                    <a:pt x="7781" y="16494"/>
                    <a:pt x="8248" y="16560"/>
                  </a:cubicBezTo>
                  <a:cubicBezTo>
                    <a:pt x="8242" y="17385"/>
                    <a:pt x="8237" y="18211"/>
                    <a:pt x="8234" y="19037"/>
                  </a:cubicBezTo>
                  <a:cubicBezTo>
                    <a:pt x="7997" y="18995"/>
                    <a:pt x="7769" y="18950"/>
                    <a:pt x="7569" y="18905"/>
                  </a:cubicBezTo>
                  <a:cubicBezTo>
                    <a:pt x="6786" y="18732"/>
                    <a:pt x="5979" y="18489"/>
                    <a:pt x="5199" y="18168"/>
                  </a:cubicBezTo>
                  <a:cubicBezTo>
                    <a:pt x="5196" y="18146"/>
                    <a:pt x="5197" y="18123"/>
                    <a:pt x="5194" y="18101"/>
                  </a:cubicBezTo>
                  <a:cubicBezTo>
                    <a:pt x="5160" y="17812"/>
                    <a:pt x="5106" y="17527"/>
                    <a:pt x="5106" y="17245"/>
                  </a:cubicBezTo>
                  <a:cubicBezTo>
                    <a:pt x="5106" y="17245"/>
                    <a:pt x="5106" y="17239"/>
                    <a:pt x="5106" y="17239"/>
                  </a:cubicBezTo>
                  <a:close/>
                  <a:moveTo>
                    <a:pt x="5015" y="15295"/>
                  </a:moveTo>
                  <a:cubicBezTo>
                    <a:pt x="5014" y="15400"/>
                    <a:pt x="5013" y="15506"/>
                    <a:pt x="5012" y="15611"/>
                  </a:cubicBezTo>
                  <a:cubicBezTo>
                    <a:pt x="4157" y="15274"/>
                    <a:pt x="3318" y="14837"/>
                    <a:pt x="2583" y="14291"/>
                  </a:cubicBezTo>
                  <a:cubicBezTo>
                    <a:pt x="2585" y="14268"/>
                    <a:pt x="2586" y="14245"/>
                    <a:pt x="2589" y="14222"/>
                  </a:cubicBezTo>
                  <a:cubicBezTo>
                    <a:pt x="2648" y="13660"/>
                    <a:pt x="2710" y="13121"/>
                    <a:pt x="2828" y="12570"/>
                  </a:cubicBezTo>
                  <a:cubicBezTo>
                    <a:pt x="2891" y="12277"/>
                    <a:pt x="2962" y="11986"/>
                    <a:pt x="3040" y="11696"/>
                  </a:cubicBezTo>
                  <a:cubicBezTo>
                    <a:pt x="3059" y="11749"/>
                    <a:pt x="3218" y="12041"/>
                    <a:pt x="3237" y="12058"/>
                  </a:cubicBezTo>
                  <a:cubicBezTo>
                    <a:pt x="3246" y="12067"/>
                    <a:pt x="3256" y="12018"/>
                    <a:pt x="3261" y="12030"/>
                  </a:cubicBezTo>
                  <a:cubicBezTo>
                    <a:pt x="3306" y="12126"/>
                    <a:pt x="3340" y="12229"/>
                    <a:pt x="3364" y="12332"/>
                  </a:cubicBezTo>
                  <a:cubicBezTo>
                    <a:pt x="3374" y="12373"/>
                    <a:pt x="3351" y="12416"/>
                    <a:pt x="3362" y="12456"/>
                  </a:cubicBezTo>
                  <a:cubicBezTo>
                    <a:pt x="3372" y="12498"/>
                    <a:pt x="3414" y="12527"/>
                    <a:pt x="3427" y="12567"/>
                  </a:cubicBezTo>
                  <a:cubicBezTo>
                    <a:pt x="3431" y="12582"/>
                    <a:pt x="3401" y="12598"/>
                    <a:pt x="3411" y="12610"/>
                  </a:cubicBezTo>
                  <a:cubicBezTo>
                    <a:pt x="3446" y="12654"/>
                    <a:pt x="3517" y="12665"/>
                    <a:pt x="3545" y="12715"/>
                  </a:cubicBezTo>
                  <a:cubicBezTo>
                    <a:pt x="3555" y="12735"/>
                    <a:pt x="3476" y="12731"/>
                    <a:pt x="3488" y="12750"/>
                  </a:cubicBezTo>
                  <a:cubicBezTo>
                    <a:pt x="3524" y="12812"/>
                    <a:pt x="3596" y="12846"/>
                    <a:pt x="3650" y="12893"/>
                  </a:cubicBezTo>
                  <a:cubicBezTo>
                    <a:pt x="3655" y="12897"/>
                    <a:pt x="3661" y="12899"/>
                    <a:pt x="3665" y="12904"/>
                  </a:cubicBezTo>
                  <a:cubicBezTo>
                    <a:pt x="3708" y="12964"/>
                    <a:pt x="3742" y="13031"/>
                    <a:pt x="3791" y="13087"/>
                  </a:cubicBezTo>
                  <a:cubicBezTo>
                    <a:pt x="3812" y="13110"/>
                    <a:pt x="3849" y="13114"/>
                    <a:pt x="3870" y="13137"/>
                  </a:cubicBezTo>
                  <a:cubicBezTo>
                    <a:pt x="3954" y="13230"/>
                    <a:pt x="4005" y="13362"/>
                    <a:pt x="4098" y="13449"/>
                  </a:cubicBezTo>
                  <a:cubicBezTo>
                    <a:pt x="4144" y="13492"/>
                    <a:pt x="4196" y="13529"/>
                    <a:pt x="4244" y="13570"/>
                  </a:cubicBezTo>
                  <a:cubicBezTo>
                    <a:pt x="4250" y="13576"/>
                    <a:pt x="4252" y="13588"/>
                    <a:pt x="4260" y="13589"/>
                  </a:cubicBezTo>
                  <a:cubicBezTo>
                    <a:pt x="4380" y="13602"/>
                    <a:pt x="4500" y="13605"/>
                    <a:pt x="4620" y="13610"/>
                  </a:cubicBezTo>
                  <a:cubicBezTo>
                    <a:pt x="4698" y="13614"/>
                    <a:pt x="4610" y="13591"/>
                    <a:pt x="4723" y="13585"/>
                  </a:cubicBezTo>
                  <a:cubicBezTo>
                    <a:pt x="4783" y="13582"/>
                    <a:pt x="4844" y="13607"/>
                    <a:pt x="4901" y="13593"/>
                  </a:cubicBezTo>
                  <a:cubicBezTo>
                    <a:pt x="4925" y="13588"/>
                    <a:pt x="4813" y="13554"/>
                    <a:pt x="4837" y="13558"/>
                  </a:cubicBezTo>
                  <a:cubicBezTo>
                    <a:pt x="4957" y="13577"/>
                    <a:pt x="5075" y="13603"/>
                    <a:pt x="5193" y="13630"/>
                  </a:cubicBezTo>
                  <a:cubicBezTo>
                    <a:pt x="5170" y="13791"/>
                    <a:pt x="5149" y="13951"/>
                    <a:pt x="5132" y="14112"/>
                  </a:cubicBezTo>
                  <a:cubicBezTo>
                    <a:pt x="5090" y="14502"/>
                    <a:pt x="5020" y="14895"/>
                    <a:pt x="5015" y="15295"/>
                  </a:cubicBezTo>
                  <a:close/>
                  <a:moveTo>
                    <a:pt x="1562" y="9967"/>
                  </a:moveTo>
                  <a:cubicBezTo>
                    <a:pt x="1563" y="9964"/>
                    <a:pt x="1564" y="9961"/>
                    <a:pt x="1565" y="9959"/>
                  </a:cubicBezTo>
                  <a:cubicBezTo>
                    <a:pt x="1951" y="10456"/>
                    <a:pt x="2429" y="10878"/>
                    <a:pt x="2948" y="11237"/>
                  </a:cubicBezTo>
                  <a:cubicBezTo>
                    <a:pt x="2920" y="11236"/>
                    <a:pt x="2893" y="11237"/>
                    <a:pt x="2875" y="11249"/>
                  </a:cubicBezTo>
                  <a:cubicBezTo>
                    <a:pt x="2846" y="11266"/>
                    <a:pt x="2893" y="11315"/>
                    <a:pt x="2891" y="11349"/>
                  </a:cubicBezTo>
                  <a:cubicBezTo>
                    <a:pt x="2889" y="11373"/>
                    <a:pt x="2855" y="11393"/>
                    <a:pt x="2863" y="11416"/>
                  </a:cubicBezTo>
                  <a:cubicBezTo>
                    <a:pt x="2883" y="11479"/>
                    <a:pt x="2911" y="11551"/>
                    <a:pt x="2968" y="11585"/>
                  </a:cubicBezTo>
                  <a:cubicBezTo>
                    <a:pt x="2968" y="11586"/>
                    <a:pt x="2969" y="11585"/>
                    <a:pt x="2970" y="11586"/>
                  </a:cubicBezTo>
                  <a:cubicBezTo>
                    <a:pt x="2882" y="11905"/>
                    <a:pt x="2803" y="12227"/>
                    <a:pt x="2734" y="12550"/>
                  </a:cubicBezTo>
                  <a:cubicBezTo>
                    <a:pt x="2615" y="13107"/>
                    <a:pt x="2552" y="13649"/>
                    <a:pt x="2493" y="14212"/>
                  </a:cubicBezTo>
                  <a:cubicBezTo>
                    <a:pt x="2492" y="14216"/>
                    <a:pt x="2492" y="14219"/>
                    <a:pt x="2492" y="14223"/>
                  </a:cubicBezTo>
                  <a:cubicBezTo>
                    <a:pt x="1889" y="13763"/>
                    <a:pt x="1360" y="13227"/>
                    <a:pt x="953" y="12611"/>
                  </a:cubicBezTo>
                  <a:cubicBezTo>
                    <a:pt x="1032" y="11703"/>
                    <a:pt x="1254" y="10799"/>
                    <a:pt x="1562" y="9967"/>
                  </a:cubicBezTo>
                  <a:close/>
                  <a:moveTo>
                    <a:pt x="2362" y="5934"/>
                  </a:moveTo>
                  <a:cubicBezTo>
                    <a:pt x="2495" y="6332"/>
                    <a:pt x="2714" y="6685"/>
                    <a:pt x="2988" y="6997"/>
                  </a:cubicBezTo>
                  <a:cubicBezTo>
                    <a:pt x="2397" y="7877"/>
                    <a:pt x="1905" y="8807"/>
                    <a:pt x="1536" y="9760"/>
                  </a:cubicBezTo>
                  <a:cubicBezTo>
                    <a:pt x="1465" y="9662"/>
                    <a:pt x="1397" y="9561"/>
                    <a:pt x="1334" y="9456"/>
                  </a:cubicBezTo>
                  <a:cubicBezTo>
                    <a:pt x="1141" y="9138"/>
                    <a:pt x="921" y="8689"/>
                    <a:pt x="879" y="8324"/>
                  </a:cubicBezTo>
                  <a:cubicBezTo>
                    <a:pt x="879" y="8322"/>
                    <a:pt x="878" y="8320"/>
                    <a:pt x="878" y="8317"/>
                  </a:cubicBezTo>
                  <a:cubicBezTo>
                    <a:pt x="1254" y="7468"/>
                    <a:pt x="1762" y="6668"/>
                    <a:pt x="2362" y="5934"/>
                  </a:cubicBezTo>
                  <a:close/>
                  <a:moveTo>
                    <a:pt x="7666" y="2029"/>
                  </a:moveTo>
                  <a:cubicBezTo>
                    <a:pt x="7717" y="2104"/>
                    <a:pt x="7782" y="2176"/>
                    <a:pt x="7858" y="2245"/>
                  </a:cubicBezTo>
                  <a:cubicBezTo>
                    <a:pt x="7823" y="2280"/>
                    <a:pt x="7779" y="2326"/>
                    <a:pt x="7751" y="2356"/>
                  </a:cubicBezTo>
                  <a:cubicBezTo>
                    <a:pt x="7739" y="2370"/>
                    <a:pt x="7737" y="2390"/>
                    <a:pt x="7723" y="2401"/>
                  </a:cubicBezTo>
                  <a:cubicBezTo>
                    <a:pt x="7691" y="2427"/>
                    <a:pt x="7645" y="2435"/>
                    <a:pt x="7616" y="2465"/>
                  </a:cubicBezTo>
                  <a:cubicBezTo>
                    <a:pt x="7609" y="2472"/>
                    <a:pt x="7626" y="2488"/>
                    <a:pt x="7636" y="2487"/>
                  </a:cubicBezTo>
                  <a:cubicBezTo>
                    <a:pt x="7641" y="2487"/>
                    <a:pt x="7646" y="2485"/>
                    <a:pt x="7652" y="2483"/>
                  </a:cubicBezTo>
                  <a:cubicBezTo>
                    <a:pt x="7543" y="2551"/>
                    <a:pt x="7435" y="2620"/>
                    <a:pt x="7328" y="2691"/>
                  </a:cubicBezTo>
                  <a:cubicBezTo>
                    <a:pt x="7327" y="2690"/>
                    <a:pt x="7327" y="2690"/>
                    <a:pt x="7327" y="2690"/>
                  </a:cubicBezTo>
                  <a:cubicBezTo>
                    <a:pt x="7283" y="2665"/>
                    <a:pt x="7237" y="2737"/>
                    <a:pt x="7189" y="2750"/>
                  </a:cubicBezTo>
                  <a:cubicBezTo>
                    <a:pt x="7122" y="2768"/>
                    <a:pt x="7050" y="2767"/>
                    <a:pt x="6982" y="2782"/>
                  </a:cubicBezTo>
                  <a:cubicBezTo>
                    <a:pt x="6984" y="2672"/>
                    <a:pt x="6940" y="2655"/>
                    <a:pt x="6773" y="3055"/>
                  </a:cubicBezTo>
                  <a:cubicBezTo>
                    <a:pt x="6769" y="3065"/>
                    <a:pt x="6774" y="3068"/>
                    <a:pt x="6783" y="3067"/>
                  </a:cubicBezTo>
                  <a:cubicBezTo>
                    <a:pt x="6766" y="3079"/>
                    <a:pt x="6750" y="3091"/>
                    <a:pt x="6733" y="3104"/>
                  </a:cubicBezTo>
                  <a:cubicBezTo>
                    <a:pt x="6671" y="3122"/>
                    <a:pt x="6619" y="3146"/>
                    <a:pt x="6627" y="3181"/>
                  </a:cubicBezTo>
                  <a:cubicBezTo>
                    <a:pt x="6162" y="3527"/>
                    <a:pt x="5714" y="3901"/>
                    <a:pt x="5289" y="4299"/>
                  </a:cubicBezTo>
                  <a:cubicBezTo>
                    <a:pt x="5078" y="4104"/>
                    <a:pt x="4902" y="3886"/>
                    <a:pt x="4790" y="3645"/>
                  </a:cubicBezTo>
                  <a:cubicBezTo>
                    <a:pt x="5237" y="3318"/>
                    <a:pt x="5698" y="3021"/>
                    <a:pt x="6165" y="2759"/>
                  </a:cubicBezTo>
                  <a:cubicBezTo>
                    <a:pt x="6650" y="2486"/>
                    <a:pt x="7152" y="2242"/>
                    <a:pt x="7666" y="2029"/>
                  </a:cubicBezTo>
                  <a:close/>
                  <a:moveTo>
                    <a:pt x="8048" y="1526"/>
                  </a:moveTo>
                  <a:cubicBezTo>
                    <a:pt x="8673" y="1370"/>
                    <a:pt x="9294" y="1282"/>
                    <a:pt x="9926" y="1222"/>
                  </a:cubicBezTo>
                  <a:cubicBezTo>
                    <a:pt x="9314" y="1356"/>
                    <a:pt x="8711" y="1528"/>
                    <a:pt x="8121" y="1746"/>
                  </a:cubicBezTo>
                  <a:cubicBezTo>
                    <a:pt x="7981" y="1798"/>
                    <a:pt x="7843" y="1853"/>
                    <a:pt x="7705" y="1909"/>
                  </a:cubicBezTo>
                  <a:cubicBezTo>
                    <a:pt x="7655" y="1820"/>
                    <a:pt x="7627" y="1729"/>
                    <a:pt x="7622" y="1638"/>
                  </a:cubicBezTo>
                  <a:cubicBezTo>
                    <a:pt x="7763" y="1599"/>
                    <a:pt x="7905" y="1562"/>
                    <a:pt x="8048" y="1526"/>
                  </a:cubicBezTo>
                  <a:close/>
                  <a:moveTo>
                    <a:pt x="8994" y="1038"/>
                  </a:moveTo>
                  <a:cubicBezTo>
                    <a:pt x="8986" y="1037"/>
                    <a:pt x="8979" y="1037"/>
                    <a:pt x="8972" y="1037"/>
                  </a:cubicBezTo>
                  <a:cubicBezTo>
                    <a:pt x="8580" y="1037"/>
                    <a:pt x="8179" y="1104"/>
                    <a:pt x="7791" y="1173"/>
                  </a:cubicBezTo>
                  <a:cubicBezTo>
                    <a:pt x="7853" y="1097"/>
                    <a:pt x="7931" y="1023"/>
                    <a:pt x="8023" y="953"/>
                  </a:cubicBezTo>
                  <a:cubicBezTo>
                    <a:pt x="8136" y="943"/>
                    <a:pt x="8248" y="935"/>
                    <a:pt x="8361" y="936"/>
                  </a:cubicBezTo>
                  <a:cubicBezTo>
                    <a:pt x="8369" y="935"/>
                    <a:pt x="8377" y="935"/>
                    <a:pt x="8384" y="936"/>
                  </a:cubicBezTo>
                  <a:cubicBezTo>
                    <a:pt x="9241" y="943"/>
                    <a:pt x="9394" y="950"/>
                    <a:pt x="10207" y="1050"/>
                  </a:cubicBezTo>
                  <a:cubicBezTo>
                    <a:pt x="9816" y="1045"/>
                    <a:pt x="9318" y="1039"/>
                    <a:pt x="8994" y="1038"/>
                  </a:cubicBezTo>
                  <a:close/>
                  <a:moveTo>
                    <a:pt x="10125" y="2842"/>
                  </a:moveTo>
                  <a:cubicBezTo>
                    <a:pt x="10124" y="2845"/>
                    <a:pt x="10123" y="2849"/>
                    <a:pt x="10122" y="2853"/>
                  </a:cubicBezTo>
                  <a:cubicBezTo>
                    <a:pt x="10082" y="2866"/>
                    <a:pt x="10042" y="2880"/>
                    <a:pt x="10003" y="2895"/>
                  </a:cubicBezTo>
                  <a:cubicBezTo>
                    <a:pt x="10000" y="2896"/>
                    <a:pt x="10002" y="2901"/>
                    <a:pt x="10004" y="2905"/>
                  </a:cubicBezTo>
                  <a:cubicBezTo>
                    <a:pt x="9999" y="2905"/>
                    <a:pt x="9993" y="2904"/>
                    <a:pt x="9988" y="2904"/>
                  </a:cubicBezTo>
                  <a:cubicBezTo>
                    <a:pt x="9922" y="2857"/>
                    <a:pt x="9859" y="2766"/>
                    <a:pt x="9789" y="2795"/>
                  </a:cubicBezTo>
                  <a:cubicBezTo>
                    <a:pt x="9745" y="2813"/>
                    <a:pt x="9729" y="2843"/>
                    <a:pt x="9712" y="2867"/>
                  </a:cubicBezTo>
                  <a:cubicBezTo>
                    <a:pt x="9642" y="2857"/>
                    <a:pt x="9574" y="2845"/>
                    <a:pt x="9507" y="2832"/>
                  </a:cubicBezTo>
                  <a:cubicBezTo>
                    <a:pt x="9491" y="2803"/>
                    <a:pt x="9479" y="2767"/>
                    <a:pt x="9454" y="2746"/>
                  </a:cubicBezTo>
                  <a:cubicBezTo>
                    <a:pt x="9448" y="2741"/>
                    <a:pt x="9435" y="2741"/>
                    <a:pt x="9422" y="2742"/>
                  </a:cubicBezTo>
                  <a:cubicBezTo>
                    <a:pt x="9473" y="2671"/>
                    <a:pt x="9525" y="2600"/>
                    <a:pt x="9578" y="2530"/>
                  </a:cubicBezTo>
                  <a:cubicBezTo>
                    <a:pt x="9612" y="2545"/>
                    <a:pt x="9678" y="2573"/>
                    <a:pt x="9644" y="2496"/>
                  </a:cubicBezTo>
                  <a:cubicBezTo>
                    <a:pt x="9639" y="2485"/>
                    <a:pt x="9632" y="2478"/>
                    <a:pt x="9622" y="2471"/>
                  </a:cubicBezTo>
                  <a:cubicBezTo>
                    <a:pt x="9649" y="2436"/>
                    <a:pt x="9675" y="2401"/>
                    <a:pt x="9701" y="2366"/>
                  </a:cubicBezTo>
                  <a:cubicBezTo>
                    <a:pt x="9725" y="2336"/>
                    <a:pt x="9749" y="2306"/>
                    <a:pt x="9773" y="2276"/>
                  </a:cubicBezTo>
                  <a:cubicBezTo>
                    <a:pt x="9774" y="2288"/>
                    <a:pt x="9777" y="2300"/>
                    <a:pt x="9781" y="2314"/>
                  </a:cubicBezTo>
                  <a:cubicBezTo>
                    <a:pt x="9800" y="2375"/>
                    <a:pt x="9870" y="2410"/>
                    <a:pt x="9896" y="2469"/>
                  </a:cubicBezTo>
                  <a:cubicBezTo>
                    <a:pt x="9976" y="2649"/>
                    <a:pt x="9818" y="2454"/>
                    <a:pt x="9831" y="2518"/>
                  </a:cubicBezTo>
                  <a:cubicBezTo>
                    <a:pt x="9838" y="2555"/>
                    <a:pt x="9874" y="2581"/>
                    <a:pt x="9893" y="2613"/>
                  </a:cubicBezTo>
                  <a:cubicBezTo>
                    <a:pt x="9902" y="2630"/>
                    <a:pt x="9897" y="2659"/>
                    <a:pt x="9915" y="2664"/>
                  </a:cubicBezTo>
                  <a:cubicBezTo>
                    <a:pt x="10115" y="2727"/>
                    <a:pt x="9974" y="2605"/>
                    <a:pt x="10118" y="2540"/>
                  </a:cubicBezTo>
                  <a:cubicBezTo>
                    <a:pt x="10145" y="2528"/>
                    <a:pt x="10180" y="2548"/>
                    <a:pt x="10212" y="2558"/>
                  </a:cubicBezTo>
                  <a:cubicBezTo>
                    <a:pt x="10182" y="2653"/>
                    <a:pt x="10154" y="2747"/>
                    <a:pt x="10125" y="2842"/>
                  </a:cubicBezTo>
                  <a:close/>
                  <a:moveTo>
                    <a:pt x="9501" y="5830"/>
                  </a:moveTo>
                  <a:cubicBezTo>
                    <a:pt x="9541" y="5632"/>
                    <a:pt x="9582" y="5434"/>
                    <a:pt x="9624" y="5236"/>
                  </a:cubicBezTo>
                  <a:cubicBezTo>
                    <a:pt x="9631" y="5236"/>
                    <a:pt x="9638" y="5237"/>
                    <a:pt x="9645" y="5241"/>
                  </a:cubicBezTo>
                  <a:cubicBezTo>
                    <a:pt x="9677" y="5258"/>
                    <a:pt x="9667" y="5316"/>
                    <a:pt x="9697" y="5337"/>
                  </a:cubicBezTo>
                  <a:cubicBezTo>
                    <a:pt x="9735" y="5363"/>
                    <a:pt x="9795" y="5339"/>
                    <a:pt x="9831" y="5367"/>
                  </a:cubicBezTo>
                  <a:cubicBezTo>
                    <a:pt x="9873" y="5400"/>
                    <a:pt x="9871" y="5469"/>
                    <a:pt x="9911" y="5504"/>
                  </a:cubicBezTo>
                  <a:cubicBezTo>
                    <a:pt x="9930" y="5521"/>
                    <a:pt x="9973" y="5484"/>
                    <a:pt x="9987" y="5505"/>
                  </a:cubicBezTo>
                  <a:cubicBezTo>
                    <a:pt x="10029" y="5570"/>
                    <a:pt x="10029" y="5654"/>
                    <a:pt x="10056" y="5726"/>
                  </a:cubicBezTo>
                  <a:cubicBezTo>
                    <a:pt x="10059" y="5736"/>
                    <a:pt x="10081" y="5739"/>
                    <a:pt x="10077" y="5749"/>
                  </a:cubicBezTo>
                  <a:cubicBezTo>
                    <a:pt x="10063" y="5779"/>
                    <a:pt x="10041" y="5806"/>
                    <a:pt x="10019" y="5832"/>
                  </a:cubicBezTo>
                  <a:cubicBezTo>
                    <a:pt x="9903" y="5833"/>
                    <a:pt x="9787" y="5835"/>
                    <a:pt x="9671" y="5836"/>
                  </a:cubicBezTo>
                  <a:cubicBezTo>
                    <a:pt x="9667" y="5836"/>
                    <a:pt x="9662" y="5836"/>
                    <a:pt x="9657" y="5836"/>
                  </a:cubicBezTo>
                  <a:cubicBezTo>
                    <a:pt x="9605" y="5836"/>
                    <a:pt x="9553" y="5833"/>
                    <a:pt x="9501" y="5830"/>
                  </a:cubicBezTo>
                  <a:close/>
                  <a:moveTo>
                    <a:pt x="9482" y="5935"/>
                  </a:moveTo>
                  <a:cubicBezTo>
                    <a:pt x="9488" y="5935"/>
                    <a:pt x="9495" y="5936"/>
                    <a:pt x="9502" y="5937"/>
                  </a:cubicBezTo>
                  <a:cubicBezTo>
                    <a:pt x="9494" y="5937"/>
                    <a:pt x="9487" y="5937"/>
                    <a:pt x="9479" y="5937"/>
                  </a:cubicBezTo>
                  <a:cubicBezTo>
                    <a:pt x="9480" y="5933"/>
                    <a:pt x="9481" y="5939"/>
                    <a:pt x="9482" y="5935"/>
                  </a:cubicBezTo>
                  <a:close/>
                  <a:moveTo>
                    <a:pt x="9491" y="4384"/>
                  </a:moveTo>
                  <a:cubicBezTo>
                    <a:pt x="9542" y="4342"/>
                    <a:pt x="9623" y="4363"/>
                    <a:pt x="9688" y="4346"/>
                  </a:cubicBezTo>
                  <a:cubicBezTo>
                    <a:pt x="9699" y="4342"/>
                    <a:pt x="9704" y="4320"/>
                    <a:pt x="9716" y="4323"/>
                  </a:cubicBezTo>
                  <a:cubicBezTo>
                    <a:pt x="9722" y="4325"/>
                    <a:pt x="9725" y="4332"/>
                    <a:pt x="9728" y="4339"/>
                  </a:cubicBezTo>
                  <a:cubicBezTo>
                    <a:pt x="9698" y="4465"/>
                    <a:pt x="9668" y="4592"/>
                    <a:pt x="9639" y="4718"/>
                  </a:cubicBezTo>
                  <a:cubicBezTo>
                    <a:pt x="9582" y="4655"/>
                    <a:pt x="9505" y="4605"/>
                    <a:pt x="9468" y="4528"/>
                  </a:cubicBezTo>
                  <a:cubicBezTo>
                    <a:pt x="9447" y="4484"/>
                    <a:pt x="9454" y="4416"/>
                    <a:pt x="9491" y="4384"/>
                  </a:cubicBezTo>
                  <a:close/>
                  <a:moveTo>
                    <a:pt x="8786" y="5727"/>
                  </a:moveTo>
                  <a:cubicBezTo>
                    <a:pt x="8751" y="5721"/>
                    <a:pt x="8716" y="5714"/>
                    <a:pt x="8681" y="5708"/>
                  </a:cubicBezTo>
                  <a:cubicBezTo>
                    <a:pt x="8739" y="5568"/>
                    <a:pt x="8763" y="5415"/>
                    <a:pt x="8809" y="5270"/>
                  </a:cubicBezTo>
                  <a:cubicBezTo>
                    <a:pt x="8809" y="5270"/>
                    <a:pt x="8709" y="5341"/>
                    <a:pt x="8652" y="5357"/>
                  </a:cubicBezTo>
                  <a:cubicBezTo>
                    <a:pt x="8635" y="5361"/>
                    <a:pt x="8578" y="5259"/>
                    <a:pt x="8589" y="5372"/>
                  </a:cubicBezTo>
                  <a:cubicBezTo>
                    <a:pt x="8594" y="5436"/>
                    <a:pt x="8635" y="5496"/>
                    <a:pt x="8631" y="5559"/>
                  </a:cubicBezTo>
                  <a:cubicBezTo>
                    <a:pt x="8629" y="5605"/>
                    <a:pt x="8593" y="5645"/>
                    <a:pt x="8575" y="5688"/>
                  </a:cubicBezTo>
                  <a:cubicBezTo>
                    <a:pt x="8316" y="5640"/>
                    <a:pt x="8058" y="5585"/>
                    <a:pt x="7804" y="5520"/>
                  </a:cubicBezTo>
                  <a:cubicBezTo>
                    <a:pt x="7833" y="5459"/>
                    <a:pt x="7862" y="5398"/>
                    <a:pt x="7892" y="5337"/>
                  </a:cubicBezTo>
                  <a:cubicBezTo>
                    <a:pt x="7986" y="5149"/>
                    <a:pt x="8082" y="4961"/>
                    <a:pt x="8180" y="4774"/>
                  </a:cubicBezTo>
                  <a:cubicBezTo>
                    <a:pt x="8241" y="4809"/>
                    <a:pt x="8302" y="4844"/>
                    <a:pt x="8366" y="4834"/>
                  </a:cubicBezTo>
                  <a:cubicBezTo>
                    <a:pt x="8422" y="4825"/>
                    <a:pt x="9002" y="4463"/>
                    <a:pt x="9078" y="4659"/>
                  </a:cubicBezTo>
                  <a:cubicBezTo>
                    <a:pt x="9099" y="4711"/>
                    <a:pt x="9119" y="4764"/>
                    <a:pt x="9127" y="4819"/>
                  </a:cubicBezTo>
                  <a:cubicBezTo>
                    <a:pt x="9130" y="4839"/>
                    <a:pt x="9098" y="4864"/>
                    <a:pt x="9111" y="4880"/>
                  </a:cubicBezTo>
                  <a:cubicBezTo>
                    <a:pt x="9159" y="4937"/>
                    <a:pt x="9235" y="4964"/>
                    <a:pt x="9290" y="5014"/>
                  </a:cubicBezTo>
                  <a:cubicBezTo>
                    <a:pt x="9489" y="5195"/>
                    <a:pt x="8790" y="4860"/>
                    <a:pt x="9521" y="5245"/>
                  </a:cubicBezTo>
                  <a:cubicBezTo>
                    <a:pt x="9522" y="5246"/>
                    <a:pt x="9523" y="5246"/>
                    <a:pt x="9524" y="5246"/>
                  </a:cubicBezTo>
                  <a:cubicBezTo>
                    <a:pt x="9483" y="5438"/>
                    <a:pt x="9443" y="5630"/>
                    <a:pt x="9404" y="5822"/>
                  </a:cubicBezTo>
                  <a:cubicBezTo>
                    <a:pt x="9199" y="5802"/>
                    <a:pt x="8991" y="5763"/>
                    <a:pt x="8786" y="5727"/>
                  </a:cubicBezTo>
                  <a:close/>
                  <a:moveTo>
                    <a:pt x="5736" y="5916"/>
                  </a:moveTo>
                  <a:cubicBezTo>
                    <a:pt x="5850" y="5956"/>
                    <a:pt x="5877" y="6138"/>
                    <a:pt x="5992" y="6170"/>
                  </a:cubicBezTo>
                  <a:cubicBezTo>
                    <a:pt x="6043" y="6184"/>
                    <a:pt x="6084" y="6114"/>
                    <a:pt x="6136" y="6104"/>
                  </a:cubicBezTo>
                  <a:cubicBezTo>
                    <a:pt x="6271" y="6078"/>
                    <a:pt x="6409" y="6068"/>
                    <a:pt x="6546" y="6063"/>
                  </a:cubicBezTo>
                  <a:cubicBezTo>
                    <a:pt x="6560" y="6063"/>
                    <a:pt x="6568" y="6096"/>
                    <a:pt x="6579" y="6088"/>
                  </a:cubicBezTo>
                  <a:cubicBezTo>
                    <a:pt x="6630" y="6053"/>
                    <a:pt x="6651" y="5984"/>
                    <a:pt x="6704" y="5953"/>
                  </a:cubicBezTo>
                  <a:cubicBezTo>
                    <a:pt x="6756" y="5923"/>
                    <a:pt x="6831" y="5948"/>
                    <a:pt x="6880" y="5913"/>
                  </a:cubicBezTo>
                  <a:cubicBezTo>
                    <a:pt x="6913" y="5890"/>
                    <a:pt x="6899" y="5833"/>
                    <a:pt x="6922" y="5799"/>
                  </a:cubicBezTo>
                  <a:cubicBezTo>
                    <a:pt x="6961" y="5739"/>
                    <a:pt x="7032" y="5702"/>
                    <a:pt x="7064" y="5637"/>
                  </a:cubicBezTo>
                  <a:cubicBezTo>
                    <a:pt x="7083" y="5601"/>
                    <a:pt x="7048" y="5553"/>
                    <a:pt x="7063" y="5515"/>
                  </a:cubicBezTo>
                  <a:cubicBezTo>
                    <a:pt x="7077" y="5477"/>
                    <a:pt x="7114" y="5455"/>
                    <a:pt x="7143" y="5427"/>
                  </a:cubicBezTo>
                  <a:cubicBezTo>
                    <a:pt x="7316" y="5485"/>
                    <a:pt x="7490" y="5537"/>
                    <a:pt x="7666" y="5584"/>
                  </a:cubicBezTo>
                  <a:cubicBezTo>
                    <a:pt x="7567" y="5790"/>
                    <a:pt x="7471" y="5998"/>
                    <a:pt x="7377" y="6207"/>
                  </a:cubicBezTo>
                  <a:cubicBezTo>
                    <a:pt x="7305" y="6211"/>
                    <a:pt x="7234" y="6215"/>
                    <a:pt x="7162" y="6219"/>
                  </a:cubicBezTo>
                  <a:cubicBezTo>
                    <a:pt x="7112" y="6223"/>
                    <a:pt x="6993" y="6267"/>
                    <a:pt x="6962" y="6285"/>
                  </a:cubicBezTo>
                  <a:cubicBezTo>
                    <a:pt x="6930" y="6305"/>
                    <a:pt x="6915" y="6350"/>
                    <a:pt x="6879" y="6362"/>
                  </a:cubicBezTo>
                  <a:cubicBezTo>
                    <a:pt x="6831" y="6379"/>
                    <a:pt x="6778" y="6359"/>
                    <a:pt x="6729" y="6367"/>
                  </a:cubicBezTo>
                  <a:cubicBezTo>
                    <a:pt x="6369" y="6423"/>
                    <a:pt x="6348" y="6486"/>
                    <a:pt x="6072" y="6453"/>
                  </a:cubicBezTo>
                  <a:cubicBezTo>
                    <a:pt x="5953" y="6439"/>
                    <a:pt x="5993" y="6159"/>
                    <a:pt x="5852" y="6290"/>
                  </a:cubicBezTo>
                  <a:cubicBezTo>
                    <a:pt x="5735" y="6399"/>
                    <a:pt x="5695" y="6587"/>
                    <a:pt x="5554" y="6681"/>
                  </a:cubicBezTo>
                  <a:cubicBezTo>
                    <a:pt x="5494" y="6721"/>
                    <a:pt x="5296" y="6759"/>
                    <a:pt x="5246" y="6800"/>
                  </a:cubicBezTo>
                  <a:cubicBezTo>
                    <a:pt x="5214" y="6826"/>
                    <a:pt x="5188" y="6857"/>
                    <a:pt x="5157" y="6883"/>
                  </a:cubicBezTo>
                  <a:cubicBezTo>
                    <a:pt x="5134" y="6902"/>
                    <a:pt x="5104" y="6914"/>
                    <a:pt x="5082" y="6934"/>
                  </a:cubicBezTo>
                  <a:cubicBezTo>
                    <a:pt x="5290" y="6588"/>
                    <a:pt x="5508" y="6248"/>
                    <a:pt x="5736" y="5916"/>
                  </a:cubicBezTo>
                  <a:close/>
                  <a:moveTo>
                    <a:pt x="7321" y="5253"/>
                  </a:moveTo>
                  <a:cubicBezTo>
                    <a:pt x="7444" y="5138"/>
                    <a:pt x="7620" y="5199"/>
                    <a:pt x="7755" y="5079"/>
                  </a:cubicBezTo>
                  <a:cubicBezTo>
                    <a:pt x="7901" y="4951"/>
                    <a:pt x="7757" y="4743"/>
                    <a:pt x="8008" y="4718"/>
                  </a:cubicBezTo>
                  <a:cubicBezTo>
                    <a:pt x="8037" y="4715"/>
                    <a:pt x="8066" y="4721"/>
                    <a:pt x="8093" y="4732"/>
                  </a:cubicBezTo>
                  <a:cubicBezTo>
                    <a:pt x="7995" y="4918"/>
                    <a:pt x="7899" y="5106"/>
                    <a:pt x="7806" y="5295"/>
                  </a:cubicBezTo>
                  <a:cubicBezTo>
                    <a:pt x="7773" y="5361"/>
                    <a:pt x="7741" y="5428"/>
                    <a:pt x="7709" y="5495"/>
                  </a:cubicBezTo>
                  <a:cubicBezTo>
                    <a:pt x="7545" y="5452"/>
                    <a:pt x="7382" y="5403"/>
                    <a:pt x="7221" y="5350"/>
                  </a:cubicBezTo>
                  <a:cubicBezTo>
                    <a:pt x="7254" y="5318"/>
                    <a:pt x="7286" y="5284"/>
                    <a:pt x="7321" y="5253"/>
                  </a:cubicBezTo>
                  <a:close/>
                  <a:moveTo>
                    <a:pt x="7288" y="4044"/>
                  </a:moveTo>
                  <a:cubicBezTo>
                    <a:pt x="7309" y="4091"/>
                    <a:pt x="7387" y="4099"/>
                    <a:pt x="7399" y="4148"/>
                  </a:cubicBezTo>
                  <a:cubicBezTo>
                    <a:pt x="7411" y="4197"/>
                    <a:pt x="7370" y="4246"/>
                    <a:pt x="7349" y="4292"/>
                  </a:cubicBezTo>
                  <a:cubicBezTo>
                    <a:pt x="7311" y="4377"/>
                    <a:pt x="7183" y="4657"/>
                    <a:pt x="7090" y="4703"/>
                  </a:cubicBezTo>
                  <a:cubicBezTo>
                    <a:pt x="7031" y="4733"/>
                    <a:pt x="6957" y="4715"/>
                    <a:pt x="6892" y="4705"/>
                  </a:cubicBezTo>
                  <a:cubicBezTo>
                    <a:pt x="6864" y="4700"/>
                    <a:pt x="6849" y="4663"/>
                    <a:pt x="6821" y="4660"/>
                  </a:cubicBezTo>
                  <a:cubicBezTo>
                    <a:pt x="6772" y="4654"/>
                    <a:pt x="6723" y="4680"/>
                    <a:pt x="6675" y="4677"/>
                  </a:cubicBezTo>
                  <a:cubicBezTo>
                    <a:pt x="6669" y="4677"/>
                    <a:pt x="6664" y="4676"/>
                    <a:pt x="6659" y="4676"/>
                  </a:cubicBezTo>
                  <a:cubicBezTo>
                    <a:pt x="6867" y="4418"/>
                    <a:pt x="7083" y="4167"/>
                    <a:pt x="7306" y="3921"/>
                  </a:cubicBezTo>
                  <a:cubicBezTo>
                    <a:pt x="7314" y="3934"/>
                    <a:pt x="7319" y="3950"/>
                    <a:pt x="7316" y="3964"/>
                  </a:cubicBezTo>
                  <a:cubicBezTo>
                    <a:pt x="7313" y="3993"/>
                    <a:pt x="7277" y="4018"/>
                    <a:pt x="7288" y="4044"/>
                  </a:cubicBezTo>
                  <a:close/>
                  <a:moveTo>
                    <a:pt x="7859" y="3406"/>
                  </a:moveTo>
                  <a:cubicBezTo>
                    <a:pt x="7869" y="3408"/>
                    <a:pt x="7881" y="3423"/>
                    <a:pt x="7887" y="3416"/>
                  </a:cubicBezTo>
                  <a:cubicBezTo>
                    <a:pt x="7919" y="3382"/>
                    <a:pt x="7923" y="3326"/>
                    <a:pt x="7959" y="3296"/>
                  </a:cubicBezTo>
                  <a:cubicBezTo>
                    <a:pt x="7982" y="3277"/>
                    <a:pt x="8227" y="3214"/>
                    <a:pt x="8216" y="3132"/>
                  </a:cubicBezTo>
                  <a:cubicBezTo>
                    <a:pt x="8212" y="3098"/>
                    <a:pt x="8179" y="3081"/>
                    <a:pt x="8146" y="3064"/>
                  </a:cubicBezTo>
                  <a:cubicBezTo>
                    <a:pt x="8289" y="2929"/>
                    <a:pt x="8433" y="2797"/>
                    <a:pt x="8581" y="2669"/>
                  </a:cubicBezTo>
                  <a:cubicBezTo>
                    <a:pt x="8772" y="2746"/>
                    <a:pt x="8985" y="2813"/>
                    <a:pt x="9214" y="2868"/>
                  </a:cubicBezTo>
                  <a:cubicBezTo>
                    <a:pt x="9199" y="2890"/>
                    <a:pt x="9185" y="2912"/>
                    <a:pt x="9170" y="2934"/>
                  </a:cubicBezTo>
                  <a:cubicBezTo>
                    <a:pt x="9163" y="2920"/>
                    <a:pt x="9155" y="2907"/>
                    <a:pt x="9142" y="2906"/>
                  </a:cubicBezTo>
                  <a:cubicBezTo>
                    <a:pt x="9047" y="2902"/>
                    <a:pt x="8952" y="2930"/>
                    <a:pt x="8859" y="2951"/>
                  </a:cubicBezTo>
                  <a:cubicBezTo>
                    <a:pt x="8571" y="3018"/>
                    <a:pt x="8734" y="2994"/>
                    <a:pt x="8512" y="3201"/>
                  </a:cubicBezTo>
                  <a:cubicBezTo>
                    <a:pt x="8496" y="3215"/>
                    <a:pt x="8468" y="3207"/>
                    <a:pt x="8450" y="3218"/>
                  </a:cubicBezTo>
                  <a:cubicBezTo>
                    <a:pt x="8425" y="3233"/>
                    <a:pt x="8410" y="3262"/>
                    <a:pt x="8384" y="3276"/>
                  </a:cubicBezTo>
                  <a:cubicBezTo>
                    <a:pt x="8344" y="3297"/>
                    <a:pt x="8298" y="3308"/>
                    <a:pt x="8254" y="3320"/>
                  </a:cubicBezTo>
                  <a:cubicBezTo>
                    <a:pt x="8205" y="3333"/>
                    <a:pt x="8144" y="3320"/>
                    <a:pt x="8105" y="3352"/>
                  </a:cubicBezTo>
                  <a:cubicBezTo>
                    <a:pt x="8074" y="3378"/>
                    <a:pt x="8103" y="3443"/>
                    <a:pt x="8071" y="3469"/>
                  </a:cubicBezTo>
                  <a:cubicBezTo>
                    <a:pt x="8027" y="3506"/>
                    <a:pt x="7956" y="3491"/>
                    <a:pt x="7905" y="3519"/>
                  </a:cubicBezTo>
                  <a:cubicBezTo>
                    <a:pt x="7881" y="3532"/>
                    <a:pt x="7881" y="3570"/>
                    <a:pt x="7859" y="3585"/>
                  </a:cubicBezTo>
                  <a:cubicBezTo>
                    <a:pt x="7781" y="3640"/>
                    <a:pt x="7721" y="3583"/>
                    <a:pt x="7656" y="3547"/>
                  </a:cubicBezTo>
                  <a:cubicBezTo>
                    <a:pt x="7706" y="3496"/>
                    <a:pt x="7755" y="3445"/>
                    <a:pt x="7805" y="3395"/>
                  </a:cubicBezTo>
                  <a:cubicBezTo>
                    <a:pt x="7823" y="3399"/>
                    <a:pt x="7841" y="3403"/>
                    <a:pt x="7859" y="3406"/>
                  </a:cubicBezTo>
                  <a:close/>
                  <a:moveTo>
                    <a:pt x="7997" y="2488"/>
                  </a:moveTo>
                  <a:cubicBezTo>
                    <a:pt x="8025" y="2471"/>
                    <a:pt x="8079" y="2451"/>
                    <a:pt x="8105" y="2429"/>
                  </a:cubicBezTo>
                  <a:cubicBezTo>
                    <a:pt x="8217" y="2500"/>
                    <a:pt x="8343" y="2567"/>
                    <a:pt x="8482" y="2627"/>
                  </a:cubicBezTo>
                  <a:cubicBezTo>
                    <a:pt x="8344" y="2748"/>
                    <a:pt x="8209" y="2872"/>
                    <a:pt x="8075" y="2998"/>
                  </a:cubicBezTo>
                  <a:cubicBezTo>
                    <a:pt x="8077" y="2982"/>
                    <a:pt x="8087" y="2964"/>
                    <a:pt x="8082" y="2949"/>
                  </a:cubicBezTo>
                  <a:cubicBezTo>
                    <a:pt x="8061" y="2891"/>
                    <a:pt x="8011" y="2845"/>
                    <a:pt x="7995" y="2785"/>
                  </a:cubicBezTo>
                  <a:cubicBezTo>
                    <a:pt x="7979" y="2721"/>
                    <a:pt x="8028" y="2638"/>
                    <a:pt x="7987" y="2586"/>
                  </a:cubicBezTo>
                  <a:cubicBezTo>
                    <a:pt x="7952" y="2542"/>
                    <a:pt x="7813" y="2619"/>
                    <a:pt x="7819" y="2563"/>
                  </a:cubicBezTo>
                  <a:cubicBezTo>
                    <a:pt x="7825" y="2499"/>
                    <a:pt x="7941" y="2521"/>
                    <a:pt x="7997" y="2488"/>
                  </a:cubicBezTo>
                  <a:close/>
                  <a:moveTo>
                    <a:pt x="9665" y="1577"/>
                  </a:moveTo>
                  <a:cubicBezTo>
                    <a:pt x="9657" y="1582"/>
                    <a:pt x="9693" y="1595"/>
                    <a:pt x="9685" y="1600"/>
                  </a:cubicBezTo>
                  <a:cubicBezTo>
                    <a:pt x="9639" y="1627"/>
                    <a:pt x="9568" y="1627"/>
                    <a:pt x="9496" y="1628"/>
                  </a:cubicBezTo>
                  <a:cubicBezTo>
                    <a:pt x="9604" y="1581"/>
                    <a:pt x="9712" y="1537"/>
                    <a:pt x="9821" y="1494"/>
                  </a:cubicBezTo>
                  <a:cubicBezTo>
                    <a:pt x="9774" y="1512"/>
                    <a:pt x="9724" y="1537"/>
                    <a:pt x="9665" y="1577"/>
                  </a:cubicBezTo>
                  <a:close/>
                  <a:moveTo>
                    <a:pt x="9167" y="1906"/>
                  </a:moveTo>
                  <a:cubicBezTo>
                    <a:pt x="9229" y="1918"/>
                    <a:pt x="9369" y="1869"/>
                    <a:pt x="9366" y="1921"/>
                  </a:cubicBezTo>
                  <a:cubicBezTo>
                    <a:pt x="9338" y="1941"/>
                    <a:pt x="9310" y="1962"/>
                    <a:pt x="9282" y="1983"/>
                  </a:cubicBezTo>
                  <a:cubicBezTo>
                    <a:pt x="9191" y="2015"/>
                    <a:pt x="9063" y="2044"/>
                    <a:pt x="9081" y="2134"/>
                  </a:cubicBezTo>
                  <a:cubicBezTo>
                    <a:pt x="8904" y="2271"/>
                    <a:pt x="8732" y="2412"/>
                    <a:pt x="8563" y="2557"/>
                  </a:cubicBezTo>
                  <a:cubicBezTo>
                    <a:pt x="8553" y="2553"/>
                    <a:pt x="8542" y="2548"/>
                    <a:pt x="8531" y="2544"/>
                  </a:cubicBezTo>
                  <a:cubicBezTo>
                    <a:pt x="8373" y="2476"/>
                    <a:pt x="8234" y="2400"/>
                    <a:pt x="8113" y="2319"/>
                  </a:cubicBezTo>
                  <a:cubicBezTo>
                    <a:pt x="8486" y="2105"/>
                    <a:pt x="8866" y="1911"/>
                    <a:pt x="9252" y="1735"/>
                  </a:cubicBezTo>
                  <a:cubicBezTo>
                    <a:pt x="9281" y="1747"/>
                    <a:pt x="9378" y="1723"/>
                    <a:pt x="9405" y="1757"/>
                  </a:cubicBezTo>
                  <a:cubicBezTo>
                    <a:pt x="9425" y="1780"/>
                    <a:pt x="9354" y="1800"/>
                    <a:pt x="9347" y="1829"/>
                  </a:cubicBezTo>
                  <a:cubicBezTo>
                    <a:pt x="9280" y="1845"/>
                    <a:pt x="9214" y="1864"/>
                    <a:pt x="9149" y="1886"/>
                  </a:cubicBezTo>
                  <a:cubicBezTo>
                    <a:pt x="9140" y="1889"/>
                    <a:pt x="9158" y="1904"/>
                    <a:pt x="9167" y="1906"/>
                  </a:cubicBezTo>
                  <a:close/>
                  <a:moveTo>
                    <a:pt x="9388" y="2940"/>
                  </a:moveTo>
                  <a:cubicBezTo>
                    <a:pt x="9359" y="2974"/>
                    <a:pt x="9309" y="2978"/>
                    <a:pt x="9259" y="2974"/>
                  </a:cubicBezTo>
                  <a:cubicBezTo>
                    <a:pt x="9277" y="2948"/>
                    <a:pt x="9294" y="2922"/>
                    <a:pt x="9312" y="2896"/>
                  </a:cubicBezTo>
                  <a:cubicBezTo>
                    <a:pt x="9352" y="2911"/>
                    <a:pt x="9409" y="2916"/>
                    <a:pt x="9388" y="2940"/>
                  </a:cubicBezTo>
                  <a:close/>
                  <a:moveTo>
                    <a:pt x="9542" y="2404"/>
                  </a:moveTo>
                  <a:cubicBezTo>
                    <a:pt x="9539" y="2393"/>
                    <a:pt x="9549" y="2391"/>
                    <a:pt x="9562" y="2390"/>
                  </a:cubicBezTo>
                  <a:cubicBezTo>
                    <a:pt x="9557" y="2397"/>
                    <a:pt x="9551" y="2405"/>
                    <a:pt x="9545" y="2412"/>
                  </a:cubicBezTo>
                  <a:cubicBezTo>
                    <a:pt x="9545" y="2412"/>
                    <a:pt x="9545" y="2412"/>
                    <a:pt x="9545" y="2412"/>
                  </a:cubicBezTo>
                  <a:cubicBezTo>
                    <a:pt x="9546" y="2432"/>
                    <a:pt x="9444" y="2409"/>
                    <a:pt x="9420" y="2439"/>
                  </a:cubicBezTo>
                  <a:cubicBezTo>
                    <a:pt x="9355" y="2520"/>
                    <a:pt x="9321" y="2624"/>
                    <a:pt x="9288" y="2723"/>
                  </a:cubicBezTo>
                  <a:cubicBezTo>
                    <a:pt x="9282" y="2742"/>
                    <a:pt x="9277" y="2762"/>
                    <a:pt x="9273" y="2783"/>
                  </a:cubicBezTo>
                  <a:cubicBezTo>
                    <a:pt x="9053" y="2732"/>
                    <a:pt x="8848" y="2669"/>
                    <a:pt x="8664" y="2598"/>
                  </a:cubicBezTo>
                  <a:cubicBezTo>
                    <a:pt x="8815" y="2469"/>
                    <a:pt x="8969" y="2343"/>
                    <a:pt x="9126" y="2221"/>
                  </a:cubicBezTo>
                  <a:cubicBezTo>
                    <a:pt x="9249" y="2366"/>
                    <a:pt x="9471" y="2175"/>
                    <a:pt x="9575" y="2114"/>
                  </a:cubicBezTo>
                  <a:cubicBezTo>
                    <a:pt x="9613" y="2092"/>
                    <a:pt x="9660" y="2087"/>
                    <a:pt x="9697" y="2062"/>
                  </a:cubicBezTo>
                  <a:cubicBezTo>
                    <a:pt x="9712" y="2051"/>
                    <a:pt x="9709" y="2002"/>
                    <a:pt x="9724" y="2013"/>
                  </a:cubicBezTo>
                  <a:cubicBezTo>
                    <a:pt x="9766" y="2046"/>
                    <a:pt x="9784" y="2073"/>
                    <a:pt x="9790" y="2098"/>
                  </a:cubicBezTo>
                  <a:cubicBezTo>
                    <a:pt x="9734" y="2167"/>
                    <a:pt x="9679" y="2237"/>
                    <a:pt x="9625" y="2307"/>
                  </a:cubicBezTo>
                  <a:cubicBezTo>
                    <a:pt x="9624" y="2308"/>
                    <a:pt x="9623" y="2309"/>
                    <a:pt x="9623" y="2310"/>
                  </a:cubicBezTo>
                  <a:cubicBezTo>
                    <a:pt x="9571" y="2322"/>
                    <a:pt x="9528" y="2369"/>
                    <a:pt x="9478" y="2389"/>
                  </a:cubicBezTo>
                  <a:cubicBezTo>
                    <a:pt x="9476" y="2390"/>
                    <a:pt x="9474" y="2390"/>
                    <a:pt x="9472" y="2391"/>
                  </a:cubicBezTo>
                  <a:cubicBezTo>
                    <a:pt x="9500" y="2385"/>
                    <a:pt x="9526" y="2384"/>
                    <a:pt x="9542" y="2404"/>
                  </a:cubicBezTo>
                  <a:close/>
                  <a:moveTo>
                    <a:pt x="10132" y="1377"/>
                  </a:moveTo>
                  <a:cubicBezTo>
                    <a:pt x="10011" y="1444"/>
                    <a:pt x="9925" y="1455"/>
                    <a:pt x="9825" y="1493"/>
                  </a:cubicBezTo>
                  <a:cubicBezTo>
                    <a:pt x="9927" y="1453"/>
                    <a:pt x="10029" y="1414"/>
                    <a:pt x="10132" y="1377"/>
                  </a:cubicBezTo>
                  <a:close/>
                  <a:moveTo>
                    <a:pt x="8027" y="2258"/>
                  </a:moveTo>
                  <a:cubicBezTo>
                    <a:pt x="7915" y="2174"/>
                    <a:pt x="7824" y="2084"/>
                    <a:pt x="7757" y="1992"/>
                  </a:cubicBezTo>
                  <a:cubicBezTo>
                    <a:pt x="7889" y="1938"/>
                    <a:pt x="8021" y="1886"/>
                    <a:pt x="8155" y="1837"/>
                  </a:cubicBezTo>
                  <a:cubicBezTo>
                    <a:pt x="8794" y="1600"/>
                    <a:pt x="9447" y="1418"/>
                    <a:pt x="10112" y="1280"/>
                  </a:cubicBezTo>
                  <a:cubicBezTo>
                    <a:pt x="9397" y="1539"/>
                    <a:pt x="8699" y="1869"/>
                    <a:pt x="8027" y="2258"/>
                  </a:cubicBezTo>
                  <a:close/>
                  <a:moveTo>
                    <a:pt x="7676" y="2748"/>
                  </a:moveTo>
                  <a:cubicBezTo>
                    <a:pt x="7715" y="2770"/>
                    <a:pt x="7776" y="2687"/>
                    <a:pt x="7807" y="2719"/>
                  </a:cubicBezTo>
                  <a:cubicBezTo>
                    <a:pt x="7836" y="2750"/>
                    <a:pt x="7781" y="2800"/>
                    <a:pt x="7765" y="2840"/>
                  </a:cubicBezTo>
                  <a:cubicBezTo>
                    <a:pt x="7746" y="2886"/>
                    <a:pt x="7744" y="2948"/>
                    <a:pt x="7702" y="2975"/>
                  </a:cubicBezTo>
                  <a:cubicBezTo>
                    <a:pt x="7514" y="3097"/>
                    <a:pt x="7599" y="2797"/>
                    <a:pt x="7417" y="3042"/>
                  </a:cubicBezTo>
                  <a:cubicBezTo>
                    <a:pt x="7348" y="3134"/>
                    <a:pt x="7308" y="3290"/>
                    <a:pt x="7473" y="3288"/>
                  </a:cubicBezTo>
                  <a:cubicBezTo>
                    <a:pt x="7524" y="3287"/>
                    <a:pt x="7587" y="3190"/>
                    <a:pt x="7617" y="3232"/>
                  </a:cubicBezTo>
                  <a:cubicBezTo>
                    <a:pt x="7646" y="3273"/>
                    <a:pt x="7541" y="3303"/>
                    <a:pt x="7493" y="3317"/>
                  </a:cubicBezTo>
                  <a:cubicBezTo>
                    <a:pt x="7453" y="3329"/>
                    <a:pt x="7039" y="3266"/>
                    <a:pt x="7507" y="3441"/>
                  </a:cubicBezTo>
                  <a:cubicBezTo>
                    <a:pt x="7532" y="3450"/>
                    <a:pt x="7554" y="3416"/>
                    <a:pt x="7578" y="3406"/>
                  </a:cubicBezTo>
                  <a:cubicBezTo>
                    <a:pt x="7609" y="3395"/>
                    <a:pt x="7639" y="3376"/>
                    <a:pt x="7671" y="3376"/>
                  </a:cubicBezTo>
                  <a:cubicBezTo>
                    <a:pt x="7677" y="3376"/>
                    <a:pt x="7682" y="3377"/>
                    <a:pt x="7687" y="3377"/>
                  </a:cubicBezTo>
                  <a:cubicBezTo>
                    <a:pt x="7639" y="3426"/>
                    <a:pt x="7590" y="3476"/>
                    <a:pt x="7542" y="3526"/>
                  </a:cubicBezTo>
                  <a:cubicBezTo>
                    <a:pt x="7541" y="3527"/>
                    <a:pt x="7541" y="3527"/>
                    <a:pt x="7540" y="3527"/>
                  </a:cubicBezTo>
                  <a:cubicBezTo>
                    <a:pt x="7415" y="3569"/>
                    <a:pt x="7302" y="3640"/>
                    <a:pt x="7180" y="3688"/>
                  </a:cubicBezTo>
                  <a:cubicBezTo>
                    <a:pt x="7139" y="3704"/>
                    <a:pt x="7035" y="3681"/>
                    <a:pt x="7053" y="3721"/>
                  </a:cubicBezTo>
                  <a:cubicBezTo>
                    <a:pt x="7083" y="3790"/>
                    <a:pt x="7160" y="3824"/>
                    <a:pt x="7227" y="3865"/>
                  </a:cubicBezTo>
                  <a:cubicBezTo>
                    <a:pt x="6991" y="4125"/>
                    <a:pt x="6764" y="4391"/>
                    <a:pt x="6545" y="4664"/>
                  </a:cubicBezTo>
                  <a:cubicBezTo>
                    <a:pt x="6400" y="4646"/>
                    <a:pt x="6256" y="4618"/>
                    <a:pt x="6111" y="4614"/>
                  </a:cubicBezTo>
                  <a:cubicBezTo>
                    <a:pt x="6076" y="4613"/>
                    <a:pt x="6002" y="4658"/>
                    <a:pt x="5963" y="4681"/>
                  </a:cubicBezTo>
                  <a:cubicBezTo>
                    <a:pt x="5959" y="4684"/>
                    <a:pt x="5949" y="4684"/>
                    <a:pt x="5949" y="4690"/>
                  </a:cubicBezTo>
                  <a:cubicBezTo>
                    <a:pt x="5953" y="4727"/>
                    <a:pt x="5972" y="4764"/>
                    <a:pt x="5978" y="4801"/>
                  </a:cubicBezTo>
                  <a:cubicBezTo>
                    <a:pt x="5763" y="4674"/>
                    <a:pt x="5550" y="4529"/>
                    <a:pt x="5361" y="4364"/>
                  </a:cubicBezTo>
                  <a:cubicBezTo>
                    <a:pt x="5787" y="3965"/>
                    <a:pt x="6236" y="3591"/>
                    <a:pt x="6702" y="3245"/>
                  </a:cubicBezTo>
                  <a:cubicBezTo>
                    <a:pt x="6744" y="3253"/>
                    <a:pt x="6795" y="3230"/>
                    <a:pt x="6838" y="3220"/>
                  </a:cubicBezTo>
                  <a:cubicBezTo>
                    <a:pt x="6924" y="3199"/>
                    <a:pt x="7004" y="3157"/>
                    <a:pt x="7090" y="3136"/>
                  </a:cubicBezTo>
                  <a:cubicBezTo>
                    <a:pt x="7111" y="3130"/>
                    <a:pt x="7140" y="3155"/>
                    <a:pt x="7155" y="3139"/>
                  </a:cubicBezTo>
                  <a:cubicBezTo>
                    <a:pt x="7232" y="3050"/>
                    <a:pt x="7283" y="2940"/>
                    <a:pt x="7347" y="2841"/>
                  </a:cubicBezTo>
                  <a:cubicBezTo>
                    <a:pt x="7347" y="2841"/>
                    <a:pt x="7351" y="2817"/>
                    <a:pt x="7353" y="2788"/>
                  </a:cubicBezTo>
                  <a:cubicBezTo>
                    <a:pt x="7465" y="2714"/>
                    <a:pt x="7578" y="2642"/>
                    <a:pt x="7692" y="2571"/>
                  </a:cubicBezTo>
                  <a:cubicBezTo>
                    <a:pt x="7669" y="2629"/>
                    <a:pt x="7622" y="2716"/>
                    <a:pt x="7676" y="2748"/>
                  </a:cubicBezTo>
                  <a:close/>
                  <a:moveTo>
                    <a:pt x="3044" y="6915"/>
                  </a:moveTo>
                  <a:cubicBezTo>
                    <a:pt x="2771" y="6600"/>
                    <a:pt x="2557" y="6244"/>
                    <a:pt x="2435" y="5845"/>
                  </a:cubicBezTo>
                  <a:cubicBezTo>
                    <a:pt x="3104" y="5041"/>
                    <a:pt x="3882" y="4319"/>
                    <a:pt x="4712" y="3703"/>
                  </a:cubicBezTo>
                  <a:cubicBezTo>
                    <a:pt x="4829" y="3949"/>
                    <a:pt x="5007" y="4170"/>
                    <a:pt x="5218" y="4366"/>
                  </a:cubicBezTo>
                  <a:cubicBezTo>
                    <a:pt x="4403" y="5139"/>
                    <a:pt x="3669" y="5999"/>
                    <a:pt x="3044" y="6915"/>
                  </a:cubicBezTo>
                  <a:close/>
                  <a:moveTo>
                    <a:pt x="3047" y="11667"/>
                  </a:moveTo>
                  <a:cubicBezTo>
                    <a:pt x="3057" y="11633"/>
                    <a:pt x="3067" y="11599"/>
                    <a:pt x="3076" y="11565"/>
                  </a:cubicBezTo>
                  <a:cubicBezTo>
                    <a:pt x="3098" y="11559"/>
                    <a:pt x="3117" y="11557"/>
                    <a:pt x="3128" y="11574"/>
                  </a:cubicBezTo>
                  <a:cubicBezTo>
                    <a:pt x="3151" y="11608"/>
                    <a:pt x="3075" y="11632"/>
                    <a:pt x="3047" y="11667"/>
                  </a:cubicBezTo>
                  <a:close/>
                  <a:moveTo>
                    <a:pt x="3118" y="9436"/>
                  </a:moveTo>
                  <a:cubicBezTo>
                    <a:pt x="3150" y="9491"/>
                    <a:pt x="3218" y="9532"/>
                    <a:pt x="3220" y="9595"/>
                  </a:cubicBezTo>
                  <a:cubicBezTo>
                    <a:pt x="3225" y="9792"/>
                    <a:pt x="3175" y="9988"/>
                    <a:pt x="3138" y="10181"/>
                  </a:cubicBezTo>
                  <a:cubicBezTo>
                    <a:pt x="3103" y="10360"/>
                    <a:pt x="3076" y="10284"/>
                    <a:pt x="3028" y="10426"/>
                  </a:cubicBezTo>
                  <a:cubicBezTo>
                    <a:pt x="2976" y="10578"/>
                    <a:pt x="3034" y="10582"/>
                    <a:pt x="2916" y="10735"/>
                  </a:cubicBezTo>
                  <a:cubicBezTo>
                    <a:pt x="2888" y="10772"/>
                    <a:pt x="2825" y="10775"/>
                    <a:pt x="2803" y="10816"/>
                  </a:cubicBezTo>
                  <a:cubicBezTo>
                    <a:pt x="2793" y="10835"/>
                    <a:pt x="2840" y="10838"/>
                    <a:pt x="2853" y="10854"/>
                  </a:cubicBezTo>
                  <a:cubicBezTo>
                    <a:pt x="2929" y="10952"/>
                    <a:pt x="3054" y="11035"/>
                    <a:pt x="3097" y="11146"/>
                  </a:cubicBezTo>
                  <a:cubicBezTo>
                    <a:pt x="3091" y="11167"/>
                    <a:pt x="3084" y="11189"/>
                    <a:pt x="3077" y="11210"/>
                  </a:cubicBezTo>
                  <a:cubicBezTo>
                    <a:pt x="2519" y="10833"/>
                    <a:pt x="2007" y="10385"/>
                    <a:pt x="1605" y="9853"/>
                  </a:cubicBezTo>
                  <a:cubicBezTo>
                    <a:pt x="1969" y="8894"/>
                    <a:pt x="2461" y="7957"/>
                    <a:pt x="3055" y="7071"/>
                  </a:cubicBezTo>
                  <a:cubicBezTo>
                    <a:pt x="3365" y="7407"/>
                    <a:pt x="3737" y="7694"/>
                    <a:pt x="4127" y="7939"/>
                  </a:cubicBezTo>
                  <a:cubicBezTo>
                    <a:pt x="4069" y="8002"/>
                    <a:pt x="4057" y="8124"/>
                    <a:pt x="3991" y="8166"/>
                  </a:cubicBezTo>
                  <a:cubicBezTo>
                    <a:pt x="3940" y="8199"/>
                    <a:pt x="3882" y="8219"/>
                    <a:pt x="3830" y="8249"/>
                  </a:cubicBezTo>
                  <a:cubicBezTo>
                    <a:pt x="3699" y="8326"/>
                    <a:pt x="3737" y="8501"/>
                    <a:pt x="3658" y="8600"/>
                  </a:cubicBezTo>
                  <a:cubicBezTo>
                    <a:pt x="3608" y="8663"/>
                    <a:pt x="3541" y="8710"/>
                    <a:pt x="3478" y="8761"/>
                  </a:cubicBezTo>
                  <a:cubicBezTo>
                    <a:pt x="3478" y="8762"/>
                    <a:pt x="3478" y="8761"/>
                    <a:pt x="3478" y="8762"/>
                  </a:cubicBezTo>
                  <a:cubicBezTo>
                    <a:pt x="3419" y="8875"/>
                    <a:pt x="3369" y="8998"/>
                    <a:pt x="3284" y="9093"/>
                  </a:cubicBezTo>
                  <a:cubicBezTo>
                    <a:pt x="3259" y="9121"/>
                    <a:pt x="3223" y="9138"/>
                    <a:pt x="3199" y="9167"/>
                  </a:cubicBezTo>
                  <a:cubicBezTo>
                    <a:pt x="3188" y="9180"/>
                    <a:pt x="3188" y="9199"/>
                    <a:pt x="3182" y="9216"/>
                  </a:cubicBezTo>
                  <a:cubicBezTo>
                    <a:pt x="3158" y="9289"/>
                    <a:pt x="3080" y="9370"/>
                    <a:pt x="3118" y="9436"/>
                  </a:cubicBezTo>
                  <a:close/>
                  <a:moveTo>
                    <a:pt x="4902" y="7239"/>
                  </a:moveTo>
                  <a:cubicBezTo>
                    <a:pt x="4831" y="7445"/>
                    <a:pt x="4906" y="7456"/>
                    <a:pt x="4694" y="7658"/>
                  </a:cubicBezTo>
                  <a:cubicBezTo>
                    <a:pt x="4668" y="7682"/>
                    <a:pt x="4652" y="7697"/>
                    <a:pt x="4642" y="7706"/>
                  </a:cubicBezTo>
                  <a:cubicBezTo>
                    <a:pt x="4726" y="7549"/>
                    <a:pt x="4813" y="7393"/>
                    <a:pt x="4902" y="7239"/>
                  </a:cubicBezTo>
                  <a:close/>
                  <a:moveTo>
                    <a:pt x="5059" y="6972"/>
                  </a:moveTo>
                  <a:cubicBezTo>
                    <a:pt x="5055" y="6991"/>
                    <a:pt x="5054" y="7012"/>
                    <a:pt x="5044" y="7027"/>
                  </a:cubicBezTo>
                  <a:cubicBezTo>
                    <a:pt x="5032" y="7046"/>
                    <a:pt x="5015" y="7061"/>
                    <a:pt x="4998" y="7076"/>
                  </a:cubicBezTo>
                  <a:cubicBezTo>
                    <a:pt x="5018" y="7041"/>
                    <a:pt x="5039" y="7007"/>
                    <a:pt x="5059" y="6972"/>
                  </a:cubicBezTo>
                  <a:close/>
                  <a:moveTo>
                    <a:pt x="4478" y="7808"/>
                  </a:moveTo>
                  <a:cubicBezTo>
                    <a:pt x="4461" y="7830"/>
                    <a:pt x="4444" y="7852"/>
                    <a:pt x="4418" y="7860"/>
                  </a:cubicBezTo>
                  <a:cubicBezTo>
                    <a:pt x="4358" y="7878"/>
                    <a:pt x="4293" y="7879"/>
                    <a:pt x="4231" y="7891"/>
                  </a:cubicBezTo>
                  <a:cubicBezTo>
                    <a:pt x="3821" y="7638"/>
                    <a:pt x="3430" y="7340"/>
                    <a:pt x="3110" y="6990"/>
                  </a:cubicBezTo>
                  <a:cubicBezTo>
                    <a:pt x="3736" y="6069"/>
                    <a:pt x="4472" y="5206"/>
                    <a:pt x="5290" y="4431"/>
                  </a:cubicBezTo>
                  <a:cubicBezTo>
                    <a:pt x="5490" y="4606"/>
                    <a:pt x="5715" y="4759"/>
                    <a:pt x="5942" y="4891"/>
                  </a:cubicBezTo>
                  <a:cubicBezTo>
                    <a:pt x="5936" y="4898"/>
                    <a:pt x="5930" y="4904"/>
                    <a:pt x="5927" y="4912"/>
                  </a:cubicBezTo>
                  <a:cubicBezTo>
                    <a:pt x="5858" y="5062"/>
                    <a:pt x="5866" y="5151"/>
                    <a:pt x="5763" y="5283"/>
                  </a:cubicBezTo>
                  <a:cubicBezTo>
                    <a:pt x="5721" y="5336"/>
                    <a:pt x="5540" y="5477"/>
                    <a:pt x="5538" y="5561"/>
                  </a:cubicBezTo>
                  <a:cubicBezTo>
                    <a:pt x="5538" y="5589"/>
                    <a:pt x="5597" y="5590"/>
                    <a:pt x="5601" y="5618"/>
                  </a:cubicBezTo>
                  <a:cubicBezTo>
                    <a:pt x="5610" y="5671"/>
                    <a:pt x="5568" y="5724"/>
                    <a:pt x="5573" y="5778"/>
                  </a:cubicBezTo>
                  <a:cubicBezTo>
                    <a:pt x="5583" y="5874"/>
                    <a:pt x="5589" y="5926"/>
                    <a:pt x="5595" y="5953"/>
                  </a:cubicBezTo>
                  <a:cubicBezTo>
                    <a:pt x="5190" y="6549"/>
                    <a:pt x="4817" y="7169"/>
                    <a:pt x="4478" y="7808"/>
                  </a:cubicBezTo>
                  <a:close/>
                  <a:moveTo>
                    <a:pt x="8253" y="14993"/>
                  </a:moveTo>
                  <a:cubicBezTo>
                    <a:pt x="8253" y="15063"/>
                    <a:pt x="8166" y="15105"/>
                    <a:pt x="8141" y="15170"/>
                  </a:cubicBezTo>
                  <a:cubicBezTo>
                    <a:pt x="8126" y="15208"/>
                    <a:pt x="8165" y="15260"/>
                    <a:pt x="8140" y="15291"/>
                  </a:cubicBezTo>
                  <a:cubicBezTo>
                    <a:pt x="8109" y="15329"/>
                    <a:pt x="8019" y="15297"/>
                    <a:pt x="8002" y="15343"/>
                  </a:cubicBezTo>
                  <a:cubicBezTo>
                    <a:pt x="7984" y="15392"/>
                    <a:pt x="8047" y="15436"/>
                    <a:pt x="8070" y="15483"/>
                  </a:cubicBezTo>
                  <a:cubicBezTo>
                    <a:pt x="8093" y="15530"/>
                    <a:pt x="8108" y="15582"/>
                    <a:pt x="8139" y="15625"/>
                  </a:cubicBezTo>
                  <a:cubicBezTo>
                    <a:pt x="8140" y="15627"/>
                    <a:pt x="8142" y="15628"/>
                    <a:pt x="8143" y="15630"/>
                  </a:cubicBezTo>
                  <a:cubicBezTo>
                    <a:pt x="8178" y="15656"/>
                    <a:pt x="8216" y="15678"/>
                    <a:pt x="8253" y="15702"/>
                  </a:cubicBezTo>
                  <a:cubicBezTo>
                    <a:pt x="8253" y="15721"/>
                    <a:pt x="8253" y="15741"/>
                    <a:pt x="8253" y="15760"/>
                  </a:cubicBezTo>
                  <a:cubicBezTo>
                    <a:pt x="8251" y="15761"/>
                    <a:pt x="8251" y="15763"/>
                    <a:pt x="8252" y="15767"/>
                  </a:cubicBezTo>
                  <a:cubicBezTo>
                    <a:pt x="8252" y="15768"/>
                    <a:pt x="8252" y="15768"/>
                    <a:pt x="8253" y="15769"/>
                  </a:cubicBezTo>
                  <a:cubicBezTo>
                    <a:pt x="8251" y="16000"/>
                    <a:pt x="8249" y="16231"/>
                    <a:pt x="8247" y="16462"/>
                  </a:cubicBezTo>
                  <a:cubicBezTo>
                    <a:pt x="7790" y="16398"/>
                    <a:pt x="7334" y="16299"/>
                    <a:pt x="6883" y="16193"/>
                  </a:cubicBezTo>
                  <a:cubicBezTo>
                    <a:pt x="6304" y="16058"/>
                    <a:pt x="5703" y="15877"/>
                    <a:pt x="5109" y="15648"/>
                  </a:cubicBezTo>
                  <a:cubicBezTo>
                    <a:pt x="5110" y="15531"/>
                    <a:pt x="5111" y="15414"/>
                    <a:pt x="5112" y="15296"/>
                  </a:cubicBezTo>
                  <a:cubicBezTo>
                    <a:pt x="5117" y="14907"/>
                    <a:pt x="5186" y="14517"/>
                    <a:pt x="5228" y="14122"/>
                  </a:cubicBezTo>
                  <a:cubicBezTo>
                    <a:pt x="5244" y="13966"/>
                    <a:pt x="5265" y="13809"/>
                    <a:pt x="5287" y="13653"/>
                  </a:cubicBezTo>
                  <a:cubicBezTo>
                    <a:pt x="5307" y="13658"/>
                    <a:pt x="5327" y="13662"/>
                    <a:pt x="5347" y="13667"/>
                  </a:cubicBezTo>
                  <a:cubicBezTo>
                    <a:pt x="5364" y="13672"/>
                    <a:pt x="5280" y="13667"/>
                    <a:pt x="5295" y="13678"/>
                  </a:cubicBezTo>
                  <a:cubicBezTo>
                    <a:pt x="5342" y="13711"/>
                    <a:pt x="5406" y="13716"/>
                    <a:pt x="5457" y="13745"/>
                  </a:cubicBezTo>
                  <a:cubicBezTo>
                    <a:pt x="5479" y="13757"/>
                    <a:pt x="5485" y="13797"/>
                    <a:pt x="5510" y="13797"/>
                  </a:cubicBezTo>
                  <a:cubicBezTo>
                    <a:pt x="5571" y="13796"/>
                    <a:pt x="5627" y="13761"/>
                    <a:pt x="5685" y="13743"/>
                  </a:cubicBezTo>
                  <a:cubicBezTo>
                    <a:pt x="5777" y="13715"/>
                    <a:pt x="5868" y="13680"/>
                    <a:pt x="5962" y="13660"/>
                  </a:cubicBezTo>
                  <a:cubicBezTo>
                    <a:pt x="6012" y="13649"/>
                    <a:pt x="6065" y="13657"/>
                    <a:pt x="6117" y="13651"/>
                  </a:cubicBezTo>
                  <a:cubicBezTo>
                    <a:pt x="6322" y="13627"/>
                    <a:pt x="6526" y="13588"/>
                    <a:pt x="6732" y="13571"/>
                  </a:cubicBezTo>
                  <a:cubicBezTo>
                    <a:pt x="6941" y="13554"/>
                    <a:pt x="7095" y="13690"/>
                    <a:pt x="7175" y="13876"/>
                  </a:cubicBezTo>
                  <a:cubicBezTo>
                    <a:pt x="7192" y="13914"/>
                    <a:pt x="7182" y="13964"/>
                    <a:pt x="7207" y="13998"/>
                  </a:cubicBezTo>
                  <a:cubicBezTo>
                    <a:pt x="7244" y="14048"/>
                    <a:pt x="7309" y="14071"/>
                    <a:pt x="7352" y="14116"/>
                  </a:cubicBezTo>
                  <a:cubicBezTo>
                    <a:pt x="7361" y="14125"/>
                    <a:pt x="7346" y="14158"/>
                    <a:pt x="7357" y="14152"/>
                  </a:cubicBezTo>
                  <a:cubicBezTo>
                    <a:pt x="7411" y="14121"/>
                    <a:pt x="7439" y="14033"/>
                    <a:pt x="7502" y="14032"/>
                  </a:cubicBezTo>
                  <a:cubicBezTo>
                    <a:pt x="7547" y="14031"/>
                    <a:pt x="7531" y="14127"/>
                    <a:pt x="7570" y="14149"/>
                  </a:cubicBezTo>
                  <a:cubicBezTo>
                    <a:pt x="7594" y="14163"/>
                    <a:pt x="7557" y="14093"/>
                    <a:pt x="7562" y="14065"/>
                  </a:cubicBezTo>
                  <a:cubicBezTo>
                    <a:pt x="7563" y="14057"/>
                    <a:pt x="7579" y="14054"/>
                    <a:pt x="7585" y="14059"/>
                  </a:cubicBezTo>
                  <a:cubicBezTo>
                    <a:pt x="7607" y="14076"/>
                    <a:pt x="7610" y="14118"/>
                    <a:pt x="7637" y="14124"/>
                  </a:cubicBezTo>
                  <a:cubicBezTo>
                    <a:pt x="7662" y="14128"/>
                    <a:pt x="7676" y="14080"/>
                    <a:pt x="7701" y="14082"/>
                  </a:cubicBezTo>
                  <a:cubicBezTo>
                    <a:pt x="7720" y="14084"/>
                    <a:pt x="7710" y="14126"/>
                    <a:pt x="7729" y="14132"/>
                  </a:cubicBezTo>
                  <a:cubicBezTo>
                    <a:pt x="7778" y="14146"/>
                    <a:pt x="7842" y="14166"/>
                    <a:pt x="7881" y="14133"/>
                  </a:cubicBezTo>
                  <a:cubicBezTo>
                    <a:pt x="7909" y="14110"/>
                    <a:pt x="7824" y="14050"/>
                    <a:pt x="7853" y="14027"/>
                  </a:cubicBezTo>
                  <a:cubicBezTo>
                    <a:pt x="7874" y="14010"/>
                    <a:pt x="8029" y="14142"/>
                    <a:pt x="8034" y="14149"/>
                  </a:cubicBezTo>
                  <a:cubicBezTo>
                    <a:pt x="8058" y="14187"/>
                    <a:pt x="8040" y="14254"/>
                    <a:pt x="8079" y="14276"/>
                  </a:cubicBezTo>
                  <a:cubicBezTo>
                    <a:pt x="8124" y="14301"/>
                    <a:pt x="8195" y="14224"/>
                    <a:pt x="8232" y="14260"/>
                  </a:cubicBezTo>
                  <a:cubicBezTo>
                    <a:pt x="8267" y="14293"/>
                    <a:pt x="8199" y="14354"/>
                    <a:pt x="8209" y="14400"/>
                  </a:cubicBezTo>
                  <a:cubicBezTo>
                    <a:pt x="8215" y="14429"/>
                    <a:pt x="8244" y="14449"/>
                    <a:pt x="8264" y="14472"/>
                  </a:cubicBezTo>
                  <a:cubicBezTo>
                    <a:pt x="8264" y="14506"/>
                    <a:pt x="8262" y="14541"/>
                    <a:pt x="8262" y="14575"/>
                  </a:cubicBezTo>
                  <a:cubicBezTo>
                    <a:pt x="8262" y="14598"/>
                    <a:pt x="8262" y="14620"/>
                    <a:pt x="8262" y="14642"/>
                  </a:cubicBezTo>
                  <a:cubicBezTo>
                    <a:pt x="8258" y="14655"/>
                    <a:pt x="8254" y="14668"/>
                    <a:pt x="8252" y="14681"/>
                  </a:cubicBezTo>
                  <a:cubicBezTo>
                    <a:pt x="8244" y="14738"/>
                    <a:pt x="8257" y="14800"/>
                    <a:pt x="8235" y="14854"/>
                  </a:cubicBezTo>
                  <a:cubicBezTo>
                    <a:pt x="8219" y="14893"/>
                    <a:pt x="8138" y="14900"/>
                    <a:pt x="8144" y="14942"/>
                  </a:cubicBezTo>
                  <a:cubicBezTo>
                    <a:pt x="8149" y="14982"/>
                    <a:pt x="8254" y="14953"/>
                    <a:pt x="8253" y="14993"/>
                  </a:cubicBezTo>
                  <a:close/>
                  <a:moveTo>
                    <a:pt x="8349" y="15794"/>
                  </a:moveTo>
                  <a:cubicBezTo>
                    <a:pt x="8349" y="15790"/>
                    <a:pt x="8349" y="15786"/>
                    <a:pt x="8349" y="15783"/>
                  </a:cubicBezTo>
                  <a:cubicBezTo>
                    <a:pt x="8351" y="15785"/>
                    <a:pt x="8354" y="15787"/>
                    <a:pt x="8356" y="15790"/>
                  </a:cubicBezTo>
                  <a:cubicBezTo>
                    <a:pt x="8362" y="15796"/>
                    <a:pt x="8358" y="15797"/>
                    <a:pt x="8349" y="15794"/>
                  </a:cubicBezTo>
                  <a:close/>
                  <a:moveTo>
                    <a:pt x="8384" y="15879"/>
                  </a:moveTo>
                  <a:cubicBezTo>
                    <a:pt x="8486" y="15970"/>
                    <a:pt x="8485" y="16001"/>
                    <a:pt x="8584" y="16096"/>
                  </a:cubicBezTo>
                  <a:cubicBezTo>
                    <a:pt x="8594" y="16105"/>
                    <a:pt x="8607" y="16111"/>
                    <a:pt x="8617" y="16120"/>
                  </a:cubicBezTo>
                  <a:cubicBezTo>
                    <a:pt x="8668" y="16164"/>
                    <a:pt x="8722" y="16204"/>
                    <a:pt x="8767" y="16254"/>
                  </a:cubicBezTo>
                  <a:cubicBezTo>
                    <a:pt x="8794" y="16286"/>
                    <a:pt x="8815" y="16323"/>
                    <a:pt x="8831" y="16361"/>
                  </a:cubicBezTo>
                  <a:cubicBezTo>
                    <a:pt x="8854" y="16414"/>
                    <a:pt x="8834" y="16493"/>
                    <a:pt x="8882" y="16525"/>
                  </a:cubicBezTo>
                  <a:cubicBezTo>
                    <a:pt x="8949" y="16569"/>
                    <a:pt x="9103" y="16475"/>
                    <a:pt x="9120" y="16553"/>
                  </a:cubicBezTo>
                  <a:cubicBezTo>
                    <a:pt x="9122" y="16565"/>
                    <a:pt x="9120" y="16572"/>
                    <a:pt x="9113" y="16576"/>
                  </a:cubicBezTo>
                  <a:cubicBezTo>
                    <a:pt x="8894" y="16558"/>
                    <a:pt x="8673" y="16515"/>
                    <a:pt x="8449" y="16489"/>
                  </a:cubicBezTo>
                  <a:cubicBezTo>
                    <a:pt x="8414" y="16484"/>
                    <a:pt x="8379" y="16480"/>
                    <a:pt x="8344" y="16475"/>
                  </a:cubicBezTo>
                  <a:cubicBezTo>
                    <a:pt x="8345" y="16268"/>
                    <a:pt x="8347" y="16061"/>
                    <a:pt x="8349" y="15854"/>
                  </a:cubicBezTo>
                  <a:cubicBezTo>
                    <a:pt x="8361" y="15862"/>
                    <a:pt x="8373" y="15870"/>
                    <a:pt x="8384" y="15879"/>
                  </a:cubicBezTo>
                  <a:close/>
                  <a:moveTo>
                    <a:pt x="9313" y="17649"/>
                  </a:moveTo>
                  <a:cubicBezTo>
                    <a:pt x="9337" y="17914"/>
                    <a:pt x="9153" y="17857"/>
                    <a:pt x="9043" y="18016"/>
                  </a:cubicBezTo>
                  <a:cubicBezTo>
                    <a:pt x="9022" y="18047"/>
                    <a:pt x="9016" y="18086"/>
                    <a:pt x="9010" y="18123"/>
                  </a:cubicBezTo>
                  <a:cubicBezTo>
                    <a:pt x="8979" y="18300"/>
                    <a:pt x="8947" y="18477"/>
                    <a:pt x="8933" y="18656"/>
                  </a:cubicBezTo>
                  <a:cubicBezTo>
                    <a:pt x="8918" y="18831"/>
                    <a:pt x="9039" y="18843"/>
                    <a:pt x="9140" y="18962"/>
                  </a:cubicBezTo>
                  <a:cubicBezTo>
                    <a:pt x="9190" y="19021"/>
                    <a:pt x="9247" y="19074"/>
                    <a:pt x="9292" y="19136"/>
                  </a:cubicBezTo>
                  <a:cubicBezTo>
                    <a:pt x="9304" y="19152"/>
                    <a:pt x="9312" y="19170"/>
                    <a:pt x="9321" y="19187"/>
                  </a:cubicBezTo>
                  <a:cubicBezTo>
                    <a:pt x="9004" y="19159"/>
                    <a:pt x="8659" y="19110"/>
                    <a:pt x="8330" y="19054"/>
                  </a:cubicBezTo>
                  <a:cubicBezTo>
                    <a:pt x="8333" y="18226"/>
                    <a:pt x="8337" y="17399"/>
                    <a:pt x="8343" y="16572"/>
                  </a:cubicBezTo>
                  <a:cubicBezTo>
                    <a:pt x="8375" y="16576"/>
                    <a:pt x="8406" y="16581"/>
                    <a:pt x="8437" y="16584"/>
                  </a:cubicBezTo>
                  <a:cubicBezTo>
                    <a:pt x="8595" y="16603"/>
                    <a:pt x="8754" y="16631"/>
                    <a:pt x="8914" y="16652"/>
                  </a:cubicBezTo>
                  <a:cubicBezTo>
                    <a:pt x="8952" y="16697"/>
                    <a:pt x="9025" y="16749"/>
                    <a:pt x="9037" y="16768"/>
                  </a:cubicBezTo>
                  <a:cubicBezTo>
                    <a:pt x="9048" y="16788"/>
                    <a:pt x="9044" y="16814"/>
                    <a:pt x="9047" y="16837"/>
                  </a:cubicBezTo>
                  <a:cubicBezTo>
                    <a:pt x="9065" y="16960"/>
                    <a:pt x="9070" y="17085"/>
                    <a:pt x="9101" y="17206"/>
                  </a:cubicBezTo>
                  <a:cubicBezTo>
                    <a:pt x="9111" y="17245"/>
                    <a:pt x="9202" y="17415"/>
                    <a:pt x="9244" y="17469"/>
                  </a:cubicBezTo>
                  <a:cubicBezTo>
                    <a:pt x="9261" y="17490"/>
                    <a:pt x="9293" y="17500"/>
                    <a:pt x="9302" y="17526"/>
                  </a:cubicBezTo>
                  <a:cubicBezTo>
                    <a:pt x="9317" y="17564"/>
                    <a:pt x="9309" y="17608"/>
                    <a:pt x="9313" y="17649"/>
                  </a:cubicBezTo>
                  <a:close/>
                  <a:moveTo>
                    <a:pt x="9298" y="6030"/>
                  </a:moveTo>
                  <a:cubicBezTo>
                    <a:pt x="9308" y="6053"/>
                    <a:pt x="9330" y="6064"/>
                    <a:pt x="9354" y="6073"/>
                  </a:cubicBezTo>
                  <a:cubicBezTo>
                    <a:pt x="9344" y="6120"/>
                    <a:pt x="9335" y="6167"/>
                    <a:pt x="9326" y="6214"/>
                  </a:cubicBezTo>
                  <a:cubicBezTo>
                    <a:pt x="9264" y="6530"/>
                    <a:pt x="9206" y="6845"/>
                    <a:pt x="9150" y="7162"/>
                  </a:cubicBezTo>
                  <a:cubicBezTo>
                    <a:pt x="9014" y="7126"/>
                    <a:pt x="8979" y="7023"/>
                    <a:pt x="8857" y="6954"/>
                  </a:cubicBezTo>
                  <a:cubicBezTo>
                    <a:pt x="8835" y="6941"/>
                    <a:pt x="8799" y="6968"/>
                    <a:pt x="8779" y="6952"/>
                  </a:cubicBezTo>
                  <a:cubicBezTo>
                    <a:pt x="8578" y="6779"/>
                    <a:pt x="8972" y="6766"/>
                    <a:pt x="8985" y="6602"/>
                  </a:cubicBezTo>
                  <a:cubicBezTo>
                    <a:pt x="8991" y="6524"/>
                    <a:pt x="8849" y="6473"/>
                    <a:pt x="8870" y="6397"/>
                  </a:cubicBezTo>
                  <a:cubicBezTo>
                    <a:pt x="8888" y="6333"/>
                    <a:pt x="9067" y="6287"/>
                    <a:pt x="9015" y="6183"/>
                  </a:cubicBezTo>
                  <a:cubicBezTo>
                    <a:pt x="8992" y="6138"/>
                    <a:pt x="8914" y="6170"/>
                    <a:pt x="8865" y="6156"/>
                  </a:cubicBezTo>
                  <a:cubicBezTo>
                    <a:pt x="8838" y="6149"/>
                    <a:pt x="8817" y="6123"/>
                    <a:pt x="8790" y="6120"/>
                  </a:cubicBezTo>
                  <a:cubicBezTo>
                    <a:pt x="8746" y="6117"/>
                    <a:pt x="8704" y="6136"/>
                    <a:pt x="8661" y="6138"/>
                  </a:cubicBezTo>
                  <a:cubicBezTo>
                    <a:pt x="8270" y="6162"/>
                    <a:pt x="7878" y="6180"/>
                    <a:pt x="7486" y="6201"/>
                  </a:cubicBezTo>
                  <a:cubicBezTo>
                    <a:pt x="7576" y="6002"/>
                    <a:pt x="7667" y="5804"/>
                    <a:pt x="7761" y="5608"/>
                  </a:cubicBezTo>
                  <a:cubicBezTo>
                    <a:pt x="8094" y="5694"/>
                    <a:pt x="8431" y="5763"/>
                    <a:pt x="8770" y="5822"/>
                  </a:cubicBezTo>
                  <a:cubicBezTo>
                    <a:pt x="8971" y="5857"/>
                    <a:pt x="9177" y="5896"/>
                    <a:pt x="9385" y="5917"/>
                  </a:cubicBezTo>
                  <a:cubicBezTo>
                    <a:pt x="9383" y="5927"/>
                    <a:pt x="9381" y="5936"/>
                    <a:pt x="9379" y="5946"/>
                  </a:cubicBezTo>
                  <a:cubicBezTo>
                    <a:pt x="9376" y="5946"/>
                    <a:pt x="9372" y="5946"/>
                    <a:pt x="9369" y="5947"/>
                  </a:cubicBezTo>
                  <a:cubicBezTo>
                    <a:pt x="9333" y="5952"/>
                    <a:pt x="9284" y="5997"/>
                    <a:pt x="9298" y="6030"/>
                  </a:cubicBezTo>
                  <a:close/>
                  <a:moveTo>
                    <a:pt x="10252" y="4803"/>
                  </a:moveTo>
                  <a:cubicBezTo>
                    <a:pt x="10277" y="4816"/>
                    <a:pt x="10249" y="4868"/>
                    <a:pt x="10272" y="4885"/>
                  </a:cubicBezTo>
                  <a:cubicBezTo>
                    <a:pt x="10315" y="4916"/>
                    <a:pt x="10377" y="4908"/>
                    <a:pt x="10426" y="4930"/>
                  </a:cubicBezTo>
                  <a:cubicBezTo>
                    <a:pt x="10459" y="4945"/>
                    <a:pt x="10481" y="4978"/>
                    <a:pt x="10515" y="4992"/>
                  </a:cubicBezTo>
                  <a:cubicBezTo>
                    <a:pt x="10531" y="5000"/>
                    <a:pt x="10561" y="4976"/>
                    <a:pt x="10569" y="4992"/>
                  </a:cubicBezTo>
                  <a:cubicBezTo>
                    <a:pt x="10632" y="5130"/>
                    <a:pt x="10675" y="5277"/>
                    <a:pt x="10711" y="5424"/>
                  </a:cubicBezTo>
                  <a:cubicBezTo>
                    <a:pt x="10714" y="5436"/>
                    <a:pt x="10665" y="5418"/>
                    <a:pt x="10673" y="5428"/>
                  </a:cubicBezTo>
                  <a:cubicBezTo>
                    <a:pt x="10702" y="5463"/>
                    <a:pt x="10753" y="5476"/>
                    <a:pt x="10783" y="5510"/>
                  </a:cubicBezTo>
                  <a:cubicBezTo>
                    <a:pt x="10801" y="5530"/>
                    <a:pt x="10797" y="5563"/>
                    <a:pt x="10811" y="5586"/>
                  </a:cubicBezTo>
                  <a:cubicBezTo>
                    <a:pt x="10831" y="5618"/>
                    <a:pt x="10860" y="5642"/>
                    <a:pt x="10882" y="5673"/>
                  </a:cubicBezTo>
                  <a:cubicBezTo>
                    <a:pt x="10906" y="5707"/>
                    <a:pt x="10913" y="5759"/>
                    <a:pt x="10950" y="5778"/>
                  </a:cubicBezTo>
                  <a:cubicBezTo>
                    <a:pt x="10984" y="5796"/>
                    <a:pt x="11021" y="5810"/>
                    <a:pt x="11057" y="5822"/>
                  </a:cubicBezTo>
                  <a:cubicBezTo>
                    <a:pt x="10753" y="5826"/>
                    <a:pt x="10448" y="5829"/>
                    <a:pt x="10143" y="5831"/>
                  </a:cubicBezTo>
                  <a:cubicBezTo>
                    <a:pt x="10143" y="5811"/>
                    <a:pt x="10136" y="5788"/>
                    <a:pt x="10149" y="5775"/>
                  </a:cubicBezTo>
                  <a:cubicBezTo>
                    <a:pt x="10179" y="5745"/>
                    <a:pt x="10239" y="5760"/>
                    <a:pt x="10267" y="5729"/>
                  </a:cubicBezTo>
                  <a:cubicBezTo>
                    <a:pt x="10286" y="5708"/>
                    <a:pt x="10283" y="5666"/>
                    <a:pt x="10265" y="5645"/>
                  </a:cubicBezTo>
                  <a:cubicBezTo>
                    <a:pt x="10197" y="5565"/>
                    <a:pt x="10079" y="5634"/>
                    <a:pt x="10167" y="5493"/>
                  </a:cubicBezTo>
                  <a:cubicBezTo>
                    <a:pt x="10325" y="5238"/>
                    <a:pt x="10419" y="5539"/>
                    <a:pt x="10497" y="5560"/>
                  </a:cubicBezTo>
                  <a:cubicBezTo>
                    <a:pt x="10522" y="5566"/>
                    <a:pt x="10535" y="5513"/>
                    <a:pt x="10527" y="5488"/>
                  </a:cubicBezTo>
                  <a:cubicBezTo>
                    <a:pt x="10494" y="5389"/>
                    <a:pt x="10363" y="5330"/>
                    <a:pt x="10283" y="5294"/>
                  </a:cubicBezTo>
                  <a:cubicBezTo>
                    <a:pt x="10262" y="5285"/>
                    <a:pt x="10077" y="5234"/>
                    <a:pt x="10065" y="5208"/>
                  </a:cubicBezTo>
                  <a:cubicBezTo>
                    <a:pt x="10050" y="5175"/>
                    <a:pt x="10131" y="5128"/>
                    <a:pt x="10102" y="5107"/>
                  </a:cubicBezTo>
                  <a:cubicBezTo>
                    <a:pt x="10054" y="5072"/>
                    <a:pt x="9982" y="5114"/>
                    <a:pt x="9922" y="5105"/>
                  </a:cubicBezTo>
                  <a:cubicBezTo>
                    <a:pt x="9762" y="5081"/>
                    <a:pt x="9746" y="4952"/>
                    <a:pt x="9710" y="4843"/>
                  </a:cubicBezTo>
                  <a:cubicBezTo>
                    <a:pt x="9744" y="4694"/>
                    <a:pt x="9778" y="4545"/>
                    <a:pt x="9813" y="4396"/>
                  </a:cubicBezTo>
                  <a:cubicBezTo>
                    <a:pt x="9916" y="4438"/>
                    <a:pt x="9950" y="4417"/>
                    <a:pt x="10026" y="4626"/>
                  </a:cubicBezTo>
                  <a:cubicBezTo>
                    <a:pt x="10034" y="4648"/>
                    <a:pt x="9949" y="4620"/>
                    <a:pt x="9958" y="4642"/>
                  </a:cubicBezTo>
                  <a:cubicBezTo>
                    <a:pt x="9981" y="4701"/>
                    <a:pt x="10032" y="4751"/>
                    <a:pt x="10088" y="4781"/>
                  </a:cubicBezTo>
                  <a:cubicBezTo>
                    <a:pt x="10136" y="4807"/>
                    <a:pt x="10204" y="4776"/>
                    <a:pt x="10252" y="4803"/>
                  </a:cubicBezTo>
                  <a:close/>
                  <a:moveTo>
                    <a:pt x="10984" y="641"/>
                  </a:moveTo>
                  <a:cubicBezTo>
                    <a:pt x="10928" y="736"/>
                    <a:pt x="10877" y="829"/>
                    <a:pt x="10829" y="927"/>
                  </a:cubicBezTo>
                  <a:cubicBezTo>
                    <a:pt x="10825" y="928"/>
                    <a:pt x="10821" y="928"/>
                    <a:pt x="10817" y="929"/>
                  </a:cubicBezTo>
                  <a:cubicBezTo>
                    <a:pt x="10787" y="723"/>
                    <a:pt x="10753" y="489"/>
                    <a:pt x="10677" y="322"/>
                  </a:cubicBezTo>
                  <a:cubicBezTo>
                    <a:pt x="10669" y="306"/>
                    <a:pt x="10660" y="294"/>
                    <a:pt x="10650" y="276"/>
                  </a:cubicBezTo>
                  <a:cubicBezTo>
                    <a:pt x="10693" y="275"/>
                    <a:pt x="10737" y="289"/>
                    <a:pt x="10781" y="289"/>
                  </a:cubicBezTo>
                  <a:lnTo>
                    <a:pt x="10782" y="289"/>
                  </a:lnTo>
                  <a:cubicBezTo>
                    <a:pt x="10934" y="289"/>
                    <a:pt x="11084" y="280"/>
                    <a:pt x="11231" y="289"/>
                  </a:cubicBezTo>
                  <a:cubicBezTo>
                    <a:pt x="11129" y="393"/>
                    <a:pt x="11042" y="544"/>
                    <a:pt x="10984" y="641"/>
                  </a:cubicBezTo>
                  <a:close/>
                  <a:moveTo>
                    <a:pt x="11427" y="579"/>
                  </a:moveTo>
                  <a:cubicBezTo>
                    <a:pt x="11291" y="661"/>
                    <a:pt x="11160" y="752"/>
                    <a:pt x="11034" y="848"/>
                  </a:cubicBezTo>
                  <a:cubicBezTo>
                    <a:pt x="11019" y="860"/>
                    <a:pt x="11004" y="872"/>
                    <a:pt x="10989" y="884"/>
                  </a:cubicBezTo>
                  <a:cubicBezTo>
                    <a:pt x="10978" y="887"/>
                    <a:pt x="10966" y="889"/>
                    <a:pt x="10954" y="892"/>
                  </a:cubicBezTo>
                  <a:cubicBezTo>
                    <a:pt x="10990" y="821"/>
                    <a:pt x="11027" y="751"/>
                    <a:pt x="11067" y="683"/>
                  </a:cubicBezTo>
                  <a:cubicBezTo>
                    <a:pt x="11137" y="560"/>
                    <a:pt x="11267" y="341"/>
                    <a:pt x="11365" y="286"/>
                  </a:cubicBezTo>
                  <a:cubicBezTo>
                    <a:pt x="11367" y="286"/>
                    <a:pt x="11368" y="285"/>
                    <a:pt x="11369" y="284"/>
                  </a:cubicBezTo>
                  <a:cubicBezTo>
                    <a:pt x="11544" y="298"/>
                    <a:pt x="11714" y="318"/>
                    <a:pt x="11877" y="344"/>
                  </a:cubicBezTo>
                  <a:cubicBezTo>
                    <a:pt x="11711" y="413"/>
                    <a:pt x="11540" y="511"/>
                    <a:pt x="11427" y="579"/>
                  </a:cubicBezTo>
                  <a:close/>
                  <a:moveTo>
                    <a:pt x="11960" y="608"/>
                  </a:moveTo>
                  <a:cubicBezTo>
                    <a:pt x="11740" y="668"/>
                    <a:pt x="11527" y="742"/>
                    <a:pt x="11316" y="825"/>
                  </a:cubicBezTo>
                  <a:cubicBezTo>
                    <a:pt x="11285" y="825"/>
                    <a:pt x="11253" y="828"/>
                    <a:pt x="11219" y="833"/>
                  </a:cubicBezTo>
                  <a:cubicBezTo>
                    <a:pt x="11303" y="773"/>
                    <a:pt x="11389" y="715"/>
                    <a:pt x="11477" y="662"/>
                  </a:cubicBezTo>
                  <a:cubicBezTo>
                    <a:pt x="11623" y="572"/>
                    <a:pt x="11883" y="430"/>
                    <a:pt x="12069" y="378"/>
                  </a:cubicBezTo>
                  <a:cubicBezTo>
                    <a:pt x="12229" y="409"/>
                    <a:pt x="12382" y="445"/>
                    <a:pt x="12527" y="486"/>
                  </a:cubicBezTo>
                  <a:cubicBezTo>
                    <a:pt x="12338" y="516"/>
                    <a:pt x="12149" y="557"/>
                    <a:pt x="11960" y="608"/>
                  </a:cubicBezTo>
                  <a:close/>
                  <a:moveTo>
                    <a:pt x="13588" y="990"/>
                  </a:moveTo>
                  <a:cubicBezTo>
                    <a:pt x="13586" y="991"/>
                    <a:pt x="13583" y="992"/>
                    <a:pt x="13580" y="992"/>
                  </a:cubicBezTo>
                  <a:cubicBezTo>
                    <a:pt x="13354" y="970"/>
                    <a:pt x="13137" y="954"/>
                    <a:pt x="13080" y="949"/>
                  </a:cubicBezTo>
                  <a:cubicBezTo>
                    <a:pt x="13036" y="945"/>
                    <a:pt x="12991" y="934"/>
                    <a:pt x="12945" y="934"/>
                  </a:cubicBezTo>
                  <a:cubicBezTo>
                    <a:pt x="12944" y="934"/>
                    <a:pt x="12941" y="925"/>
                    <a:pt x="12937" y="925"/>
                  </a:cubicBezTo>
                  <a:lnTo>
                    <a:pt x="12902" y="925"/>
                  </a:lnTo>
                  <a:cubicBezTo>
                    <a:pt x="12693" y="925"/>
                    <a:pt x="12483" y="928"/>
                    <a:pt x="12272" y="928"/>
                  </a:cubicBezTo>
                  <a:cubicBezTo>
                    <a:pt x="12074" y="928"/>
                    <a:pt x="11876" y="938"/>
                    <a:pt x="11677" y="957"/>
                  </a:cubicBezTo>
                  <a:cubicBezTo>
                    <a:pt x="11665" y="952"/>
                    <a:pt x="11653" y="948"/>
                    <a:pt x="11641" y="942"/>
                  </a:cubicBezTo>
                  <a:cubicBezTo>
                    <a:pt x="11861" y="893"/>
                    <a:pt x="12081" y="855"/>
                    <a:pt x="12296" y="849"/>
                  </a:cubicBezTo>
                  <a:cubicBezTo>
                    <a:pt x="12522" y="844"/>
                    <a:pt x="12749" y="840"/>
                    <a:pt x="12975" y="836"/>
                  </a:cubicBezTo>
                  <a:cubicBezTo>
                    <a:pt x="13070" y="852"/>
                    <a:pt x="13180" y="869"/>
                    <a:pt x="13255" y="877"/>
                  </a:cubicBezTo>
                  <a:cubicBezTo>
                    <a:pt x="13301" y="883"/>
                    <a:pt x="13164" y="857"/>
                    <a:pt x="13120" y="843"/>
                  </a:cubicBezTo>
                  <a:cubicBezTo>
                    <a:pt x="13117" y="842"/>
                    <a:pt x="13108" y="839"/>
                    <a:pt x="13094" y="834"/>
                  </a:cubicBezTo>
                  <a:cubicBezTo>
                    <a:pt x="13182" y="833"/>
                    <a:pt x="13270" y="831"/>
                    <a:pt x="13358" y="830"/>
                  </a:cubicBezTo>
                  <a:cubicBezTo>
                    <a:pt x="13443" y="881"/>
                    <a:pt x="13520" y="935"/>
                    <a:pt x="13588" y="990"/>
                  </a:cubicBezTo>
                  <a:close/>
                  <a:moveTo>
                    <a:pt x="14183" y="1009"/>
                  </a:moveTo>
                  <a:cubicBezTo>
                    <a:pt x="14076" y="1026"/>
                    <a:pt x="13973" y="923"/>
                    <a:pt x="13865" y="936"/>
                  </a:cubicBezTo>
                  <a:cubicBezTo>
                    <a:pt x="13811" y="942"/>
                    <a:pt x="13758" y="952"/>
                    <a:pt x="13706" y="963"/>
                  </a:cubicBezTo>
                  <a:cubicBezTo>
                    <a:pt x="13653" y="916"/>
                    <a:pt x="13595" y="871"/>
                    <a:pt x="13532" y="827"/>
                  </a:cubicBezTo>
                  <a:cubicBezTo>
                    <a:pt x="13611" y="826"/>
                    <a:pt x="13690" y="825"/>
                    <a:pt x="13769" y="824"/>
                  </a:cubicBezTo>
                  <a:cubicBezTo>
                    <a:pt x="13870" y="866"/>
                    <a:pt x="13968" y="913"/>
                    <a:pt x="14070" y="952"/>
                  </a:cubicBezTo>
                  <a:cubicBezTo>
                    <a:pt x="14109" y="968"/>
                    <a:pt x="14225" y="1002"/>
                    <a:pt x="14183" y="1009"/>
                  </a:cubicBezTo>
                  <a:close/>
                  <a:moveTo>
                    <a:pt x="13821" y="3996"/>
                  </a:moveTo>
                  <a:cubicBezTo>
                    <a:pt x="13853" y="3990"/>
                    <a:pt x="13883" y="3990"/>
                    <a:pt x="13903" y="4011"/>
                  </a:cubicBezTo>
                  <a:cubicBezTo>
                    <a:pt x="13920" y="4029"/>
                    <a:pt x="13901" y="4050"/>
                    <a:pt x="13875" y="4069"/>
                  </a:cubicBezTo>
                  <a:cubicBezTo>
                    <a:pt x="13857" y="4045"/>
                    <a:pt x="13839" y="4021"/>
                    <a:pt x="13821" y="3996"/>
                  </a:cubicBezTo>
                  <a:close/>
                  <a:moveTo>
                    <a:pt x="13683" y="4105"/>
                  </a:moveTo>
                  <a:cubicBezTo>
                    <a:pt x="13704" y="4170"/>
                    <a:pt x="13830" y="4155"/>
                    <a:pt x="13851" y="4219"/>
                  </a:cubicBezTo>
                  <a:cubicBezTo>
                    <a:pt x="13868" y="4272"/>
                    <a:pt x="13814" y="4333"/>
                    <a:pt x="13768" y="4364"/>
                  </a:cubicBezTo>
                  <a:cubicBezTo>
                    <a:pt x="13729" y="4391"/>
                    <a:pt x="13620" y="4365"/>
                    <a:pt x="13593" y="4376"/>
                  </a:cubicBezTo>
                  <a:cubicBezTo>
                    <a:pt x="13595" y="4363"/>
                    <a:pt x="13591" y="4352"/>
                    <a:pt x="13581" y="4349"/>
                  </a:cubicBezTo>
                  <a:cubicBezTo>
                    <a:pt x="13527" y="4334"/>
                    <a:pt x="13470" y="4380"/>
                    <a:pt x="13413" y="4382"/>
                  </a:cubicBezTo>
                  <a:cubicBezTo>
                    <a:pt x="13397" y="4382"/>
                    <a:pt x="13382" y="4369"/>
                    <a:pt x="13371" y="4357"/>
                  </a:cubicBezTo>
                  <a:cubicBezTo>
                    <a:pt x="13329" y="4313"/>
                    <a:pt x="13222" y="4264"/>
                    <a:pt x="13256" y="4213"/>
                  </a:cubicBezTo>
                  <a:cubicBezTo>
                    <a:pt x="13312" y="4132"/>
                    <a:pt x="13447" y="4159"/>
                    <a:pt x="13537" y="4117"/>
                  </a:cubicBezTo>
                  <a:cubicBezTo>
                    <a:pt x="13553" y="4110"/>
                    <a:pt x="13548" y="4080"/>
                    <a:pt x="13564" y="4072"/>
                  </a:cubicBezTo>
                  <a:cubicBezTo>
                    <a:pt x="13613" y="4048"/>
                    <a:pt x="13666" y="4032"/>
                    <a:pt x="13719" y="4021"/>
                  </a:cubicBezTo>
                  <a:cubicBezTo>
                    <a:pt x="13740" y="4049"/>
                    <a:pt x="13761" y="4077"/>
                    <a:pt x="13782" y="4105"/>
                  </a:cubicBezTo>
                  <a:cubicBezTo>
                    <a:pt x="13736" y="4101"/>
                    <a:pt x="13673" y="4072"/>
                    <a:pt x="13683" y="4105"/>
                  </a:cubicBezTo>
                  <a:close/>
                  <a:moveTo>
                    <a:pt x="12813" y="1045"/>
                  </a:moveTo>
                  <a:cubicBezTo>
                    <a:pt x="12843" y="1045"/>
                    <a:pt x="12873" y="1053"/>
                    <a:pt x="12902" y="1053"/>
                  </a:cubicBezTo>
                  <a:lnTo>
                    <a:pt x="12941" y="1053"/>
                  </a:lnTo>
                  <a:lnTo>
                    <a:pt x="12943" y="1045"/>
                  </a:lnTo>
                  <a:cubicBezTo>
                    <a:pt x="12943" y="1045"/>
                    <a:pt x="12943" y="1042"/>
                    <a:pt x="12945" y="1042"/>
                  </a:cubicBezTo>
                  <a:cubicBezTo>
                    <a:pt x="12986" y="1042"/>
                    <a:pt x="13029" y="1043"/>
                    <a:pt x="13071" y="1047"/>
                  </a:cubicBezTo>
                  <a:cubicBezTo>
                    <a:pt x="13091" y="1048"/>
                    <a:pt x="13127" y="1051"/>
                    <a:pt x="13175" y="1054"/>
                  </a:cubicBezTo>
                  <a:cubicBezTo>
                    <a:pt x="13125" y="1097"/>
                    <a:pt x="13077" y="1141"/>
                    <a:pt x="13020" y="1171"/>
                  </a:cubicBezTo>
                  <a:cubicBezTo>
                    <a:pt x="12970" y="1164"/>
                    <a:pt x="12919" y="1157"/>
                    <a:pt x="12869" y="1152"/>
                  </a:cubicBezTo>
                  <a:cubicBezTo>
                    <a:pt x="12843" y="1116"/>
                    <a:pt x="12828" y="1075"/>
                    <a:pt x="12813" y="1045"/>
                  </a:cubicBezTo>
                  <a:close/>
                  <a:moveTo>
                    <a:pt x="12779" y="1239"/>
                  </a:moveTo>
                  <a:cubicBezTo>
                    <a:pt x="12787" y="1240"/>
                    <a:pt x="12796" y="1241"/>
                    <a:pt x="12805" y="1242"/>
                  </a:cubicBezTo>
                  <a:cubicBezTo>
                    <a:pt x="12798" y="1244"/>
                    <a:pt x="12788" y="1242"/>
                    <a:pt x="12779" y="1239"/>
                  </a:cubicBezTo>
                  <a:close/>
                  <a:moveTo>
                    <a:pt x="12373" y="1390"/>
                  </a:moveTo>
                  <a:cubicBezTo>
                    <a:pt x="12396" y="1433"/>
                    <a:pt x="12491" y="1427"/>
                    <a:pt x="12532" y="1467"/>
                  </a:cubicBezTo>
                  <a:cubicBezTo>
                    <a:pt x="12546" y="1479"/>
                    <a:pt x="12540" y="1521"/>
                    <a:pt x="12521" y="1521"/>
                  </a:cubicBezTo>
                  <a:cubicBezTo>
                    <a:pt x="12443" y="1521"/>
                    <a:pt x="12369" y="1486"/>
                    <a:pt x="12292" y="1466"/>
                  </a:cubicBezTo>
                  <a:cubicBezTo>
                    <a:pt x="12274" y="1462"/>
                    <a:pt x="12252" y="1462"/>
                    <a:pt x="12235" y="1455"/>
                  </a:cubicBezTo>
                  <a:cubicBezTo>
                    <a:pt x="12234" y="1455"/>
                    <a:pt x="12233" y="1455"/>
                    <a:pt x="12231" y="1454"/>
                  </a:cubicBezTo>
                  <a:cubicBezTo>
                    <a:pt x="12226" y="1452"/>
                    <a:pt x="12221" y="1448"/>
                    <a:pt x="12216" y="1443"/>
                  </a:cubicBezTo>
                  <a:cubicBezTo>
                    <a:pt x="12196" y="1419"/>
                    <a:pt x="12194" y="1384"/>
                    <a:pt x="12185" y="1354"/>
                  </a:cubicBezTo>
                  <a:cubicBezTo>
                    <a:pt x="12248" y="1365"/>
                    <a:pt x="12310" y="1377"/>
                    <a:pt x="12373" y="1390"/>
                  </a:cubicBezTo>
                  <a:close/>
                  <a:moveTo>
                    <a:pt x="12702" y="1234"/>
                  </a:moveTo>
                  <a:cubicBezTo>
                    <a:pt x="12657" y="1256"/>
                    <a:pt x="12620" y="1294"/>
                    <a:pt x="12587" y="1335"/>
                  </a:cubicBezTo>
                  <a:cubicBezTo>
                    <a:pt x="12501" y="1316"/>
                    <a:pt x="12414" y="1299"/>
                    <a:pt x="12328" y="1282"/>
                  </a:cubicBezTo>
                  <a:cubicBezTo>
                    <a:pt x="12402" y="1283"/>
                    <a:pt x="12471" y="1267"/>
                    <a:pt x="12530" y="1225"/>
                  </a:cubicBezTo>
                  <a:cubicBezTo>
                    <a:pt x="12565" y="1226"/>
                    <a:pt x="12599" y="1227"/>
                    <a:pt x="12633" y="1229"/>
                  </a:cubicBezTo>
                  <a:cubicBezTo>
                    <a:pt x="12656" y="1230"/>
                    <a:pt x="12679" y="1232"/>
                    <a:pt x="12702" y="1234"/>
                  </a:cubicBezTo>
                  <a:close/>
                  <a:moveTo>
                    <a:pt x="12767" y="1142"/>
                  </a:moveTo>
                  <a:cubicBezTo>
                    <a:pt x="12724" y="1138"/>
                    <a:pt x="12681" y="1135"/>
                    <a:pt x="12638" y="1133"/>
                  </a:cubicBezTo>
                  <a:cubicBezTo>
                    <a:pt x="12616" y="1132"/>
                    <a:pt x="12594" y="1131"/>
                    <a:pt x="12571" y="1130"/>
                  </a:cubicBezTo>
                  <a:cubicBezTo>
                    <a:pt x="12556" y="1123"/>
                    <a:pt x="12537" y="1117"/>
                    <a:pt x="12524" y="1113"/>
                  </a:cubicBezTo>
                  <a:cubicBezTo>
                    <a:pt x="12430" y="1082"/>
                    <a:pt x="12333" y="1057"/>
                    <a:pt x="12236" y="1033"/>
                  </a:cubicBezTo>
                  <a:cubicBezTo>
                    <a:pt x="12248" y="1033"/>
                    <a:pt x="12260" y="1033"/>
                    <a:pt x="12272" y="1033"/>
                  </a:cubicBezTo>
                  <a:cubicBezTo>
                    <a:pt x="12435" y="1033"/>
                    <a:pt x="12598" y="1036"/>
                    <a:pt x="12762" y="1037"/>
                  </a:cubicBezTo>
                  <a:cubicBezTo>
                    <a:pt x="12755" y="1049"/>
                    <a:pt x="12748" y="1065"/>
                    <a:pt x="12739" y="1087"/>
                  </a:cubicBezTo>
                  <a:cubicBezTo>
                    <a:pt x="12736" y="1095"/>
                    <a:pt x="12750" y="1117"/>
                    <a:pt x="12767" y="1142"/>
                  </a:cubicBezTo>
                  <a:close/>
                  <a:moveTo>
                    <a:pt x="12048" y="5420"/>
                  </a:moveTo>
                  <a:cubicBezTo>
                    <a:pt x="12053" y="5415"/>
                    <a:pt x="12057" y="5411"/>
                    <a:pt x="12063" y="5409"/>
                  </a:cubicBezTo>
                  <a:cubicBezTo>
                    <a:pt x="12184" y="5356"/>
                    <a:pt x="12317" y="5333"/>
                    <a:pt x="12444" y="5294"/>
                  </a:cubicBezTo>
                  <a:cubicBezTo>
                    <a:pt x="12453" y="5291"/>
                    <a:pt x="12480" y="5290"/>
                    <a:pt x="12473" y="5283"/>
                  </a:cubicBezTo>
                  <a:cubicBezTo>
                    <a:pt x="12426" y="5240"/>
                    <a:pt x="12360" y="5219"/>
                    <a:pt x="12315" y="5174"/>
                  </a:cubicBezTo>
                  <a:cubicBezTo>
                    <a:pt x="12290" y="5150"/>
                    <a:pt x="12291" y="5108"/>
                    <a:pt x="12269" y="5081"/>
                  </a:cubicBezTo>
                  <a:cubicBezTo>
                    <a:pt x="12237" y="5042"/>
                    <a:pt x="12165" y="5030"/>
                    <a:pt x="12154" y="4980"/>
                  </a:cubicBezTo>
                  <a:cubicBezTo>
                    <a:pt x="12124" y="4838"/>
                    <a:pt x="12286" y="4820"/>
                    <a:pt x="12319" y="4718"/>
                  </a:cubicBezTo>
                  <a:cubicBezTo>
                    <a:pt x="12344" y="4642"/>
                    <a:pt x="12297" y="4551"/>
                    <a:pt x="12331" y="4479"/>
                  </a:cubicBezTo>
                  <a:cubicBezTo>
                    <a:pt x="12350" y="4437"/>
                    <a:pt x="12415" y="4442"/>
                    <a:pt x="12457" y="4423"/>
                  </a:cubicBezTo>
                  <a:cubicBezTo>
                    <a:pt x="12457" y="4423"/>
                    <a:pt x="12484" y="4379"/>
                    <a:pt x="12508" y="4337"/>
                  </a:cubicBezTo>
                  <a:cubicBezTo>
                    <a:pt x="12625" y="4623"/>
                    <a:pt x="12737" y="4912"/>
                    <a:pt x="12845" y="5201"/>
                  </a:cubicBezTo>
                  <a:cubicBezTo>
                    <a:pt x="12785" y="5220"/>
                    <a:pt x="12726" y="5236"/>
                    <a:pt x="12665" y="5250"/>
                  </a:cubicBezTo>
                  <a:cubicBezTo>
                    <a:pt x="12638" y="5256"/>
                    <a:pt x="12608" y="5230"/>
                    <a:pt x="12582" y="5241"/>
                  </a:cubicBezTo>
                  <a:cubicBezTo>
                    <a:pt x="12458" y="5295"/>
                    <a:pt x="12355" y="5393"/>
                    <a:pt x="12228" y="5438"/>
                  </a:cubicBezTo>
                  <a:cubicBezTo>
                    <a:pt x="12196" y="5449"/>
                    <a:pt x="12111" y="5413"/>
                    <a:pt x="12048" y="5420"/>
                  </a:cubicBezTo>
                  <a:close/>
                  <a:moveTo>
                    <a:pt x="11888" y="1198"/>
                  </a:moveTo>
                  <a:cubicBezTo>
                    <a:pt x="11905" y="1199"/>
                    <a:pt x="11923" y="1199"/>
                    <a:pt x="11940" y="1200"/>
                  </a:cubicBezTo>
                  <a:cubicBezTo>
                    <a:pt x="11972" y="1209"/>
                    <a:pt x="12007" y="1219"/>
                    <a:pt x="12042" y="1230"/>
                  </a:cubicBezTo>
                  <a:cubicBezTo>
                    <a:pt x="12006" y="1223"/>
                    <a:pt x="11969" y="1217"/>
                    <a:pt x="11932" y="1211"/>
                  </a:cubicBezTo>
                  <a:cubicBezTo>
                    <a:pt x="11918" y="1207"/>
                    <a:pt x="11903" y="1202"/>
                    <a:pt x="11888" y="1198"/>
                  </a:cubicBezTo>
                  <a:close/>
                  <a:moveTo>
                    <a:pt x="11486" y="2031"/>
                  </a:moveTo>
                  <a:cubicBezTo>
                    <a:pt x="11587" y="2026"/>
                    <a:pt x="11687" y="2019"/>
                    <a:pt x="11788" y="2012"/>
                  </a:cubicBezTo>
                  <a:cubicBezTo>
                    <a:pt x="11693" y="2027"/>
                    <a:pt x="11599" y="2044"/>
                    <a:pt x="11505" y="2062"/>
                  </a:cubicBezTo>
                  <a:cubicBezTo>
                    <a:pt x="11499" y="2052"/>
                    <a:pt x="11492" y="2041"/>
                    <a:pt x="11486" y="2031"/>
                  </a:cubicBezTo>
                  <a:close/>
                  <a:moveTo>
                    <a:pt x="10995" y="1809"/>
                  </a:moveTo>
                  <a:cubicBezTo>
                    <a:pt x="11005" y="1864"/>
                    <a:pt x="10974" y="1908"/>
                    <a:pt x="10962" y="1943"/>
                  </a:cubicBezTo>
                  <a:cubicBezTo>
                    <a:pt x="10952" y="1863"/>
                    <a:pt x="10942" y="1783"/>
                    <a:pt x="10931" y="1704"/>
                  </a:cubicBezTo>
                  <a:cubicBezTo>
                    <a:pt x="10950" y="1738"/>
                    <a:pt x="10989" y="1770"/>
                    <a:pt x="10995" y="1809"/>
                  </a:cubicBezTo>
                  <a:close/>
                  <a:moveTo>
                    <a:pt x="11202" y="1324"/>
                  </a:moveTo>
                  <a:cubicBezTo>
                    <a:pt x="11229" y="1335"/>
                    <a:pt x="11256" y="1348"/>
                    <a:pt x="11283" y="1360"/>
                  </a:cubicBezTo>
                  <a:cubicBezTo>
                    <a:pt x="11302" y="1374"/>
                    <a:pt x="11318" y="1389"/>
                    <a:pt x="11327" y="1407"/>
                  </a:cubicBezTo>
                  <a:cubicBezTo>
                    <a:pt x="11329" y="1411"/>
                    <a:pt x="11328" y="1414"/>
                    <a:pt x="11327" y="1416"/>
                  </a:cubicBezTo>
                  <a:cubicBezTo>
                    <a:pt x="11285" y="1385"/>
                    <a:pt x="11244" y="1354"/>
                    <a:pt x="11202" y="1324"/>
                  </a:cubicBezTo>
                  <a:close/>
                  <a:moveTo>
                    <a:pt x="11207" y="1448"/>
                  </a:moveTo>
                  <a:cubicBezTo>
                    <a:pt x="11185" y="1461"/>
                    <a:pt x="11162" y="1475"/>
                    <a:pt x="11140" y="1490"/>
                  </a:cubicBezTo>
                  <a:cubicBezTo>
                    <a:pt x="11100" y="1431"/>
                    <a:pt x="11058" y="1372"/>
                    <a:pt x="11015" y="1315"/>
                  </a:cubicBezTo>
                  <a:cubicBezTo>
                    <a:pt x="11016" y="1314"/>
                    <a:pt x="11018" y="1314"/>
                    <a:pt x="11019" y="1313"/>
                  </a:cubicBezTo>
                  <a:cubicBezTo>
                    <a:pt x="11082" y="1357"/>
                    <a:pt x="11145" y="1402"/>
                    <a:pt x="11207" y="1448"/>
                  </a:cubicBezTo>
                  <a:close/>
                  <a:moveTo>
                    <a:pt x="10889" y="1407"/>
                  </a:moveTo>
                  <a:cubicBezTo>
                    <a:pt x="10888" y="1400"/>
                    <a:pt x="10887" y="1393"/>
                    <a:pt x="10886" y="1387"/>
                  </a:cubicBezTo>
                  <a:cubicBezTo>
                    <a:pt x="10890" y="1378"/>
                    <a:pt x="10902" y="1368"/>
                    <a:pt x="10924" y="1355"/>
                  </a:cubicBezTo>
                  <a:cubicBezTo>
                    <a:pt x="10971" y="1419"/>
                    <a:pt x="11019" y="1483"/>
                    <a:pt x="11064" y="1549"/>
                  </a:cubicBezTo>
                  <a:cubicBezTo>
                    <a:pt x="11064" y="1549"/>
                    <a:pt x="11064" y="1549"/>
                    <a:pt x="11064" y="1549"/>
                  </a:cubicBezTo>
                  <a:cubicBezTo>
                    <a:pt x="11056" y="1556"/>
                    <a:pt x="11047" y="1562"/>
                    <a:pt x="11039" y="1569"/>
                  </a:cubicBezTo>
                  <a:cubicBezTo>
                    <a:pt x="11032" y="1576"/>
                    <a:pt x="11054" y="1592"/>
                    <a:pt x="11047" y="1598"/>
                  </a:cubicBezTo>
                  <a:cubicBezTo>
                    <a:pt x="11011" y="1625"/>
                    <a:pt x="10938" y="1614"/>
                    <a:pt x="10924" y="1654"/>
                  </a:cubicBezTo>
                  <a:cubicBezTo>
                    <a:pt x="10918" y="1610"/>
                    <a:pt x="10912" y="1566"/>
                    <a:pt x="10905" y="1522"/>
                  </a:cubicBezTo>
                  <a:cubicBezTo>
                    <a:pt x="11033" y="1453"/>
                    <a:pt x="10915" y="1439"/>
                    <a:pt x="10889" y="1407"/>
                  </a:cubicBezTo>
                  <a:close/>
                  <a:moveTo>
                    <a:pt x="11243" y="5920"/>
                  </a:moveTo>
                  <a:cubicBezTo>
                    <a:pt x="11241" y="5919"/>
                    <a:pt x="11240" y="5918"/>
                    <a:pt x="11238" y="5917"/>
                  </a:cubicBezTo>
                  <a:cubicBezTo>
                    <a:pt x="11239" y="5917"/>
                    <a:pt x="11241" y="5917"/>
                    <a:pt x="11242" y="5917"/>
                  </a:cubicBezTo>
                  <a:cubicBezTo>
                    <a:pt x="11242" y="5918"/>
                    <a:pt x="11243" y="5919"/>
                    <a:pt x="11243" y="5920"/>
                  </a:cubicBezTo>
                  <a:close/>
                  <a:moveTo>
                    <a:pt x="11212" y="2385"/>
                  </a:moveTo>
                  <a:cubicBezTo>
                    <a:pt x="11177" y="2374"/>
                    <a:pt x="11166" y="2320"/>
                    <a:pt x="11131" y="2312"/>
                  </a:cubicBezTo>
                  <a:cubicBezTo>
                    <a:pt x="11095" y="2303"/>
                    <a:pt x="11055" y="2320"/>
                    <a:pt x="11022" y="2338"/>
                  </a:cubicBezTo>
                  <a:cubicBezTo>
                    <a:pt x="11018" y="2340"/>
                    <a:pt x="11015" y="2343"/>
                    <a:pt x="11012" y="2347"/>
                  </a:cubicBezTo>
                  <a:cubicBezTo>
                    <a:pt x="10998" y="2227"/>
                    <a:pt x="10983" y="2108"/>
                    <a:pt x="10968" y="1988"/>
                  </a:cubicBezTo>
                  <a:cubicBezTo>
                    <a:pt x="10986" y="2008"/>
                    <a:pt x="11034" y="2022"/>
                    <a:pt x="11143" y="2030"/>
                  </a:cubicBezTo>
                  <a:cubicBezTo>
                    <a:pt x="11220" y="2035"/>
                    <a:pt x="11298" y="2036"/>
                    <a:pt x="11376" y="2034"/>
                  </a:cubicBezTo>
                  <a:cubicBezTo>
                    <a:pt x="11385" y="2049"/>
                    <a:pt x="11394" y="2065"/>
                    <a:pt x="11403" y="2080"/>
                  </a:cubicBezTo>
                  <a:cubicBezTo>
                    <a:pt x="11365" y="2087"/>
                    <a:pt x="11328" y="2094"/>
                    <a:pt x="11290" y="2101"/>
                  </a:cubicBezTo>
                  <a:cubicBezTo>
                    <a:pt x="11267" y="2105"/>
                    <a:pt x="11206" y="2087"/>
                    <a:pt x="11218" y="2108"/>
                  </a:cubicBezTo>
                  <a:cubicBezTo>
                    <a:pt x="11246" y="2156"/>
                    <a:pt x="11492" y="2253"/>
                    <a:pt x="11363" y="2384"/>
                  </a:cubicBezTo>
                  <a:cubicBezTo>
                    <a:pt x="11328" y="2420"/>
                    <a:pt x="11260" y="2400"/>
                    <a:pt x="11212" y="2385"/>
                  </a:cubicBezTo>
                  <a:close/>
                  <a:moveTo>
                    <a:pt x="11371" y="5967"/>
                  </a:moveTo>
                  <a:cubicBezTo>
                    <a:pt x="11364" y="5976"/>
                    <a:pt x="11354" y="5979"/>
                    <a:pt x="11343" y="5978"/>
                  </a:cubicBezTo>
                  <a:cubicBezTo>
                    <a:pt x="11342" y="5957"/>
                    <a:pt x="11341" y="5936"/>
                    <a:pt x="11339" y="5916"/>
                  </a:cubicBezTo>
                  <a:cubicBezTo>
                    <a:pt x="11345" y="5916"/>
                    <a:pt x="11351" y="5916"/>
                    <a:pt x="11357" y="5915"/>
                  </a:cubicBezTo>
                  <a:cubicBezTo>
                    <a:pt x="11375" y="5933"/>
                    <a:pt x="11386" y="5951"/>
                    <a:pt x="11371" y="5967"/>
                  </a:cubicBezTo>
                  <a:close/>
                  <a:moveTo>
                    <a:pt x="11329" y="5773"/>
                  </a:moveTo>
                  <a:cubicBezTo>
                    <a:pt x="11328" y="5763"/>
                    <a:pt x="11327" y="5753"/>
                    <a:pt x="11327" y="5744"/>
                  </a:cubicBezTo>
                  <a:cubicBezTo>
                    <a:pt x="11374" y="5726"/>
                    <a:pt x="11452" y="5737"/>
                    <a:pt x="11453" y="5691"/>
                  </a:cubicBezTo>
                  <a:cubicBezTo>
                    <a:pt x="11455" y="5618"/>
                    <a:pt x="11354" y="5583"/>
                    <a:pt x="11310" y="5523"/>
                  </a:cubicBezTo>
                  <a:cubicBezTo>
                    <a:pt x="11307" y="5487"/>
                    <a:pt x="11305" y="5451"/>
                    <a:pt x="11302" y="5415"/>
                  </a:cubicBezTo>
                  <a:cubicBezTo>
                    <a:pt x="11394" y="5405"/>
                    <a:pt x="11481" y="5568"/>
                    <a:pt x="11565" y="5524"/>
                  </a:cubicBezTo>
                  <a:cubicBezTo>
                    <a:pt x="11592" y="5509"/>
                    <a:pt x="11507" y="5450"/>
                    <a:pt x="11534" y="5435"/>
                  </a:cubicBezTo>
                  <a:cubicBezTo>
                    <a:pt x="11567" y="5415"/>
                    <a:pt x="11608" y="5500"/>
                    <a:pt x="11640" y="5480"/>
                  </a:cubicBezTo>
                  <a:cubicBezTo>
                    <a:pt x="11769" y="5401"/>
                    <a:pt x="11716" y="5142"/>
                    <a:pt x="11936" y="5351"/>
                  </a:cubicBezTo>
                  <a:cubicBezTo>
                    <a:pt x="11972" y="5385"/>
                    <a:pt x="11934" y="5471"/>
                    <a:pt x="11976" y="5495"/>
                  </a:cubicBezTo>
                  <a:cubicBezTo>
                    <a:pt x="11975" y="5502"/>
                    <a:pt x="11974" y="5509"/>
                    <a:pt x="11974" y="5518"/>
                  </a:cubicBezTo>
                  <a:cubicBezTo>
                    <a:pt x="11973" y="5579"/>
                    <a:pt x="12175" y="5732"/>
                    <a:pt x="12202" y="5808"/>
                  </a:cubicBezTo>
                  <a:cubicBezTo>
                    <a:pt x="11959" y="5812"/>
                    <a:pt x="11715" y="5814"/>
                    <a:pt x="11471" y="5817"/>
                  </a:cubicBezTo>
                  <a:cubicBezTo>
                    <a:pt x="11465" y="5814"/>
                    <a:pt x="11458" y="5811"/>
                    <a:pt x="11452" y="5808"/>
                  </a:cubicBezTo>
                  <a:cubicBezTo>
                    <a:pt x="11417" y="5788"/>
                    <a:pt x="11363" y="5779"/>
                    <a:pt x="11329" y="5773"/>
                  </a:cubicBezTo>
                  <a:close/>
                  <a:moveTo>
                    <a:pt x="14474" y="5101"/>
                  </a:moveTo>
                  <a:cubicBezTo>
                    <a:pt x="14489" y="5124"/>
                    <a:pt x="14503" y="5147"/>
                    <a:pt x="14518" y="5169"/>
                  </a:cubicBezTo>
                  <a:cubicBezTo>
                    <a:pt x="14347" y="5245"/>
                    <a:pt x="14050" y="5212"/>
                    <a:pt x="13986" y="5220"/>
                  </a:cubicBezTo>
                  <a:cubicBezTo>
                    <a:pt x="13924" y="5228"/>
                    <a:pt x="13872" y="5156"/>
                    <a:pt x="13810" y="5158"/>
                  </a:cubicBezTo>
                  <a:cubicBezTo>
                    <a:pt x="13798" y="5159"/>
                    <a:pt x="13796" y="5190"/>
                    <a:pt x="13785" y="5184"/>
                  </a:cubicBezTo>
                  <a:cubicBezTo>
                    <a:pt x="13749" y="5164"/>
                    <a:pt x="13735" y="5112"/>
                    <a:pt x="13697" y="5097"/>
                  </a:cubicBezTo>
                  <a:cubicBezTo>
                    <a:pt x="13655" y="5081"/>
                    <a:pt x="13607" y="5101"/>
                    <a:pt x="13563" y="5096"/>
                  </a:cubicBezTo>
                  <a:cubicBezTo>
                    <a:pt x="13445" y="5083"/>
                    <a:pt x="13327" y="5025"/>
                    <a:pt x="13211" y="5047"/>
                  </a:cubicBezTo>
                  <a:cubicBezTo>
                    <a:pt x="12895" y="5108"/>
                    <a:pt x="13239" y="5059"/>
                    <a:pt x="13021" y="5141"/>
                  </a:cubicBezTo>
                  <a:cubicBezTo>
                    <a:pt x="12993" y="5151"/>
                    <a:pt x="12965" y="5161"/>
                    <a:pt x="12937" y="5171"/>
                  </a:cubicBezTo>
                  <a:cubicBezTo>
                    <a:pt x="12818" y="4851"/>
                    <a:pt x="12694" y="4533"/>
                    <a:pt x="12562" y="4217"/>
                  </a:cubicBezTo>
                  <a:cubicBezTo>
                    <a:pt x="12570" y="4197"/>
                    <a:pt x="12579" y="4178"/>
                    <a:pt x="12593" y="4162"/>
                  </a:cubicBezTo>
                  <a:cubicBezTo>
                    <a:pt x="12617" y="4135"/>
                    <a:pt x="12665" y="4139"/>
                    <a:pt x="12690" y="4112"/>
                  </a:cubicBezTo>
                  <a:cubicBezTo>
                    <a:pt x="12711" y="4091"/>
                    <a:pt x="12691" y="4017"/>
                    <a:pt x="12719" y="4027"/>
                  </a:cubicBezTo>
                  <a:cubicBezTo>
                    <a:pt x="12827" y="4062"/>
                    <a:pt x="12906" y="4155"/>
                    <a:pt x="13002" y="4215"/>
                  </a:cubicBezTo>
                  <a:cubicBezTo>
                    <a:pt x="13034" y="4235"/>
                    <a:pt x="13097" y="4229"/>
                    <a:pt x="13101" y="4266"/>
                  </a:cubicBezTo>
                  <a:cubicBezTo>
                    <a:pt x="13104" y="4288"/>
                    <a:pt x="12869" y="4309"/>
                    <a:pt x="12917" y="4375"/>
                  </a:cubicBezTo>
                  <a:cubicBezTo>
                    <a:pt x="12956" y="4428"/>
                    <a:pt x="13044" y="4407"/>
                    <a:pt x="13106" y="4428"/>
                  </a:cubicBezTo>
                  <a:cubicBezTo>
                    <a:pt x="13163" y="4448"/>
                    <a:pt x="13213" y="4486"/>
                    <a:pt x="13272" y="4498"/>
                  </a:cubicBezTo>
                  <a:cubicBezTo>
                    <a:pt x="13305" y="4505"/>
                    <a:pt x="13343" y="4498"/>
                    <a:pt x="13372" y="4482"/>
                  </a:cubicBezTo>
                  <a:cubicBezTo>
                    <a:pt x="13397" y="4468"/>
                    <a:pt x="13398" y="4422"/>
                    <a:pt x="13425" y="4414"/>
                  </a:cubicBezTo>
                  <a:cubicBezTo>
                    <a:pt x="13470" y="4401"/>
                    <a:pt x="13523" y="4443"/>
                    <a:pt x="13566" y="4425"/>
                  </a:cubicBezTo>
                  <a:cubicBezTo>
                    <a:pt x="13577" y="4420"/>
                    <a:pt x="13586" y="4406"/>
                    <a:pt x="13590" y="4391"/>
                  </a:cubicBezTo>
                  <a:cubicBezTo>
                    <a:pt x="13591" y="4392"/>
                    <a:pt x="13591" y="4393"/>
                    <a:pt x="13592" y="4394"/>
                  </a:cubicBezTo>
                  <a:cubicBezTo>
                    <a:pt x="13777" y="4642"/>
                    <a:pt x="13830" y="4492"/>
                    <a:pt x="13992" y="4558"/>
                  </a:cubicBezTo>
                  <a:cubicBezTo>
                    <a:pt x="14061" y="4585"/>
                    <a:pt x="14141" y="4651"/>
                    <a:pt x="14205" y="4698"/>
                  </a:cubicBezTo>
                  <a:cubicBezTo>
                    <a:pt x="14296" y="4832"/>
                    <a:pt x="14386" y="4966"/>
                    <a:pt x="14474" y="5101"/>
                  </a:cubicBezTo>
                  <a:close/>
                  <a:moveTo>
                    <a:pt x="14597" y="5114"/>
                  </a:moveTo>
                  <a:cubicBezTo>
                    <a:pt x="14583" y="5092"/>
                    <a:pt x="14569" y="5070"/>
                    <a:pt x="14555" y="5049"/>
                  </a:cubicBezTo>
                  <a:cubicBezTo>
                    <a:pt x="14493" y="4953"/>
                    <a:pt x="14431" y="4859"/>
                    <a:pt x="14367" y="4764"/>
                  </a:cubicBezTo>
                  <a:cubicBezTo>
                    <a:pt x="14380" y="4768"/>
                    <a:pt x="14393" y="4772"/>
                    <a:pt x="14405" y="4777"/>
                  </a:cubicBezTo>
                  <a:cubicBezTo>
                    <a:pt x="14487" y="4814"/>
                    <a:pt x="14645" y="4904"/>
                    <a:pt x="14639" y="5016"/>
                  </a:cubicBezTo>
                  <a:cubicBezTo>
                    <a:pt x="14636" y="5057"/>
                    <a:pt x="14621" y="5088"/>
                    <a:pt x="14597" y="5114"/>
                  </a:cubicBezTo>
                  <a:close/>
                  <a:moveTo>
                    <a:pt x="13899" y="8555"/>
                  </a:moveTo>
                  <a:cubicBezTo>
                    <a:pt x="13904" y="8576"/>
                    <a:pt x="13910" y="8596"/>
                    <a:pt x="13915" y="8617"/>
                  </a:cubicBezTo>
                  <a:cubicBezTo>
                    <a:pt x="13913" y="8614"/>
                    <a:pt x="13912" y="8610"/>
                    <a:pt x="13909" y="8607"/>
                  </a:cubicBezTo>
                  <a:cubicBezTo>
                    <a:pt x="13906" y="8602"/>
                    <a:pt x="13892" y="8607"/>
                    <a:pt x="13891" y="8600"/>
                  </a:cubicBezTo>
                  <a:cubicBezTo>
                    <a:pt x="13888" y="8586"/>
                    <a:pt x="13897" y="8570"/>
                    <a:pt x="13899" y="8555"/>
                  </a:cubicBezTo>
                  <a:close/>
                  <a:moveTo>
                    <a:pt x="13563" y="6527"/>
                  </a:moveTo>
                  <a:cubicBezTo>
                    <a:pt x="13513" y="6539"/>
                    <a:pt x="13458" y="6521"/>
                    <a:pt x="13408" y="6529"/>
                  </a:cubicBezTo>
                  <a:cubicBezTo>
                    <a:pt x="13388" y="6468"/>
                    <a:pt x="13368" y="6406"/>
                    <a:pt x="13347" y="6345"/>
                  </a:cubicBezTo>
                  <a:cubicBezTo>
                    <a:pt x="13352" y="6346"/>
                    <a:pt x="13356" y="6348"/>
                    <a:pt x="13360" y="6348"/>
                  </a:cubicBezTo>
                  <a:cubicBezTo>
                    <a:pt x="13737" y="6386"/>
                    <a:pt x="13425" y="6244"/>
                    <a:pt x="13683" y="6156"/>
                  </a:cubicBezTo>
                  <a:cubicBezTo>
                    <a:pt x="13730" y="6141"/>
                    <a:pt x="13772" y="6218"/>
                    <a:pt x="13820" y="6210"/>
                  </a:cubicBezTo>
                  <a:cubicBezTo>
                    <a:pt x="13868" y="6202"/>
                    <a:pt x="13886" y="6094"/>
                    <a:pt x="13929" y="6114"/>
                  </a:cubicBezTo>
                  <a:cubicBezTo>
                    <a:pt x="13971" y="6134"/>
                    <a:pt x="13913" y="6207"/>
                    <a:pt x="13915" y="6254"/>
                  </a:cubicBezTo>
                  <a:cubicBezTo>
                    <a:pt x="13916" y="6309"/>
                    <a:pt x="13921" y="6366"/>
                    <a:pt x="13939" y="6419"/>
                  </a:cubicBezTo>
                  <a:cubicBezTo>
                    <a:pt x="13998" y="6597"/>
                    <a:pt x="14070" y="6099"/>
                    <a:pt x="14026" y="6628"/>
                  </a:cubicBezTo>
                  <a:cubicBezTo>
                    <a:pt x="14016" y="6744"/>
                    <a:pt x="13970" y="6854"/>
                    <a:pt x="13939" y="6966"/>
                  </a:cubicBezTo>
                  <a:cubicBezTo>
                    <a:pt x="13936" y="6976"/>
                    <a:pt x="13926" y="6983"/>
                    <a:pt x="13924" y="6994"/>
                  </a:cubicBezTo>
                  <a:cubicBezTo>
                    <a:pt x="13908" y="7084"/>
                    <a:pt x="13923" y="7180"/>
                    <a:pt x="13893" y="7267"/>
                  </a:cubicBezTo>
                  <a:cubicBezTo>
                    <a:pt x="13875" y="7321"/>
                    <a:pt x="13864" y="7388"/>
                    <a:pt x="13816" y="7418"/>
                  </a:cubicBezTo>
                  <a:cubicBezTo>
                    <a:pt x="13784" y="7438"/>
                    <a:pt x="13742" y="7453"/>
                    <a:pt x="13696" y="7462"/>
                  </a:cubicBezTo>
                  <a:cubicBezTo>
                    <a:pt x="13623" y="7214"/>
                    <a:pt x="13547" y="6966"/>
                    <a:pt x="13468" y="6719"/>
                  </a:cubicBezTo>
                  <a:cubicBezTo>
                    <a:pt x="13531" y="6704"/>
                    <a:pt x="13592" y="6666"/>
                    <a:pt x="13630" y="6627"/>
                  </a:cubicBezTo>
                  <a:cubicBezTo>
                    <a:pt x="13672" y="6584"/>
                    <a:pt x="13672" y="6515"/>
                    <a:pt x="13693" y="6459"/>
                  </a:cubicBezTo>
                  <a:cubicBezTo>
                    <a:pt x="13650" y="6482"/>
                    <a:pt x="13611" y="6515"/>
                    <a:pt x="13563" y="6527"/>
                  </a:cubicBezTo>
                  <a:close/>
                  <a:moveTo>
                    <a:pt x="14227" y="18741"/>
                  </a:moveTo>
                  <a:cubicBezTo>
                    <a:pt x="14263" y="18720"/>
                    <a:pt x="14309" y="18720"/>
                    <a:pt x="14345" y="18700"/>
                  </a:cubicBezTo>
                  <a:cubicBezTo>
                    <a:pt x="14403" y="18667"/>
                    <a:pt x="14416" y="18585"/>
                    <a:pt x="14466" y="18541"/>
                  </a:cubicBezTo>
                  <a:cubicBezTo>
                    <a:pt x="14479" y="18529"/>
                    <a:pt x="14502" y="18540"/>
                    <a:pt x="14517" y="18532"/>
                  </a:cubicBezTo>
                  <a:cubicBezTo>
                    <a:pt x="14637" y="18473"/>
                    <a:pt x="14748" y="18391"/>
                    <a:pt x="14872" y="18339"/>
                  </a:cubicBezTo>
                  <a:cubicBezTo>
                    <a:pt x="14899" y="18328"/>
                    <a:pt x="14932" y="18333"/>
                    <a:pt x="14957" y="18318"/>
                  </a:cubicBezTo>
                  <a:cubicBezTo>
                    <a:pt x="14987" y="18301"/>
                    <a:pt x="15014" y="18282"/>
                    <a:pt x="15041" y="18263"/>
                  </a:cubicBezTo>
                  <a:cubicBezTo>
                    <a:pt x="15026" y="18397"/>
                    <a:pt x="15008" y="18533"/>
                    <a:pt x="14993" y="18668"/>
                  </a:cubicBezTo>
                  <a:cubicBezTo>
                    <a:pt x="14659" y="18768"/>
                    <a:pt x="14319" y="18855"/>
                    <a:pt x="13980" y="18927"/>
                  </a:cubicBezTo>
                  <a:cubicBezTo>
                    <a:pt x="13978" y="18922"/>
                    <a:pt x="13977" y="18918"/>
                    <a:pt x="13976" y="18914"/>
                  </a:cubicBezTo>
                  <a:cubicBezTo>
                    <a:pt x="13970" y="18899"/>
                    <a:pt x="13925" y="18890"/>
                    <a:pt x="13939" y="18882"/>
                  </a:cubicBezTo>
                  <a:cubicBezTo>
                    <a:pt x="13981" y="18860"/>
                    <a:pt x="14036" y="18881"/>
                    <a:pt x="14077" y="18860"/>
                  </a:cubicBezTo>
                  <a:cubicBezTo>
                    <a:pt x="14135" y="18832"/>
                    <a:pt x="14172" y="18774"/>
                    <a:pt x="14227" y="18741"/>
                  </a:cubicBezTo>
                  <a:close/>
                  <a:moveTo>
                    <a:pt x="14209" y="9103"/>
                  </a:moveTo>
                  <a:cubicBezTo>
                    <a:pt x="14187" y="9068"/>
                    <a:pt x="14175" y="9028"/>
                    <a:pt x="14155" y="8992"/>
                  </a:cubicBezTo>
                  <a:cubicBezTo>
                    <a:pt x="14132" y="8953"/>
                    <a:pt x="14107" y="8915"/>
                    <a:pt x="14081" y="8878"/>
                  </a:cubicBezTo>
                  <a:cubicBezTo>
                    <a:pt x="14028" y="8664"/>
                    <a:pt x="13973" y="8451"/>
                    <a:pt x="13915" y="8238"/>
                  </a:cubicBezTo>
                  <a:cubicBezTo>
                    <a:pt x="13958" y="8142"/>
                    <a:pt x="13967" y="8032"/>
                    <a:pt x="13993" y="7930"/>
                  </a:cubicBezTo>
                  <a:cubicBezTo>
                    <a:pt x="13998" y="7907"/>
                    <a:pt x="14035" y="7855"/>
                    <a:pt x="14041" y="7878"/>
                  </a:cubicBezTo>
                  <a:cubicBezTo>
                    <a:pt x="14055" y="7944"/>
                    <a:pt x="14044" y="8014"/>
                    <a:pt x="14035" y="8081"/>
                  </a:cubicBezTo>
                  <a:cubicBezTo>
                    <a:pt x="14031" y="8120"/>
                    <a:pt x="13976" y="8165"/>
                    <a:pt x="14002" y="8193"/>
                  </a:cubicBezTo>
                  <a:cubicBezTo>
                    <a:pt x="14033" y="8227"/>
                    <a:pt x="14103" y="8165"/>
                    <a:pt x="14139" y="8193"/>
                  </a:cubicBezTo>
                  <a:cubicBezTo>
                    <a:pt x="14210" y="8248"/>
                    <a:pt x="14239" y="8342"/>
                    <a:pt x="14290" y="8416"/>
                  </a:cubicBezTo>
                  <a:cubicBezTo>
                    <a:pt x="14352" y="8504"/>
                    <a:pt x="14451" y="8564"/>
                    <a:pt x="14508" y="8655"/>
                  </a:cubicBezTo>
                  <a:cubicBezTo>
                    <a:pt x="14520" y="8675"/>
                    <a:pt x="14511" y="8703"/>
                    <a:pt x="14521" y="8724"/>
                  </a:cubicBezTo>
                  <a:cubicBezTo>
                    <a:pt x="14559" y="8802"/>
                    <a:pt x="14605" y="8876"/>
                    <a:pt x="14652" y="8950"/>
                  </a:cubicBezTo>
                  <a:cubicBezTo>
                    <a:pt x="14661" y="8965"/>
                    <a:pt x="14670" y="8978"/>
                    <a:pt x="14679" y="8989"/>
                  </a:cubicBezTo>
                  <a:cubicBezTo>
                    <a:pt x="14523" y="9030"/>
                    <a:pt x="14366" y="9067"/>
                    <a:pt x="14209" y="9103"/>
                  </a:cubicBezTo>
                  <a:close/>
                  <a:moveTo>
                    <a:pt x="12737" y="688"/>
                  </a:moveTo>
                  <a:cubicBezTo>
                    <a:pt x="12775" y="669"/>
                    <a:pt x="12764" y="607"/>
                    <a:pt x="12783" y="568"/>
                  </a:cubicBezTo>
                  <a:cubicBezTo>
                    <a:pt x="12870" y="598"/>
                    <a:pt x="12954" y="630"/>
                    <a:pt x="13033" y="664"/>
                  </a:cubicBezTo>
                  <a:cubicBezTo>
                    <a:pt x="13086" y="687"/>
                    <a:pt x="13136" y="711"/>
                    <a:pt x="13185" y="736"/>
                  </a:cubicBezTo>
                  <a:cubicBezTo>
                    <a:pt x="13090" y="737"/>
                    <a:pt x="12994" y="740"/>
                    <a:pt x="12898" y="741"/>
                  </a:cubicBezTo>
                  <a:cubicBezTo>
                    <a:pt x="12893" y="723"/>
                    <a:pt x="12897" y="693"/>
                    <a:pt x="12883" y="699"/>
                  </a:cubicBezTo>
                  <a:cubicBezTo>
                    <a:pt x="12862" y="709"/>
                    <a:pt x="12847" y="725"/>
                    <a:pt x="12833" y="743"/>
                  </a:cubicBezTo>
                  <a:cubicBezTo>
                    <a:pt x="12653" y="746"/>
                    <a:pt x="12473" y="749"/>
                    <a:pt x="12293" y="754"/>
                  </a:cubicBezTo>
                  <a:cubicBezTo>
                    <a:pt x="12045" y="760"/>
                    <a:pt x="11794" y="809"/>
                    <a:pt x="11549" y="866"/>
                  </a:cubicBezTo>
                  <a:cubicBezTo>
                    <a:pt x="11537" y="862"/>
                    <a:pt x="11524" y="857"/>
                    <a:pt x="11512" y="854"/>
                  </a:cubicBezTo>
                  <a:cubicBezTo>
                    <a:pt x="11668" y="797"/>
                    <a:pt x="11825" y="745"/>
                    <a:pt x="11985" y="701"/>
                  </a:cubicBezTo>
                  <a:cubicBezTo>
                    <a:pt x="12239" y="632"/>
                    <a:pt x="12492" y="582"/>
                    <a:pt x="12744" y="554"/>
                  </a:cubicBezTo>
                  <a:cubicBezTo>
                    <a:pt x="12752" y="557"/>
                    <a:pt x="12761" y="560"/>
                    <a:pt x="12769" y="563"/>
                  </a:cubicBezTo>
                  <a:cubicBezTo>
                    <a:pt x="12748" y="575"/>
                    <a:pt x="12726" y="588"/>
                    <a:pt x="12704" y="600"/>
                  </a:cubicBezTo>
                  <a:cubicBezTo>
                    <a:pt x="12704" y="600"/>
                    <a:pt x="12709" y="702"/>
                    <a:pt x="12737" y="688"/>
                  </a:cubicBezTo>
                  <a:close/>
                  <a:moveTo>
                    <a:pt x="9974" y="619"/>
                  </a:moveTo>
                  <a:cubicBezTo>
                    <a:pt x="9747" y="523"/>
                    <a:pt x="9539" y="457"/>
                    <a:pt x="9329" y="412"/>
                  </a:cubicBezTo>
                  <a:cubicBezTo>
                    <a:pt x="9492" y="376"/>
                    <a:pt x="9663" y="345"/>
                    <a:pt x="9842" y="322"/>
                  </a:cubicBezTo>
                  <a:cubicBezTo>
                    <a:pt x="10029" y="410"/>
                    <a:pt x="10233" y="582"/>
                    <a:pt x="10369" y="712"/>
                  </a:cubicBezTo>
                  <a:cubicBezTo>
                    <a:pt x="10437" y="776"/>
                    <a:pt x="10501" y="843"/>
                    <a:pt x="10564" y="912"/>
                  </a:cubicBezTo>
                  <a:cubicBezTo>
                    <a:pt x="10534" y="895"/>
                    <a:pt x="10505" y="878"/>
                    <a:pt x="10476" y="862"/>
                  </a:cubicBezTo>
                  <a:cubicBezTo>
                    <a:pt x="10313" y="773"/>
                    <a:pt x="10146" y="691"/>
                    <a:pt x="9974" y="619"/>
                  </a:cubicBezTo>
                  <a:close/>
                  <a:moveTo>
                    <a:pt x="10531" y="2115"/>
                  </a:moveTo>
                  <a:cubicBezTo>
                    <a:pt x="10557" y="2101"/>
                    <a:pt x="10593" y="2132"/>
                    <a:pt x="10620" y="2120"/>
                  </a:cubicBezTo>
                  <a:cubicBezTo>
                    <a:pt x="10634" y="2114"/>
                    <a:pt x="10610" y="2085"/>
                    <a:pt x="10620" y="2075"/>
                  </a:cubicBezTo>
                  <a:cubicBezTo>
                    <a:pt x="10641" y="2054"/>
                    <a:pt x="10709" y="2068"/>
                    <a:pt x="10701" y="2039"/>
                  </a:cubicBezTo>
                  <a:cubicBezTo>
                    <a:pt x="10686" y="1985"/>
                    <a:pt x="10610" y="1972"/>
                    <a:pt x="10579" y="1925"/>
                  </a:cubicBezTo>
                  <a:cubicBezTo>
                    <a:pt x="10576" y="1921"/>
                    <a:pt x="10563" y="1887"/>
                    <a:pt x="10551" y="1846"/>
                  </a:cubicBezTo>
                  <a:cubicBezTo>
                    <a:pt x="10566" y="1802"/>
                    <a:pt x="10582" y="1758"/>
                    <a:pt x="10598" y="1715"/>
                  </a:cubicBezTo>
                  <a:cubicBezTo>
                    <a:pt x="10605" y="1694"/>
                    <a:pt x="10614" y="1674"/>
                    <a:pt x="10621" y="1654"/>
                  </a:cubicBezTo>
                  <a:cubicBezTo>
                    <a:pt x="10624" y="1653"/>
                    <a:pt x="10626" y="1652"/>
                    <a:pt x="10628" y="1651"/>
                  </a:cubicBezTo>
                  <a:cubicBezTo>
                    <a:pt x="10672" y="1626"/>
                    <a:pt x="10706" y="1585"/>
                    <a:pt x="10753" y="1564"/>
                  </a:cubicBezTo>
                  <a:cubicBezTo>
                    <a:pt x="10771" y="1555"/>
                    <a:pt x="10791" y="1553"/>
                    <a:pt x="10812" y="1551"/>
                  </a:cubicBezTo>
                  <a:cubicBezTo>
                    <a:pt x="10857" y="1870"/>
                    <a:pt x="10898" y="2191"/>
                    <a:pt x="10934" y="2512"/>
                  </a:cubicBezTo>
                  <a:cubicBezTo>
                    <a:pt x="10934" y="2512"/>
                    <a:pt x="10934" y="2512"/>
                    <a:pt x="10933" y="2513"/>
                  </a:cubicBezTo>
                  <a:cubicBezTo>
                    <a:pt x="10933" y="2521"/>
                    <a:pt x="10934" y="2530"/>
                    <a:pt x="10937" y="2539"/>
                  </a:cubicBezTo>
                  <a:cubicBezTo>
                    <a:pt x="10943" y="2591"/>
                    <a:pt x="10948" y="2643"/>
                    <a:pt x="10954" y="2695"/>
                  </a:cubicBezTo>
                  <a:cubicBezTo>
                    <a:pt x="10781" y="2773"/>
                    <a:pt x="10575" y="2752"/>
                    <a:pt x="10387" y="2781"/>
                  </a:cubicBezTo>
                  <a:cubicBezTo>
                    <a:pt x="10370" y="2784"/>
                    <a:pt x="10353" y="2784"/>
                    <a:pt x="10336" y="2789"/>
                  </a:cubicBezTo>
                  <a:cubicBezTo>
                    <a:pt x="10302" y="2799"/>
                    <a:pt x="10267" y="2809"/>
                    <a:pt x="10233" y="2819"/>
                  </a:cubicBezTo>
                  <a:cubicBezTo>
                    <a:pt x="10292" y="2624"/>
                    <a:pt x="10352" y="2429"/>
                    <a:pt x="10416" y="2236"/>
                  </a:cubicBezTo>
                  <a:cubicBezTo>
                    <a:pt x="10439" y="2189"/>
                    <a:pt x="10472" y="2148"/>
                    <a:pt x="10531" y="2115"/>
                  </a:cubicBezTo>
                  <a:close/>
                  <a:moveTo>
                    <a:pt x="7894" y="1360"/>
                  </a:moveTo>
                  <a:cubicBezTo>
                    <a:pt x="7822" y="1354"/>
                    <a:pt x="7750" y="1351"/>
                    <a:pt x="7678" y="1349"/>
                  </a:cubicBezTo>
                  <a:cubicBezTo>
                    <a:pt x="7689" y="1328"/>
                    <a:pt x="7700" y="1306"/>
                    <a:pt x="7713" y="1284"/>
                  </a:cubicBezTo>
                  <a:cubicBezTo>
                    <a:pt x="8130" y="1210"/>
                    <a:pt x="8559" y="1134"/>
                    <a:pt x="8972" y="1134"/>
                  </a:cubicBezTo>
                  <a:cubicBezTo>
                    <a:pt x="8980" y="1134"/>
                    <a:pt x="8986" y="1134"/>
                    <a:pt x="8992" y="1134"/>
                  </a:cubicBezTo>
                  <a:cubicBezTo>
                    <a:pt x="9201" y="1135"/>
                    <a:pt x="9484" y="1138"/>
                    <a:pt x="9762" y="1141"/>
                  </a:cubicBezTo>
                  <a:cubicBezTo>
                    <a:pt x="9180" y="1201"/>
                    <a:pt x="8605" y="1288"/>
                    <a:pt x="8024" y="1433"/>
                  </a:cubicBezTo>
                  <a:cubicBezTo>
                    <a:pt x="7890" y="1466"/>
                    <a:pt x="7757" y="1501"/>
                    <a:pt x="7624" y="1537"/>
                  </a:cubicBezTo>
                  <a:cubicBezTo>
                    <a:pt x="7627" y="1513"/>
                    <a:pt x="7631" y="1490"/>
                    <a:pt x="7637" y="1466"/>
                  </a:cubicBezTo>
                  <a:cubicBezTo>
                    <a:pt x="7657" y="1466"/>
                    <a:pt x="7678" y="1477"/>
                    <a:pt x="7696" y="1469"/>
                  </a:cubicBezTo>
                  <a:cubicBezTo>
                    <a:pt x="7749" y="1447"/>
                    <a:pt x="7793" y="1407"/>
                    <a:pt x="7843" y="1380"/>
                  </a:cubicBezTo>
                  <a:cubicBezTo>
                    <a:pt x="7859" y="1371"/>
                    <a:pt x="7912" y="1362"/>
                    <a:pt x="7894" y="1360"/>
                  </a:cubicBezTo>
                  <a:close/>
                  <a:moveTo>
                    <a:pt x="7527" y="1664"/>
                  </a:moveTo>
                  <a:cubicBezTo>
                    <a:pt x="7537" y="1761"/>
                    <a:pt x="7567" y="1855"/>
                    <a:pt x="7615" y="1945"/>
                  </a:cubicBezTo>
                  <a:cubicBezTo>
                    <a:pt x="7102" y="2159"/>
                    <a:pt x="6602" y="2402"/>
                    <a:pt x="6117" y="2675"/>
                  </a:cubicBezTo>
                  <a:cubicBezTo>
                    <a:pt x="5654" y="2935"/>
                    <a:pt x="5196" y="3230"/>
                    <a:pt x="4751" y="3554"/>
                  </a:cubicBezTo>
                  <a:cubicBezTo>
                    <a:pt x="4691" y="3399"/>
                    <a:pt x="4657" y="3236"/>
                    <a:pt x="4658" y="3064"/>
                  </a:cubicBezTo>
                  <a:cubicBezTo>
                    <a:pt x="4658" y="3000"/>
                    <a:pt x="4663" y="2934"/>
                    <a:pt x="4673" y="2867"/>
                  </a:cubicBezTo>
                  <a:cubicBezTo>
                    <a:pt x="4679" y="2825"/>
                    <a:pt x="4687" y="2784"/>
                    <a:pt x="4697" y="2743"/>
                  </a:cubicBezTo>
                  <a:cubicBezTo>
                    <a:pt x="5556" y="2300"/>
                    <a:pt x="6511" y="1946"/>
                    <a:pt x="7527" y="1664"/>
                  </a:cubicBezTo>
                  <a:close/>
                  <a:moveTo>
                    <a:pt x="7426" y="1335"/>
                  </a:moveTo>
                  <a:cubicBezTo>
                    <a:pt x="7473" y="1327"/>
                    <a:pt x="7520" y="1318"/>
                    <a:pt x="7568" y="1310"/>
                  </a:cubicBezTo>
                  <a:cubicBezTo>
                    <a:pt x="7576" y="1309"/>
                    <a:pt x="7584" y="1307"/>
                    <a:pt x="7593" y="1306"/>
                  </a:cubicBezTo>
                  <a:cubicBezTo>
                    <a:pt x="7586" y="1319"/>
                    <a:pt x="7581" y="1333"/>
                    <a:pt x="7576" y="1347"/>
                  </a:cubicBezTo>
                  <a:cubicBezTo>
                    <a:pt x="7528" y="1346"/>
                    <a:pt x="7480" y="1344"/>
                    <a:pt x="7432" y="1341"/>
                  </a:cubicBezTo>
                  <a:cubicBezTo>
                    <a:pt x="7430" y="1341"/>
                    <a:pt x="7428" y="1338"/>
                    <a:pt x="7426" y="1335"/>
                  </a:cubicBezTo>
                  <a:close/>
                  <a:moveTo>
                    <a:pt x="7357" y="1348"/>
                  </a:moveTo>
                  <a:cubicBezTo>
                    <a:pt x="7373" y="1345"/>
                    <a:pt x="7389" y="1342"/>
                    <a:pt x="7405" y="1339"/>
                  </a:cubicBezTo>
                  <a:cubicBezTo>
                    <a:pt x="7381" y="1358"/>
                    <a:pt x="7353" y="1393"/>
                    <a:pt x="7351" y="1372"/>
                  </a:cubicBezTo>
                  <a:cubicBezTo>
                    <a:pt x="7350" y="1364"/>
                    <a:pt x="7353" y="1356"/>
                    <a:pt x="7357" y="1348"/>
                  </a:cubicBezTo>
                  <a:close/>
                  <a:moveTo>
                    <a:pt x="5382" y="1723"/>
                  </a:moveTo>
                  <a:cubicBezTo>
                    <a:pt x="5386" y="1720"/>
                    <a:pt x="5390" y="1717"/>
                    <a:pt x="5394" y="1714"/>
                  </a:cubicBezTo>
                  <a:cubicBezTo>
                    <a:pt x="5408" y="1707"/>
                    <a:pt x="5422" y="1700"/>
                    <a:pt x="5436" y="1693"/>
                  </a:cubicBezTo>
                  <a:cubicBezTo>
                    <a:pt x="5419" y="1704"/>
                    <a:pt x="5401" y="1714"/>
                    <a:pt x="5382" y="1723"/>
                  </a:cubicBezTo>
                  <a:close/>
                  <a:moveTo>
                    <a:pt x="7356" y="1348"/>
                  </a:moveTo>
                  <a:cubicBezTo>
                    <a:pt x="7353" y="1358"/>
                    <a:pt x="7304" y="1369"/>
                    <a:pt x="7287" y="1383"/>
                  </a:cubicBezTo>
                  <a:cubicBezTo>
                    <a:pt x="7239" y="1422"/>
                    <a:pt x="7194" y="1466"/>
                    <a:pt x="7147" y="1508"/>
                  </a:cubicBezTo>
                  <a:cubicBezTo>
                    <a:pt x="7147" y="1508"/>
                    <a:pt x="7256" y="1564"/>
                    <a:pt x="7314" y="1559"/>
                  </a:cubicBezTo>
                  <a:cubicBezTo>
                    <a:pt x="7390" y="1553"/>
                    <a:pt x="7461" y="1523"/>
                    <a:pt x="7534" y="1496"/>
                  </a:cubicBezTo>
                  <a:cubicBezTo>
                    <a:pt x="7530" y="1519"/>
                    <a:pt x="7528" y="1541"/>
                    <a:pt x="7526" y="1564"/>
                  </a:cubicBezTo>
                  <a:cubicBezTo>
                    <a:pt x="6527" y="1840"/>
                    <a:pt x="5585" y="2185"/>
                    <a:pt x="4731" y="2617"/>
                  </a:cubicBezTo>
                  <a:cubicBezTo>
                    <a:pt x="4814" y="2366"/>
                    <a:pt x="4962" y="2142"/>
                    <a:pt x="5149" y="1943"/>
                  </a:cubicBezTo>
                  <a:cubicBezTo>
                    <a:pt x="5782" y="1664"/>
                    <a:pt x="6459" y="1510"/>
                    <a:pt x="7356" y="1348"/>
                  </a:cubicBezTo>
                  <a:close/>
                  <a:moveTo>
                    <a:pt x="4672" y="3612"/>
                  </a:moveTo>
                  <a:cubicBezTo>
                    <a:pt x="3847" y="4223"/>
                    <a:pt x="3073" y="4937"/>
                    <a:pt x="2403" y="5733"/>
                  </a:cubicBezTo>
                  <a:cubicBezTo>
                    <a:pt x="2341" y="5490"/>
                    <a:pt x="2358" y="5365"/>
                    <a:pt x="2347" y="4961"/>
                  </a:cubicBezTo>
                  <a:cubicBezTo>
                    <a:pt x="2347" y="4955"/>
                    <a:pt x="2347" y="4949"/>
                    <a:pt x="2347" y="4943"/>
                  </a:cubicBezTo>
                  <a:cubicBezTo>
                    <a:pt x="2346" y="4736"/>
                    <a:pt x="2443" y="4483"/>
                    <a:pt x="2528" y="4287"/>
                  </a:cubicBezTo>
                  <a:cubicBezTo>
                    <a:pt x="2532" y="4279"/>
                    <a:pt x="2536" y="4271"/>
                    <a:pt x="2539" y="4263"/>
                  </a:cubicBezTo>
                  <a:cubicBezTo>
                    <a:pt x="3125" y="3691"/>
                    <a:pt x="3816" y="3208"/>
                    <a:pt x="4587" y="2800"/>
                  </a:cubicBezTo>
                  <a:cubicBezTo>
                    <a:pt x="4583" y="2818"/>
                    <a:pt x="4580" y="2835"/>
                    <a:pt x="4577" y="2853"/>
                  </a:cubicBezTo>
                  <a:cubicBezTo>
                    <a:pt x="4567" y="2925"/>
                    <a:pt x="4562" y="2995"/>
                    <a:pt x="4562" y="3064"/>
                  </a:cubicBezTo>
                  <a:cubicBezTo>
                    <a:pt x="4563" y="3259"/>
                    <a:pt x="4603" y="3441"/>
                    <a:pt x="4672" y="3612"/>
                  </a:cubicBezTo>
                  <a:close/>
                  <a:moveTo>
                    <a:pt x="2562" y="14856"/>
                  </a:moveTo>
                  <a:cubicBezTo>
                    <a:pt x="2562" y="14705"/>
                    <a:pt x="2565" y="14554"/>
                    <a:pt x="2574" y="14405"/>
                  </a:cubicBezTo>
                  <a:cubicBezTo>
                    <a:pt x="3316" y="14947"/>
                    <a:pt x="4156" y="15381"/>
                    <a:pt x="5011" y="15714"/>
                  </a:cubicBezTo>
                  <a:cubicBezTo>
                    <a:pt x="5006" y="16222"/>
                    <a:pt x="5002" y="16730"/>
                    <a:pt x="5001" y="17238"/>
                  </a:cubicBezTo>
                  <a:cubicBezTo>
                    <a:pt x="5001" y="17240"/>
                    <a:pt x="5001" y="17243"/>
                    <a:pt x="5001" y="17245"/>
                  </a:cubicBezTo>
                  <a:cubicBezTo>
                    <a:pt x="5001" y="17540"/>
                    <a:pt x="5061" y="17828"/>
                    <a:pt x="5094" y="18113"/>
                  </a:cubicBezTo>
                  <a:cubicBezTo>
                    <a:pt x="5095" y="18117"/>
                    <a:pt x="5095" y="18121"/>
                    <a:pt x="5096" y="18125"/>
                  </a:cubicBezTo>
                  <a:cubicBezTo>
                    <a:pt x="4255" y="17769"/>
                    <a:pt x="3449" y="17321"/>
                    <a:pt x="2743" y="16769"/>
                  </a:cubicBezTo>
                  <a:cubicBezTo>
                    <a:pt x="2700" y="16597"/>
                    <a:pt x="2663" y="16421"/>
                    <a:pt x="2645" y="16249"/>
                  </a:cubicBezTo>
                  <a:cubicBezTo>
                    <a:pt x="2617" y="15987"/>
                    <a:pt x="2592" y="15724"/>
                    <a:pt x="2568" y="15462"/>
                  </a:cubicBezTo>
                  <a:cubicBezTo>
                    <a:pt x="2565" y="15427"/>
                    <a:pt x="2563" y="15392"/>
                    <a:pt x="2563" y="15358"/>
                  </a:cubicBezTo>
                  <a:cubicBezTo>
                    <a:pt x="2563" y="15354"/>
                    <a:pt x="2563" y="15351"/>
                    <a:pt x="2563" y="15349"/>
                  </a:cubicBezTo>
                  <a:cubicBezTo>
                    <a:pt x="2563" y="15305"/>
                    <a:pt x="2564" y="15262"/>
                    <a:pt x="2564" y="15219"/>
                  </a:cubicBezTo>
                  <a:cubicBezTo>
                    <a:pt x="2564" y="15098"/>
                    <a:pt x="2562" y="14977"/>
                    <a:pt x="2562" y="14856"/>
                  </a:cubicBezTo>
                  <a:close/>
                  <a:moveTo>
                    <a:pt x="10471" y="20810"/>
                  </a:moveTo>
                  <a:cubicBezTo>
                    <a:pt x="9852" y="20785"/>
                    <a:pt x="9356" y="20755"/>
                    <a:pt x="8730" y="20668"/>
                  </a:cubicBezTo>
                  <a:cubicBezTo>
                    <a:pt x="8677" y="20660"/>
                    <a:pt x="8623" y="20652"/>
                    <a:pt x="8570" y="20644"/>
                  </a:cubicBezTo>
                  <a:cubicBezTo>
                    <a:pt x="8501" y="20422"/>
                    <a:pt x="8456" y="20184"/>
                    <a:pt x="8427" y="19957"/>
                  </a:cubicBezTo>
                  <a:cubicBezTo>
                    <a:pt x="8392" y="19685"/>
                    <a:pt x="8339" y="19418"/>
                    <a:pt x="8332" y="19152"/>
                  </a:cubicBezTo>
                  <a:cubicBezTo>
                    <a:pt x="8687" y="19212"/>
                    <a:pt x="9058" y="19263"/>
                    <a:pt x="9396" y="19290"/>
                  </a:cubicBezTo>
                  <a:cubicBezTo>
                    <a:pt x="9468" y="19364"/>
                    <a:pt x="9529" y="19389"/>
                    <a:pt x="9581" y="19455"/>
                  </a:cubicBezTo>
                  <a:cubicBezTo>
                    <a:pt x="9647" y="19539"/>
                    <a:pt x="9586" y="19599"/>
                    <a:pt x="9625" y="19707"/>
                  </a:cubicBezTo>
                  <a:cubicBezTo>
                    <a:pt x="9660" y="19805"/>
                    <a:pt x="9712" y="19896"/>
                    <a:pt x="9758" y="19989"/>
                  </a:cubicBezTo>
                  <a:cubicBezTo>
                    <a:pt x="9840" y="20155"/>
                    <a:pt x="9937" y="20178"/>
                    <a:pt x="10089" y="20263"/>
                  </a:cubicBezTo>
                  <a:cubicBezTo>
                    <a:pt x="10183" y="20315"/>
                    <a:pt x="10178" y="20370"/>
                    <a:pt x="10260" y="20456"/>
                  </a:cubicBezTo>
                  <a:cubicBezTo>
                    <a:pt x="10299" y="20496"/>
                    <a:pt x="10345" y="20526"/>
                    <a:pt x="10389" y="20560"/>
                  </a:cubicBezTo>
                  <a:cubicBezTo>
                    <a:pt x="10412" y="20579"/>
                    <a:pt x="10445" y="20588"/>
                    <a:pt x="10461" y="20613"/>
                  </a:cubicBezTo>
                  <a:cubicBezTo>
                    <a:pt x="10573" y="20791"/>
                    <a:pt x="10158" y="20575"/>
                    <a:pt x="10471" y="20810"/>
                  </a:cubicBezTo>
                  <a:close/>
                  <a:moveTo>
                    <a:pt x="20658" y="9933"/>
                  </a:moveTo>
                  <a:cubicBezTo>
                    <a:pt x="20673" y="9970"/>
                    <a:pt x="20706" y="9998"/>
                    <a:pt x="20718" y="10036"/>
                  </a:cubicBezTo>
                  <a:cubicBezTo>
                    <a:pt x="20963" y="10820"/>
                    <a:pt x="20693" y="10065"/>
                    <a:pt x="20851" y="10523"/>
                  </a:cubicBezTo>
                  <a:cubicBezTo>
                    <a:pt x="20887" y="10628"/>
                    <a:pt x="20929" y="10732"/>
                    <a:pt x="20963" y="10838"/>
                  </a:cubicBezTo>
                  <a:cubicBezTo>
                    <a:pt x="20969" y="10856"/>
                    <a:pt x="20965" y="10875"/>
                    <a:pt x="20969" y="10893"/>
                  </a:cubicBezTo>
                  <a:cubicBezTo>
                    <a:pt x="20991" y="10989"/>
                    <a:pt x="20988" y="11096"/>
                    <a:pt x="21040" y="11179"/>
                  </a:cubicBezTo>
                  <a:cubicBezTo>
                    <a:pt x="21050" y="11195"/>
                    <a:pt x="21070" y="11180"/>
                    <a:pt x="21086" y="11158"/>
                  </a:cubicBezTo>
                  <a:cubicBezTo>
                    <a:pt x="21111" y="11316"/>
                    <a:pt x="21134" y="11475"/>
                    <a:pt x="21149" y="11634"/>
                  </a:cubicBezTo>
                  <a:cubicBezTo>
                    <a:pt x="20911" y="12265"/>
                    <a:pt x="20539" y="12829"/>
                    <a:pt x="20082" y="13328"/>
                  </a:cubicBezTo>
                  <a:cubicBezTo>
                    <a:pt x="20018" y="12643"/>
                    <a:pt x="19884" y="11966"/>
                    <a:pt x="19713" y="11333"/>
                  </a:cubicBezTo>
                  <a:cubicBezTo>
                    <a:pt x="19644" y="11074"/>
                    <a:pt x="19565" y="10818"/>
                    <a:pt x="19479" y="10564"/>
                  </a:cubicBezTo>
                  <a:cubicBezTo>
                    <a:pt x="19868" y="10196"/>
                    <a:pt x="20202" y="9782"/>
                    <a:pt x="20448" y="9319"/>
                  </a:cubicBezTo>
                  <a:cubicBezTo>
                    <a:pt x="20514" y="9530"/>
                    <a:pt x="20576" y="9729"/>
                    <a:pt x="20658" y="9933"/>
                  </a:cubicBezTo>
                  <a:close/>
                  <a:moveTo>
                    <a:pt x="21016" y="7618"/>
                  </a:moveTo>
                  <a:cubicBezTo>
                    <a:pt x="21113" y="7928"/>
                    <a:pt x="21197" y="8241"/>
                    <a:pt x="21265" y="8559"/>
                  </a:cubicBezTo>
                  <a:cubicBezTo>
                    <a:pt x="21212" y="8385"/>
                    <a:pt x="21152" y="8209"/>
                    <a:pt x="21082" y="8025"/>
                  </a:cubicBezTo>
                  <a:cubicBezTo>
                    <a:pt x="21068" y="7988"/>
                    <a:pt x="21052" y="7951"/>
                    <a:pt x="21037" y="7914"/>
                  </a:cubicBezTo>
                  <a:cubicBezTo>
                    <a:pt x="21035" y="7896"/>
                    <a:pt x="21033" y="7879"/>
                    <a:pt x="21032" y="7861"/>
                  </a:cubicBezTo>
                  <a:cubicBezTo>
                    <a:pt x="21027" y="7812"/>
                    <a:pt x="21038" y="7760"/>
                    <a:pt x="21028" y="7711"/>
                  </a:cubicBezTo>
                  <a:cubicBezTo>
                    <a:pt x="21016" y="7654"/>
                    <a:pt x="20996" y="7599"/>
                    <a:pt x="20971" y="7547"/>
                  </a:cubicBezTo>
                  <a:cubicBezTo>
                    <a:pt x="20989" y="7571"/>
                    <a:pt x="21003" y="7594"/>
                    <a:pt x="21016" y="7618"/>
                  </a:cubicBezTo>
                  <a:close/>
                  <a:moveTo>
                    <a:pt x="98" y="10938"/>
                  </a:moveTo>
                  <a:cubicBezTo>
                    <a:pt x="97" y="10888"/>
                    <a:pt x="96" y="10838"/>
                    <a:pt x="96" y="10787"/>
                  </a:cubicBezTo>
                  <a:cubicBezTo>
                    <a:pt x="96" y="10698"/>
                    <a:pt x="98" y="10608"/>
                    <a:pt x="100" y="10519"/>
                  </a:cubicBezTo>
                  <a:cubicBezTo>
                    <a:pt x="105" y="10586"/>
                    <a:pt x="111" y="10653"/>
                    <a:pt x="119" y="10719"/>
                  </a:cubicBezTo>
                  <a:cubicBezTo>
                    <a:pt x="111" y="10792"/>
                    <a:pt x="104" y="10865"/>
                    <a:pt x="98" y="10938"/>
                  </a:cubicBezTo>
                  <a:close/>
                  <a:moveTo>
                    <a:pt x="20604" y="6275"/>
                  </a:moveTo>
                  <a:cubicBezTo>
                    <a:pt x="20603" y="6273"/>
                    <a:pt x="20602" y="6269"/>
                    <a:pt x="20601" y="6269"/>
                  </a:cubicBezTo>
                  <a:lnTo>
                    <a:pt x="20601" y="6269"/>
                  </a:lnTo>
                  <a:cubicBezTo>
                    <a:pt x="20080" y="5124"/>
                    <a:pt x="19366" y="4102"/>
                    <a:pt x="18479" y="3205"/>
                  </a:cubicBezTo>
                  <a:cubicBezTo>
                    <a:pt x="18463" y="3188"/>
                    <a:pt x="18447" y="3169"/>
                    <a:pt x="18430" y="3153"/>
                  </a:cubicBezTo>
                  <a:lnTo>
                    <a:pt x="18429" y="3154"/>
                  </a:lnTo>
                  <a:cubicBezTo>
                    <a:pt x="18348" y="3073"/>
                    <a:pt x="18265" y="2993"/>
                    <a:pt x="18182" y="2915"/>
                  </a:cubicBezTo>
                  <a:lnTo>
                    <a:pt x="18182" y="2914"/>
                  </a:lnTo>
                  <a:lnTo>
                    <a:pt x="18182" y="2914"/>
                  </a:lnTo>
                  <a:cubicBezTo>
                    <a:pt x="18176" y="2909"/>
                    <a:pt x="18170" y="2904"/>
                    <a:pt x="18164" y="2899"/>
                  </a:cubicBezTo>
                  <a:cubicBezTo>
                    <a:pt x="17506" y="2286"/>
                    <a:pt x="16763" y="1748"/>
                    <a:pt x="15942" y="1305"/>
                  </a:cubicBezTo>
                  <a:lnTo>
                    <a:pt x="15943" y="1303"/>
                  </a:lnTo>
                  <a:cubicBezTo>
                    <a:pt x="15930" y="1296"/>
                    <a:pt x="15916" y="1290"/>
                    <a:pt x="15902" y="1283"/>
                  </a:cubicBezTo>
                  <a:cubicBezTo>
                    <a:pt x="15731" y="1192"/>
                    <a:pt x="15557" y="1104"/>
                    <a:pt x="15379" y="1021"/>
                  </a:cubicBezTo>
                  <a:cubicBezTo>
                    <a:pt x="15342" y="1003"/>
                    <a:pt x="15306" y="986"/>
                    <a:pt x="15270" y="969"/>
                  </a:cubicBezTo>
                  <a:lnTo>
                    <a:pt x="15269" y="971"/>
                  </a:lnTo>
                  <a:cubicBezTo>
                    <a:pt x="15179" y="930"/>
                    <a:pt x="15088" y="890"/>
                    <a:pt x="14996" y="851"/>
                  </a:cubicBezTo>
                  <a:cubicBezTo>
                    <a:pt x="14764" y="753"/>
                    <a:pt x="14530" y="665"/>
                    <a:pt x="14296" y="584"/>
                  </a:cubicBezTo>
                  <a:lnTo>
                    <a:pt x="14296" y="583"/>
                  </a:lnTo>
                  <a:cubicBezTo>
                    <a:pt x="14290" y="581"/>
                    <a:pt x="14283" y="580"/>
                    <a:pt x="14276" y="578"/>
                  </a:cubicBezTo>
                  <a:cubicBezTo>
                    <a:pt x="13132" y="187"/>
                    <a:pt x="11960" y="0"/>
                    <a:pt x="10805" y="0"/>
                  </a:cubicBezTo>
                  <a:cubicBezTo>
                    <a:pt x="6593" y="0"/>
                    <a:pt x="2591" y="2478"/>
                    <a:pt x="851" y="6599"/>
                  </a:cubicBezTo>
                  <a:cubicBezTo>
                    <a:pt x="274" y="7968"/>
                    <a:pt x="0" y="9389"/>
                    <a:pt x="0" y="10787"/>
                  </a:cubicBezTo>
                  <a:cubicBezTo>
                    <a:pt x="0" y="11360"/>
                    <a:pt x="46" y="11928"/>
                    <a:pt x="136" y="12487"/>
                  </a:cubicBezTo>
                  <a:cubicBezTo>
                    <a:pt x="137" y="12498"/>
                    <a:pt x="138" y="12510"/>
                    <a:pt x="140" y="12521"/>
                  </a:cubicBezTo>
                  <a:lnTo>
                    <a:pt x="141" y="12514"/>
                  </a:lnTo>
                  <a:cubicBezTo>
                    <a:pt x="200" y="12877"/>
                    <a:pt x="278" y="13267"/>
                    <a:pt x="374" y="13585"/>
                  </a:cubicBezTo>
                  <a:lnTo>
                    <a:pt x="374" y="13585"/>
                  </a:lnTo>
                  <a:cubicBezTo>
                    <a:pt x="374" y="13585"/>
                    <a:pt x="375" y="13595"/>
                    <a:pt x="376" y="13597"/>
                  </a:cubicBezTo>
                  <a:cubicBezTo>
                    <a:pt x="1199" y="16637"/>
                    <a:pt x="3341" y="19292"/>
                    <a:pt x="6436" y="20657"/>
                  </a:cubicBezTo>
                  <a:cubicBezTo>
                    <a:pt x="6441" y="20660"/>
                    <a:pt x="6446" y="20665"/>
                    <a:pt x="6451" y="20667"/>
                  </a:cubicBezTo>
                  <a:lnTo>
                    <a:pt x="6452" y="20666"/>
                  </a:lnTo>
                  <a:cubicBezTo>
                    <a:pt x="6502" y="20688"/>
                    <a:pt x="6553" y="20719"/>
                    <a:pt x="6604" y="20741"/>
                  </a:cubicBezTo>
                  <a:cubicBezTo>
                    <a:pt x="7974" y="21318"/>
                    <a:pt x="9396" y="21600"/>
                    <a:pt x="10795" y="21600"/>
                  </a:cubicBezTo>
                  <a:lnTo>
                    <a:pt x="10796" y="21600"/>
                  </a:lnTo>
                  <a:cubicBezTo>
                    <a:pt x="11868" y="21600"/>
                    <a:pt x="12934" y="21431"/>
                    <a:pt x="13946" y="21123"/>
                  </a:cubicBezTo>
                  <a:lnTo>
                    <a:pt x="13955" y="21120"/>
                  </a:lnTo>
                  <a:lnTo>
                    <a:pt x="13955" y="21120"/>
                  </a:lnTo>
                  <a:cubicBezTo>
                    <a:pt x="13955" y="21114"/>
                    <a:pt x="13973" y="21109"/>
                    <a:pt x="13985" y="21103"/>
                  </a:cubicBezTo>
                  <a:cubicBezTo>
                    <a:pt x="14865" y="20832"/>
                    <a:pt x="15705" y="20449"/>
                    <a:pt x="16490" y="19964"/>
                  </a:cubicBezTo>
                  <a:lnTo>
                    <a:pt x="16490" y="19964"/>
                  </a:lnTo>
                  <a:lnTo>
                    <a:pt x="16490" y="19964"/>
                  </a:lnTo>
                  <a:cubicBezTo>
                    <a:pt x="16491" y="19963"/>
                    <a:pt x="16492" y="19963"/>
                    <a:pt x="16493" y="19962"/>
                  </a:cubicBezTo>
                  <a:lnTo>
                    <a:pt x="16492" y="19964"/>
                  </a:lnTo>
                  <a:cubicBezTo>
                    <a:pt x="16498" y="19960"/>
                    <a:pt x="16502" y="19956"/>
                    <a:pt x="16508" y="19952"/>
                  </a:cubicBezTo>
                  <a:cubicBezTo>
                    <a:pt x="18339" y="18815"/>
                    <a:pt x="19847" y="17120"/>
                    <a:pt x="20749" y="14985"/>
                  </a:cubicBezTo>
                  <a:cubicBezTo>
                    <a:pt x="21327" y="13616"/>
                    <a:pt x="21600" y="12195"/>
                    <a:pt x="21600" y="10797"/>
                  </a:cubicBezTo>
                  <a:cubicBezTo>
                    <a:pt x="21600" y="9225"/>
                    <a:pt x="21253" y="7682"/>
                    <a:pt x="20604" y="6275"/>
                  </a:cubicBezTo>
                  <a:close/>
                </a:path>
              </a:pathLst>
            </a:custGeom>
            <a:solidFill>
              <a:srgbClr val="212830"/>
            </a:solidFill>
            <a:ln w="12700" cap="flat">
              <a:noFill/>
              <a:miter lim="400000"/>
            </a:ln>
            <a:effectLst/>
          </p:spPr>
          <p:txBody>
            <a:bodyPr wrap="square" lIns="38100" tIns="38100" rIns="38100" bIns="38100" numCol="1" anchor="ctr">
              <a:noAutofit/>
            </a:bodyPr>
            <a:lstStyle/>
            <a:p>
              <a:pPr defTabSz="19202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grpSp>
      <p:sp>
        <p:nvSpPr>
          <p:cNvPr id="11" name="Shape 6161"/>
          <p:cNvSpPr/>
          <p:nvPr/>
        </p:nvSpPr>
        <p:spPr>
          <a:xfrm>
            <a:off x="203044" y="2219094"/>
            <a:ext cx="1801088" cy="1200329"/>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lvl="0" algn="ctr">
              <a:lnSpc>
                <a:spcPct val="130000"/>
              </a:lnSpc>
              <a:defRPr sz="1800"/>
            </a:pPr>
            <a:r>
              <a:rPr lang="en-US" sz="2000" dirty="0">
                <a:solidFill>
                  <a:schemeClr val="accent1"/>
                </a:solidFill>
                <a:latin typeface="Arial" panose="020B0604020202020204" pitchFamily="34" charset="0"/>
                <a:ea typeface="Roboto Bold"/>
                <a:cs typeface="Arial" panose="020B0604020202020204" pitchFamily="34" charset="0"/>
                <a:sym typeface="Roboto Bold"/>
              </a:rPr>
              <a:t>Growing </a:t>
            </a:r>
          </a:p>
          <a:p>
            <a:pPr lvl="0" algn="ctr">
              <a:lnSpc>
                <a:spcPct val="130000"/>
              </a:lnSpc>
              <a:defRPr sz="1800"/>
            </a:pPr>
            <a:r>
              <a:rPr lang="en-US" sz="2000" dirty="0">
                <a:solidFill>
                  <a:schemeClr val="accent1"/>
                </a:solidFill>
                <a:latin typeface="Arial" panose="020B0604020202020204" pitchFamily="34" charset="0"/>
                <a:ea typeface="Roboto Bold"/>
                <a:cs typeface="Arial" panose="020B0604020202020204" pitchFamily="34" charset="0"/>
                <a:sym typeface="Roboto Bold"/>
              </a:rPr>
              <a:t>Human Pressure</a:t>
            </a:r>
          </a:p>
        </p:txBody>
      </p:sp>
      <p:grpSp>
        <p:nvGrpSpPr>
          <p:cNvPr id="12" name="Group 6164"/>
          <p:cNvGrpSpPr/>
          <p:nvPr/>
        </p:nvGrpSpPr>
        <p:grpSpPr>
          <a:xfrm>
            <a:off x="2094006" y="2238599"/>
            <a:ext cx="607589" cy="608655"/>
            <a:chOff x="0" y="168680"/>
            <a:chExt cx="1339040" cy="1339040"/>
          </a:xfrm>
        </p:grpSpPr>
        <p:sp>
          <p:nvSpPr>
            <p:cNvPr id="13" name="Shape 6162"/>
            <p:cNvSpPr/>
            <p:nvPr/>
          </p:nvSpPr>
          <p:spPr>
            <a:xfrm>
              <a:off x="0" y="168680"/>
              <a:ext cx="1339040" cy="133904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1"/>
            </a:solidFill>
            <a:ln w="12700" cap="flat">
              <a:noFill/>
              <a:miter lim="400000"/>
            </a:ln>
            <a:effectLst/>
          </p:spPr>
          <p:txBody>
            <a:bodyPr wrap="square" lIns="0" tIns="0" rIns="0" bIns="0" numCol="1" anchor="ctr">
              <a:noAutofit/>
            </a:bodyPr>
            <a:lstStyle/>
            <a:p>
              <a:pPr lvl="0">
                <a:defRPr sz="3200"/>
              </a:pPr>
              <a:endParaRPr>
                <a:solidFill>
                  <a:schemeClr val="bg2"/>
                </a:solidFill>
              </a:endParaRPr>
            </a:p>
          </p:txBody>
        </p:sp>
        <p:sp>
          <p:nvSpPr>
            <p:cNvPr id="14" name="Shape 6163"/>
            <p:cNvSpPr/>
            <p:nvPr/>
          </p:nvSpPr>
          <p:spPr>
            <a:xfrm>
              <a:off x="101609" y="266072"/>
              <a:ext cx="1110425" cy="121879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t">
              <a:spAutoFit/>
            </a:bodyPr>
            <a:lstStyle>
              <a:lvl1pPr>
                <a:defRPr sz="8500" b="1">
                  <a:solidFill>
                    <a:srgbClr val="FFFFFF"/>
                  </a:solidFill>
                  <a:latin typeface="BebasNeueBold"/>
                  <a:ea typeface="BebasNeueBold"/>
                  <a:cs typeface="BebasNeueBold"/>
                  <a:sym typeface="BebasNeueBold"/>
                </a:defRPr>
              </a:lvl1pPr>
            </a:lstStyle>
            <a:p>
              <a:pPr lvl="0">
                <a:defRPr sz="1800" b="0">
                  <a:solidFill>
                    <a:srgbClr val="000000"/>
                  </a:solidFill>
                </a:defRPr>
              </a:pPr>
              <a:endParaRPr sz="3600" dirty="0">
                <a:solidFill>
                  <a:schemeClr val="bg2"/>
                </a:solidFill>
              </a:endParaRPr>
            </a:p>
          </p:txBody>
        </p:sp>
      </p:grpSp>
      <p:sp>
        <p:nvSpPr>
          <p:cNvPr id="15" name="Shape 6165"/>
          <p:cNvSpPr/>
          <p:nvPr/>
        </p:nvSpPr>
        <p:spPr>
          <a:xfrm>
            <a:off x="84874" y="4438603"/>
            <a:ext cx="1968853" cy="400110"/>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lvl="0" algn="r">
              <a:lnSpc>
                <a:spcPct val="130000"/>
              </a:lnSpc>
              <a:defRPr sz="1800"/>
            </a:pPr>
            <a:r>
              <a:rPr lang="en-US" sz="2000" dirty="0">
                <a:solidFill>
                  <a:schemeClr val="accent2"/>
                </a:solidFill>
                <a:latin typeface="Arial" panose="020B0604020202020204" pitchFamily="34" charset="0"/>
                <a:ea typeface="Roboto Bold"/>
                <a:cs typeface="Arial" panose="020B0604020202020204" pitchFamily="34" charset="0"/>
                <a:sym typeface="Roboto Bold"/>
              </a:rPr>
              <a:t>Climate change</a:t>
            </a:r>
          </a:p>
        </p:txBody>
      </p:sp>
      <p:sp>
        <p:nvSpPr>
          <p:cNvPr id="17" name="Shape 6166"/>
          <p:cNvSpPr/>
          <p:nvPr/>
        </p:nvSpPr>
        <p:spPr>
          <a:xfrm>
            <a:off x="2096819" y="4307936"/>
            <a:ext cx="607589" cy="60865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2"/>
          </a:solidFill>
          <a:ln w="12700" cap="flat">
            <a:noFill/>
            <a:miter lim="400000"/>
          </a:ln>
          <a:effectLst/>
        </p:spPr>
        <p:txBody>
          <a:bodyPr wrap="square" lIns="0" tIns="0" rIns="0" bIns="0" numCol="1" anchor="ctr">
            <a:noAutofit/>
          </a:bodyPr>
          <a:lstStyle/>
          <a:p>
            <a:pPr lvl="0">
              <a:defRPr sz="3200"/>
            </a:pPr>
            <a:endParaRPr>
              <a:solidFill>
                <a:schemeClr val="bg2"/>
              </a:solidFill>
            </a:endParaRPr>
          </a:p>
        </p:txBody>
      </p:sp>
      <p:grpSp>
        <p:nvGrpSpPr>
          <p:cNvPr id="23" name="Group 6175"/>
          <p:cNvGrpSpPr/>
          <p:nvPr/>
        </p:nvGrpSpPr>
        <p:grpSpPr>
          <a:xfrm>
            <a:off x="4279410" y="3252810"/>
            <a:ext cx="189197" cy="189529"/>
            <a:chOff x="0" y="0"/>
            <a:chExt cx="379056" cy="379056"/>
          </a:xfrm>
        </p:grpSpPr>
        <p:sp>
          <p:nvSpPr>
            <p:cNvPr id="24" name="Shape 6173"/>
            <p:cNvSpPr/>
            <p:nvPr/>
          </p:nvSpPr>
          <p:spPr>
            <a:xfrm>
              <a:off x="0" y="0"/>
              <a:ext cx="379057" cy="37905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noFill/>
            <a:ln w="28575" cap="flat">
              <a:solidFill>
                <a:schemeClr val="accent1"/>
              </a:solidFill>
              <a:prstDash val="solid"/>
              <a:miter lim="400000"/>
            </a:ln>
            <a:effectLst/>
          </p:spPr>
          <p:txBody>
            <a:bodyPr wrap="square" lIns="0" tIns="0" rIns="0" bIns="0" numCol="1" anchor="ctr">
              <a:noAutofit/>
            </a:bodyPr>
            <a:lstStyle/>
            <a:p>
              <a:pPr lvl="0">
                <a:defRPr sz="3200"/>
              </a:pPr>
              <a:endParaRPr/>
            </a:p>
          </p:txBody>
        </p:sp>
        <p:sp>
          <p:nvSpPr>
            <p:cNvPr id="25" name="Shape 6174"/>
            <p:cNvSpPr/>
            <p:nvPr/>
          </p:nvSpPr>
          <p:spPr>
            <a:xfrm>
              <a:off x="105643" y="105643"/>
              <a:ext cx="167771" cy="16777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1"/>
            </a:solidFill>
            <a:ln w="12700" cap="flat">
              <a:noFill/>
              <a:miter lim="400000"/>
            </a:ln>
            <a:effectLst/>
          </p:spPr>
          <p:txBody>
            <a:bodyPr wrap="square" lIns="0" tIns="0" rIns="0" bIns="0" numCol="1" anchor="ctr">
              <a:noAutofit/>
            </a:bodyPr>
            <a:lstStyle/>
            <a:p>
              <a:pPr lvl="0">
                <a:defRPr sz="3200"/>
              </a:pPr>
              <a:endParaRPr/>
            </a:p>
          </p:txBody>
        </p:sp>
      </p:grpSp>
      <p:sp>
        <p:nvSpPr>
          <p:cNvPr id="26" name="Shape 6176"/>
          <p:cNvSpPr/>
          <p:nvPr/>
        </p:nvSpPr>
        <p:spPr>
          <a:xfrm>
            <a:off x="2637236" y="2540117"/>
            <a:ext cx="1734189" cy="80629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7215" y="21345"/>
                </a:lnTo>
                <a:cubicBezTo>
                  <a:pt x="7050" y="21379"/>
                  <a:pt x="6892" y="21206"/>
                  <a:pt x="6777" y="20887"/>
                </a:cubicBezTo>
                <a:cubicBezTo>
                  <a:pt x="6638" y="20501"/>
                  <a:pt x="6574" y="19942"/>
                  <a:pt x="6557" y="19360"/>
                </a:cubicBezTo>
                <a:cubicBezTo>
                  <a:pt x="6551" y="19150"/>
                  <a:pt x="6551" y="18938"/>
                  <a:pt x="6557" y="18728"/>
                </a:cubicBezTo>
                <a:lnTo>
                  <a:pt x="6557" y="2632"/>
                </a:lnTo>
                <a:cubicBezTo>
                  <a:pt x="6555" y="2431"/>
                  <a:pt x="6553" y="2235"/>
                  <a:pt x="6549" y="2041"/>
                </a:cubicBezTo>
                <a:cubicBezTo>
                  <a:pt x="6545" y="1821"/>
                  <a:pt x="6540" y="1600"/>
                  <a:pt x="6514" y="1393"/>
                </a:cubicBezTo>
                <a:cubicBezTo>
                  <a:pt x="6425" y="668"/>
                  <a:pt x="6150" y="330"/>
                  <a:pt x="5863" y="273"/>
                </a:cubicBezTo>
                <a:cubicBezTo>
                  <a:pt x="5796" y="260"/>
                  <a:pt x="5730" y="260"/>
                  <a:pt x="5663" y="273"/>
                </a:cubicBezTo>
                <a:lnTo>
                  <a:pt x="0" y="0"/>
                </a:lnTo>
              </a:path>
            </a:pathLst>
          </a:custGeom>
          <a:ln w="28575">
            <a:solidFill>
              <a:schemeClr val="accent1"/>
            </a:solidFill>
            <a:miter lim="400000"/>
          </a:ln>
        </p:spPr>
        <p:txBody>
          <a:bodyPr lIns="0" tIns="0" rIns="0" bIns="0" anchor="ctr"/>
          <a:lstStyle/>
          <a:p>
            <a:pPr lvl="0">
              <a:defRPr sz="3200"/>
            </a:pPr>
            <a:endParaRPr/>
          </a:p>
        </p:txBody>
      </p:sp>
      <p:sp>
        <p:nvSpPr>
          <p:cNvPr id="31" name="Shape 6181"/>
          <p:cNvSpPr/>
          <p:nvPr/>
        </p:nvSpPr>
        <p:spPr>
          <a:xfrm>
            <a:off x="2617940" y="4619420"/>
            <a:ext cx="1514839" cy="1"/>
          </a:xfrm>
          <a:prstGeom prst="line">
            <a:avLst/>
          </a:prstGeom>
          <a:ln w="28575">
            <a:solidFill>
              <a:schemeClr val="accent2"/>
            </a:solidFill>
            <a:miter lim="400000"/>
          </a:ln>
        </p:spPr>
        <p:txBody>
          <a:bodyPr lIns="0" tIns="0" rIns="0" bIns="0" anchor="ctr"/>
          <a:lstStyle/>
          <a:p>
            <a:pPr lvl="0">
              <a:defRPr sz="3200"/>
            </a:pPr>
            <a:endParaRPr/>
          </a:p>
        </p:txBody>
      </p:sp>
      <p:grpSp>
        <p:nvGrpSpPr>
          <p:cNvPr id="32" name="Group 6184"/>
          <p:cNvGrpSpPr/>
          <p:nvPr/>
        </p:nvGrpSpPr>
        <p:grpSpPr>
          <a:xfrm>
            <a:off x="4029936" y="4524656"/>
            <a:ext cx="189197" cy="189529"/>
            <a:chOff x="0" y="0"/>
            <a:chExt cx="379056" cy="379056"/>
          </a:xfrm>
        </p:grpSpPr>
        <p:sp>
          <p:nvSpPr>
            <p:cNvPr id="33" name="Shape 6182"/>
            <p:cNvSpPr/>
            <p:nvPr/>
          </p:nvSpPr>
          <p:spPr>
            <a:xfrm rot="10800000" flipH="1">
              <a:off x="0" y="0"/>
              <a:ext cx="379057" cy="37905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noFill/>
            <a:ln w="28575" cap="flat">
              <a:solidFill>
                <a:schemeClr val="accent2"/>
              </a:solidFill>
              <a:prstDash val="solid"/>
              <a:miter lim="400000"/>
            </a:ln>
            <a:effectLst/>
          </p:spPr>
          <p:txBody>
            <a:bodyPr wrap="square" lIns="0" tIns="0" rIns="0" bIns="0" numCol="1" anchor="ctr">
              <a:noAutofit/>
            </a:bodyPr>
            <a:lstStyle/>
            <a:p>
              <a:pPr lvl="0">
                <a:defRPr sz="3200"/>
              </a:pPr>
              <a:endParaRPr/>
            </a:p>
          </p:txBody>
        </p:sp>
        <p:sp>
          <p:nvSpPr>
            <p:cNvPr id="34" name="Shape 6183"/>
            <p:cNvSpPr/>
            <p:nvPr/>
          </p:nvSpPr>
          <p:spPr>
            <a:xfrm rot="10800000" flipH="1">
              <a:off x="105643" y="105643"/>
              <a:ext cx="167771" cy="16777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2"/>
            </a:solidFill>
            <a:ln w="12700" cap="flat">
              <a:noFill/>
              <a:miter lim="400000"/>
            </a:ln>
            <a:effectLst/>
          </p:spPr>
          <p:txBody>
            <a:bodyPr wrap="square" lIns="0" tIns="0" rIns="0" bIns="0" numCol="1" anchor="ctr">
              <a:noAutofit/>
            </a:bodyPr>
            <a:lstStyle/>
            <a:p>
              <a:pPr lvl="0">
                <a:defRPr sz="3200"/>
              </a:pPr>
              <a:endParaRPr/>
            </a:p>
          </p:txBody>
        </p:sp>
      </p:grpSp>
      <p:sp>
        <p:nvSpPr>
          <p:cNvPr id="35" name="Shape 6185"/>
          <p:cNvSpPr/>
          <p:nvPr/>
        </p:nvSpPr>
        <p:spPr>
          <a:xfrm>
            <a:off x="7321641" y="2159757"/>
            <a:ext cx="1968853" cy="800219"/>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lvl="0">
              <a:lnSpc>
                <a:spcPct val="130000"/>
              </a:lnSpc>
              <a:defRPr sz="1800"/>
            </a:pPr>
            <a:r>
              <a:rPr lang="en-US" sz="2000" dirty="0">
                <a:solidFill>
                  <a:srgbClr val="92D050"/>
                </a:solidFill>
                <a:latin typeface="Arial" panose="020B0604020202020204" pitchFamily="34" charset="0"/>
                <a:ea typeface="Roboto Bold"/>
                <a:cs typeface="Arial" panose="020B0604020202020204" pitchFamily="34" charset="0"/>
                <a:sym typeface="Roboto Bold"/>
              </a:rPr>
              <a:t>Ecosystem decline</a:t>
            </a:r>
          </a:p>
        </p:txBody>
      </p:sp>
      <p:sp>
        <p:nvSpPr>
          <p:cNvPr id="37" name="Shape 6186"/>
          <p:cNvSpPr/>
          <p:nvPr/>
        </p:nvSpPr>
        <p:spPr>
          <a:xfrm>
            <a:off x="6526061" y="2238599"/>
            <a:ext cx="607589" cy="60865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92D050"/>
          </a:solidFill>
          <a:ln w="12700" cap="flat">
            <a:noFill/>
            <a:miter lim="400000"/>
          </a:ln>
          <a:effectLst/>
        </p:spPr>
        <p:txBody>
          <a:bodyPr wrap="square" lIns="0" tIns="0" rIns="0" bIns="0" numCol="1" anchor="ctr">
            <a:noAutofit/>
          </a:bodyPr>
          <a:lstStyle/>
          <a:p>
            <a:pPr lvl="0">
              <a:defRPr sz="3200"/>
            </a:pPr>
            <a:endParaRPr>
              <a:solidFill>
                <a:schemeClr val="bg2"/>
              </a:solidFill>
            </a:endParaRPr>
          </a:p>
        </p:txBody>
      </p:sp>
      <p:sp>
        <p:nvSpPr>
          <p:cNvPr id="43" name="Shape 6193"/>
          <p:cNvSpPr/>
          <p:nvPr/>
        </p:nvSpPr>
        <p:spPr>
          <a:xfrm>
            <a:off x="7324769" y="4714187"/>
            <a:ext cx="2724061" cy="400110"/>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lvl="0" algn="l">
              <a:lnSpc>
                <a:spcPct val="130000"/>
              </a:lnSpc>
              <a:defRPr sz="1800"/>
            </a:pPr>
            <a:r>
              <a:rPr lang="en-US" sz="2000" dirty="0" smtClean="0">
                <a:solidFill>
                  <a:schemeClr val="accent5"/>
                </a:solidFill>
                <a:latin typeface="Arial" panose="020B0604020202020204" pitchFamily="34" charset="0"/>
                <a:ea typeface="Roboto Bold"/>
                <a:cs typeface="Arial" panose="020B0604020202020204" pitchFamily="34" charset="0"/>
                <a:sym typeface="Roboto Bold"/>
              </a:rPr>
              <a:t>Surprise</a:t>
            </a:r>
            <a:endParaRPr sz="2000" dirty="0">
              <a:solidFill>
                <a:srgbClr val="FFFFFF"/>
              </a:solidFill>
              <a:latin typeface="Arial" panose="020B0604020202020204" pitchFamily="34" charset="0"/>
              <a:ea typeface="Roboto Regular"/>
              <a:cs typeface="Arial" panose="020B0604020202020204" pitchFamily="34" charset="0"/>
              <a:sym typeface="Roboto Regular"/>
            </a:endParaRPr>
          </a:p>
        </p:txBody>
      </p:sp>
      <p:sp>
        <p:nvSpPr>
          <p:cNvPr id="45" name="Shape 6194"/>
          <p:cNvSpPr/>
          <p:nvPr/>
        </p:nvSpPr>
        <p:spPr>
          <a:xfrm>
            <a:off x="6526061" y="4619421"/>
            <a:ext cx="607589" cy="60865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5"/>
          </a:solidFill>
          <a:ln w="12700" cap="flat">
            <a:noFill/>
            <a:miter lim="400000"/>
          </a:ln>
          <a:effectLst/>
        </p:spPr>
        <p:txBody>
          <a:bodyPr wrap="square" lIns="0" tIns="0" rIns="0" bIns="0" numCol="1" anchor="ctr">
            <a:noAutofit/>
          </a:bodyPr>
          <a:lstStyle/>
          <a:p>
            <a:pPr lvl="0">
              <a:defRPr sz="3200"/>
            </a:pPr>
            <a:endParaRPr>
              <a:solidFill>
                <a:schemeClr val="bg2"/>
              </a:solidFill>
            </a:endParaRPr>
          </a:p>
        </p:txBody>
      </p:sp>
      <p:grpSp>
        <p:nvGrpSpPr>
          <p:cNvPr id="47" name="Group 6199"/>
          <p:cNvGrpSpPr/>
          <p:nvPr/>
        </p:nvGrpSpPr>
        <p:grpSpPr>
          <a:xfrm>
            <a:off x="5118261" y="3240110"/>
            <a:ext cx="189197" cy="189529"/>
            <a:chOff x="0" y="0"/>
            <a:chExt cx="379056" cy="379056"/>
          </a:xfrm>
        </p:grpSpPr>
        <p:sp>
          <p:nvSpPr>
            <p:cNvPr id="48" name="Shape 6197"/>
            <p:cNvSpPr/>
            <p:nvPr/>
          </p:nvSpPr>
          <p:spPr>
            <a:xfrm flipH="1">
              <a:off x="0" y="0"/>
              <a:ext cx="379057" cy="37905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noFill/>
            <a:ln w="28575" cap="flat">
              <a:solidFill>
                <a:srgbClr val="92D050"/>
              </a:solidFill>
              <a:prstDash val="solid"/>
              <a:miter lim="400000"/>
            </a:ln>
            <a:effectLst/>
          </p:spPr>
          <p:txBody>
            <a:bodyPr wrap="square" lIns="0" tIns="0" rIns="0" bIns="0" numCol="1" anchor="ctr">
              <a:noAutofit/>
            </a:bodyPr>
            <a:lstStyle/>
            <a:p>
              <a:pPr lvl="0">
                <a:defRPr sz="3200"/>
              </a:pPr>
              <a:endParaRPr/>
            </a:p>
          </p:txBody>
        </p:sp>
        <p:sp>
          <p:nvSpPr>
            <p:cNvPr id="49" name="Shape 6198"/>
            <p:cNvSpPr/>
            <p:nvPr/>
          </p:nvSpPr>
          <p:spPr>
            <a:xfrm flipH="1">
              <a:off x="105642" y="105643"/>
              <a:ext cx="167771" cy="16777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92D050"/>
            </a:solidFill>
            <a:ln w="12700" cap="flat">
              <a:solidFill>
                <a:srgbClr val="92D050"/>
              </a:solidFill>
              <a:miter lim="400000"/>
            </a:ln>
            <a:effectLst/>
          </p:spPr>
          <p:txBody>
            <a:bodyPr wrap="square" lIns="0" tIns="0" rIns="0" bIns="0" numCol="1" anchor="ctr">
              <a:noAutofit/>
            </a:bodyPr>
            <a:lstStyle/>
            <a:p>
              <a:pPr lvl="0">
                <a:defRPr sz="3200"/>
              </a:pPr>
              <a:endParaRPr/>
            </a:p>
          </p:txBody>
        </p:sp>
      </p:grpSp>
      <p:sp>
        <p:nvSpPr>
          <p:cNvPr id="50" name="Shape 6200"/>
          <p:cNvSpPr/>
          <p:nvPr/>
        </p:nvSpPr>
        <p:spPr>
          <a:xfrm flipH="1">
            <a:off x="5218276" y="2540117"/>
            <a:ext cx="1376444" cy="796928"/>
          </a:xfrm>
          <a:custGeom>
            <a:avLst/>
            <a:gdLst/>
            <a:ahLst/>
            <a:cxnLst>
              <a:cxn ang="0">
                <a:pos x="wd2" y="hd2"/>
              </a:cxn>
              <a:cxn ang="5400000">
                <a:pos x="wd2" y="hd2"/>
              </a:cxn>
              <a:cxn ang="10800000">
                <a:pos x="wd2" y="hd2"/>
              </a:cxn>
              <a:cxn ang="16200000">
                <a:pos x="wd2" y="hd2"/>
              </a:cxn>
            </a:cxnLst>
            <a:rect l="0" t="0" r="r" b="b"/>
            <a:pathLst>
              <a:path w="21600" h="21570" extrusionOk="0">
                <a:moveTo>
                  <a:pt x="21600" y="21565"/>
                </a:moveTo>
                <a:lnTo>
                  <a:pt x="9090" y="21565"/>
                </a:lnTo>
                <a:cubicBezTo>
                  <a:pt x="8882" y="21600"/>
                  <a:pt x="8683" y="21425"/>
                  <a:pt x="8539" y="21103"/>
                </a:cubicBezTo>
                <a:cubicBezTo>
                  <a:pt x="8363" y="20713"/>
                  <a:pt x="8281" y="20148"/>
                  <a:pt x="8261" y="19560"/>
                </a:cubicBezTo>
                <a:cubicBezTo>
                  <a:pt x="8253" y="19347"/>
                  <a:pt x="8253" y="19134"/>
                  <a:pt x="8261" y="18922"/>
                </a:cubicBezTo>
                <a:lnTo>
                  <a:pt x="8261" y="2659"/>
                </a:lnTo>
                <a:cubicBezTo>
                  <a:pt x="8259" y="2457"/>
                  <a:pt x="8256" y="2258"/>
                  <a:pt x="8251" y="2062"/>
                </a:cubicBezTo>
                <a:cubicBezTo>
                  <a:pt x="8246" y="1840"/>
                  <a:pt x="8240" y="1617"/>
                  <a:pt x="8207" y="1407"/>
                </a:cubicBezTo>
                <a:cubicBezTo>
                  <a:pt x="8094" y="675"/>
                  <a:pt x="7748" y="332"/>
                  <a:pt x="7386" y="276"/>
                </a:cubicBezTo>
                <a:cubicBezTo>
                  <a:pt x="7303" y="263"/>
                  <a:pt x="7219" y="263"/>
                  <a:pt x="7135" y="276"/>
                </a:cubicBezTo>
                <a:lnTo>
                  <a:pt x="0" y="0"/>
                </a:lnTo>
              </a:path>
            </a:pathLst>
          </a:custGeom>
          <a:ln w="28575">
            <a:solidFill>
              <a:srgbClr val="92D050"/>
            </a:solidFill>
            <a:miter lim="400000"/>
          </a:ln>
        </p:spPr>
        <p:txBody>
          <a:bodyPr lIns="0" tIns="0" rIns="0" bIns="0" anchor="ctr"/>
          <a:lstStyle/>
          <a:p>
            <a:pPr lvl="0">
              <a:defRPr sz="3200"/>
            </a:pPr>
            <a:endParaRPr/>
          </a:p>
        </p:txBody>
      </p:sp>
      <p:grpSp>
        <p:nvGrpSpPr>
          <p:cNvPr id="51" name="Group 6203"/>
          <p:cNvGrpSpPr/>
          <p:nvPr/>
        </p:nvGrpSpPr>
        <p:grpSpPr>
          <a:xfrm flipH="1">
            <a:off x="4671198" y="4080525"/>
            <a:ext cx="189197" cy="189529"/>
            <a:chOff x="0" y="0"/>
            <a:chExt cx="379056" cy="379056"/>
          </a:xfrm>
        </p:grpSpPr>
        <p:sp>
          <p:nvSpPr>
            <p:cNvPr id="52" name="Shape 6201"/>
            <p:cNvSpPr/>
            <p:nvPr/>
          </p:nvSpPr>
          <p:spPr>
            <a:xfrm rot="10800000" flipH="1">
              <a:off x="0" y="0"/>
              <a:ext cx="379057" cy="37905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noFill/>
            <a:ln w="28575" cap="flat">
              <a:solidFill>
                <a:schemeClr val="accent5"/>
              </a:solidFill>
              <a:prstDash val="solid"/>
              <a:miter lim="400000"/>
            </a:ln>
            <a:effectLst/>
          </p:spPr>
          <p:txBody>
            <a:bodyPr wrap="square" lIns="0" tIns="0" rIns="0" bIns="0" numCol="1" anchor="ctr">
              <a:noAutofit/>
            </a:bodyPr>
            <a:lstStyle/>
            <a:p>
              <a:pPr lvl="0">
                <a:defRPr sz="3200"/>
              </a:pPr>
              <a:endParaRPr/>
            </a:p>
          </p:txBody>
        </p:sp>
        <p:sp>
          <p:nvSpPr>
            <p:cNvPr id="53" name="Shape 6202"/>
            <p:cNvSpPr/>
            <p:nvPr/>
          </p:nvSpPr>
          <p:spPr>
            <a:xfrm rot="10800000" flipH="1">
              <a:off x="105643" y="105643"/>
              <a:ext cx="167771" cy="16777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5"/>
            </a:solidFill>
            <a:ln w="12700" cap="flat">
              <a:noFill/>
              <a:miter lim="400000"/>
            </a:ln>
            <a:effectLst/>
          </p:spPr>
          <p:txBody>
            <a:bodyPr wrap="square" lIns="0" tIns="0" rIns="0" bIns="0" numCol="1" anchor="ctr">
              <a:noAutofit/>
            </a:bodyPr>
            <a:lstStyle/>
            <a:p>
              <a:pPr lvl="0">
                <a:defRPr sz="3200"/>
              </a:pPr>
              <a:endParaRPr/>
            </a:p>
          </p:txBody>
        </p:sp>
      </p:grpSp>
      <p:sp>
        <p:nvSpPr>
          <p:cNvPr id="54" name="Shape 6204"/>
          <p:cNvSpPr/>
          <p:nvPr/>
        </p:nvSpPr>
        <p:spPr>
          <a:xfrm rot="10800000">
            <a:off x="4778233" y="4170106"/>
            <a:ext cx="1816487" cy="80629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6888" y="21345"/>
                </a:lnTo>
                <a:cubicBezTo>
                  <a:pt x="6731" y="21379"/>
                  <a:pt x="6580" y="21206"/>
                  <a:pt x="6470" y="20887"/>
                </a:cubicBezTo>
                <a:cubicBezTo>
                  <a:pt x="6337" y="20501"/>
                  <a:pt x="6276" y="19942"/>
                  <a:pt x="6260" y="19360"/>
                </a:cubicBezTo>
                <a:cubicBezTo>
                  <a:pt x="6254" y="19150"/>
                  <a:pt x="6254" y="18938"/>
                  <a:pt x="6260" y="18728"/>
                </a:cubicBezTo>
                <a:lnTo>
                  <a:pt x="6260" y="2632"/>
                </a:lnTo>
                <a:cubicBezTo>
                  <a:pt x="6258" y="2431"/>
                  <a:pt x="6256" y="2235"/>
                  <a:pt x="6253" y="2041"/>
                </a:cubicBezTo>
                <a:cubicBezTo>
                  <a:pt x="6249" y="1821"/>
                  <a:pt x="6244" y="1600"/>
                  <a:pt x="6219" y="1393"/>
                </a:cubicBezTo>
                <a:cubicBezTo>
                  <a:pt x="6134" y="668"/>
                  <a:pt x="5871" y="330"/>
                  <a:pt x="5597" y="273"/>
                </a:cubicBezTo>
                <a:cubicBezTo>
                  <a:pt x="5534" y="260"/>
                  <a:pt x="5470" y="260"/>
                  <a:pt x="5407" y="273"/>
                </a:cubicBezTo>
                <a:lnTo>
                  <a:pt x="0" y="0"/>
                </a:lnTo>
              </a:path>
            </a:pathLst>
          </a:custGeom>
          <a:ln w="28575">
            <a:solidFill>
              <a:schemeClr val="accent5"/>
            </a:solidFill>
            <a:miter lim="400000"/>
          </a:ln>
        </p:spPr>
        <p:txBody>
          <a:bodyPr lIns="0" tIns="0" rIns="0" bIns="0" anchor="ctr"/>
          <a:lstStyle/>
          <a:p>
            <a:pPr lvl="0">
              <a:defRPr sz="3200"/>
            </a:pPr>
            <a:endParaRPr/>
          </a:p>
        </p:txBody>
      </p:sp>
      <p:sp>
        <p:nvSpPr>
          <p:cNvPr id="59" name="Shape 6209"/>
          <p:cNvSpPr/>
          <p:nvPr/>
        </p:nvSpPr>
        <p:spPr>
          <a:xfrm>
            <a:off x="-3163" y="1367689"/>
            <a:ext cx="1843178" cy="95251"/>
          </a:xfrm>
          <a:prstGeom prst="rect">
            <a:avLst/>
          </a:prstGeom>
          <a:solidFill>
            <a:schemeClr val="accent1"/>
          </a:solidFill>
          <a:ln w="12700">
            <a:miter lim="400000"/>
          </a:ln>
        </p:spPr>
        <p:txBody>
          <a:bodyPr lIns="0" tIns="0" rIns="0" bIns="0" anchor="ctr"/>
          <a:lstStyle/>
          <a:p>
            <a:pPr lvl="0">
              <a:defRPr sz="3200"/>
            </a:pPr>
            <a:endParaRPr/>
          </a:p>
        </p:txBody>
      </p:sp>
      <p:sp>
        <p:nvSpPr>
          <p:cNvPr id="60" name="Shape 6210"/>
          <p:cNvSpPr/>
          <p:nvPr/>
        </p:nvSpPr>
        <p:spPr>
          <a:xfrm>
            <a:off x="1818592" y="1367689"/>
            <a:ext cx="1843177" cy="95251"/>
          </a:xfrm>
          <a:prstGeom prst="rect">
            <a:avLst/>
          </a:prstGeom>
          <a:solidFill>
            <a:schemeClr val="accent2"/>
          </a:solidFill>
          <a:ln w="12700">
            <a:miter lim="400000"/>
          </a:ln>
        </p:spPr>
        <p:txBody>
          <a:bodyPr lIns="0" tIns="0" rIns="0" bIns="0" anchor="ctr"/>
          <a:lstStyle/>
          <a:p>
            <a:pPr lvl="0">
              <a:defRPr sz="3200"/>
            </a:pPr>
            <a:endParaRPr/>
          </a:p>
        </p:txBody>
      </p:sp>
      <p:sp>
        <p:nvSpPr>
          <p:cNvPr id="61" name="Shape 6211"/>
          <p:cNvSpPr/>
          <p:nvPr/>
        </p:nvSpPr>
        <p:spPr>
          <a:xfrm>
            <a:off x="3650412" y="1367689"/>
            <a:ext cx="1843177" cy="95251"/>
          </a:xfrm>
          <a:prstGeom prst="rect">
            <a:avLst/>
          </a:prstGeom>
          <a:solidFill>
            <a:schemeClr val="accent3"/>
          </a:solidFill>
          <a:ln w="12700">
            <a:miter lim="400000"/>
          </a:ln>
        </p:spPr>
        <p:txBody>
          <a:bodyPr lIns="0" tIns="0" rIns="0" bIns="0" anchor="ctr"/>
          <a:lstStyle/>
          <a:p>
            <a:pPr lvl="0">
              <a:defRPr sz="3200"/>
            </a:pPr>
            <a:endParaRPr/>
          </a:p>
        </p:txBody>
      </p:sp>
      <p:sp>
        <p:nvSpPr>
          <p:cNvPr id="62" name="Shape 6212"/>
          <p:cNvSpPr/>
          <p:nvPr/>
        </p:nvSpPr>
        <p:spPr>
          <a:xfrm>
            <a:off x="5482231" y="1367689"/>
            <a:ext cx="1843178" cy="95251"/>
          </a:xfrm>
          <a:prstGeom prst="rect">
            <a:avLst/>
          </a:prstGeom>
          <a:solidFill>
            <a:schemeClr val="accent4"/>
          </a:solidFill>
          <a:ln w="12700">
            <a:miter lim="400000"/>
          </a:ln>
        </p:spPr>
        <p:txBody>
          <a:bodyPr lIns="0" tIns="0" rIns="0" bIns="0" anchor="ctr"/>
          <a:lstStyle/>
          <a:p>
            <a:pPr lvl="0">
              <a:defRPr sz="3200"/>
            </a:pPr>
            <a:endParaRPr/>
          </a:p>
        </p:txBody>
      </p:sp>
      <p:sp>
        <p:nvSpPr>
          <p:cNvPr id="63" name="Shape 6213"/>
          <p:cNvSpPr/>
          <p:nvPr/>
        </p:nvSpPr>
        <p:spPr>
          <a:xfrm>
            <a:off x="7303985" y="1367689"/>
            <a:ext cx="1843177" cy="95251"/>
          </a:xfrm>
          <a:prstGeom prst="rect">
            <a:avLst/>
          </a:prstGeom>
          <a:solidFill>
            <a:schemeClr val="accent5"/>
          </a:solidFill>
          <a:ln w="12700">
            <a:miter lim="400000"/>
          </a:ln>
        </p:spPr>
        <p:txBody>
          <a:bodyPr lIns="0" tIns="0" rIns="0" bIns="0" anchor="ctr"/>
          <a:lstStyle/>
          <a:p>
            <a:pPr lvl="0">
              <a:defRPr sz="3200"/>
            </a:pPr>
            <a:endParaRPr/>
          </a:p>
        </p:txBody>
      </p:sp>
      <p:pic>
        <p:nvPicPr>
          <p:cNvPr id="40" name="Picture 3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044" y="283714"/>
            <a:ext cx="525826" cy="830652"/>
          </a:xfrm>
          <a:prstGeom prst="rect">
            <a:avLst/>
          </a:prstGeom>
        </p:spPr>
      </p:pic>
    </p:spTree>
    <p:extLst>
      <p:ext uri="{BB962C8B-B14F-4D97-AF65-F5344CB8AC3E}">
        <p14:creationId xmlns:p14="http://schemas.microsoft.com/office/powerpoint/2010/main" val="144001513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3D4246"/>
        </a:solidFill>
        <a:effectLst/>
      </p:bgPr>
    </p:bg>
    <p:spTree>
      <p:nvGrpSpPr>
        <p:cNvPr id="1" name=""/>
        <p:cNvGrpSpPr/>
        <p:nvPr/>
      </p:nvGrpSpPr>
      <p:grpSpPr>
        <a:xfrm>
          <a:off x="0" y="0"/>
          <a:ext cx="0" cy="0"/>
          <a:chOff x="0" y="0"/>
          <a:chExt cx="0" cy="0"/>
        </a:xfrm>
      </p:grpSpPr>
      <p:sp>
        <p:nvSpPr>
          <p:cNvPr id="3" name="Shape 415"/>
          <p:cNvSpPr/>
          <p:nvPr/>
        </p:nvSpPr>
        <p:spPr>
          <a:xfrm>
            <a:off x="1144485" y="2476892"/>
            <a:ext cx="6855029" cy="2074414"/>
          </a:xfrm>
          <a:prstGeom prst="rect">
            <a:avLst/>
          </a:prstGeom>
          <a:ln w="12700">
            <a:miter lim="400000"/>
          </a:ln>
          <a:extLst>
            <a:ext uri="{C572A759-6A51-4108-AA02-DFA0A04FC94B}">
              <ma14:wrappingTextBoxFlag xmlns="" xmlns:ma14="http://schemas.microsoft.com/office/mac/drawingml/2011/main" val="1"/>
            </a:ext>
          </a:extLst>
        </p:spPr>
        <p:txBody>
          <a:bodyPr wrap="square" lIns="21336" tIns="21336" rIns="21336" bIns="21336" anchor="ctr">
            <a:spAutoFit/>
          </a:bodyPr>
          <a:lstStyle/>
          <a:p>
            <a:pPr algn="ctr">
              <a:defRPr sz="1800"/>
            </a:pPr>
            <a:r>
              <a:rPr lang="en-US" sz="4400" b="1" u="sng" dirty="0" smtClean="0">
                <a:solidFill>
                  <a:srgbClr val="CCFF66"/>
                </a:solidFill>
                <a:latin typeface="BebasNeueBold" pitchFamily="34" charset="0"/>
                <a:ea typeface="BebasNeueRegular"/>
                <a:cs typeface="BebasNeueRegular"/>
                <a:sym typeface="BebasNeueRegular"/>
              </a:rPr>
              <a:t>Challenge 1</a:t>
            </a:r>
            <a:r>
              <a:rPr lang="en-US" sz="4400" dirty="0" smtClean="0">
                <a:solidFill>
                  <a:srgbClr val="CCFF66"/>
                </a:solidFill>
                <a:latin typeface="BebasNeueBold" pitchFamily="34" charset="0"/>
                <a:ea typeface="BebasNeueRegular"/>
                <a:cs typeface="BebasNeueRegular"/>
                <a:sym typeface="BebasNeueRegular"/>
              </a:rPr>
              <a:t>: Improve efficiency or shift of potential frontier</a:t>
            </a:r>
            <a:endParaRPr lang="en-US" sz="4400" dirty="0">
              <a:solidFill>
                <a:srgbClr val="CCFF66"/>
              </a:solidFill>
              <a:latin typeface="BebasNeueBold" pitchFamily="34" charset="0"/>
              <a:ea typeface="BebasNeueRegular"/>
              <a:cs typeface="BebasNeueRegular"/>
              <a:sym typeface="BebasNeueRegular"/>
            </a:endParaRPr>
          </a:p>
        </p:txBody>
      </p:sp>
      <p:sp>
        <p:nvSpPr>
          <p:cNvPr id="4" name="Shape 416"/>
          <p:cNvSpPr/>
          <p:nvPr/>
        </p:nvSpPr>
        <p:spPr>
          <a:xfrm>
            <a:off x="-3163" y="6706515"/>
            <a:ext cx="1843178" cy="158751"/>
          </a:xfrm>
          <a:prstGeom prst="rect">
            <a:avLst/>
          </a:prstGeom>
          <a:solidFill>
            <a:schemeClr val="accent1"/>
          </a:solidFill>
          <a:ln w="12700">
            <a:miter lim="400000"/>
          </a:ln>
        </p:spPr>
        <p:txBody>
          <a:bodyPr lIns="0" tIns="0" rIns="0" bIns="0" anchor="ctr"/>
          <a:lstStyle/>
          <a:p>
            <a:pPr>
              <a:defRPr sz="3200"/>
            </a:pPr>
            <a:endParaRPr sz="3200">
              <a:solidFill>
                <a:prstClr val="black"/>
              </a:solidFill>
            </a:endParaRPr>
          </a:p>
        </p:txBody>
      </p:sp>
      <p:sp>
        <p:nvSpPr>
          <p:cNvPr id="5" name="Shape 417"/>
          <p:cNvSpPr/>
          <p:nvPr/>
        </p:nvSpPr>
        <p:spPr>
          <a:xfrm>
            <a:off x="1818592" y="6706515"/>
            <a:ext cx="1843177" cy="158751"/>
          </a:xfrm>
          <a:prstGeom prst="rect">
            <a:avLst/>
          </a:prstGeom>
          <a:solidFill>
            <a:schemeClr val="accent2"/>
          </a:solidFill>
          <a:ln w="12700">
            <a:miter lim="400000"/>
          </a:ln>
        </p:spPr>
        <p:txBody>
          <a:bodyPr lIns="0" tIns="0" rIns="0" bIns="0" anchor="ctr"/>
          <a:lstStyle/>
          <a:p>
            <a:pPr>
              <a:defRPr sz="3200"/>
            </a:pPr>
            <a:endParaRPr sz="3200">
              <a:solidFill>
                <a:prstClr val="black"/>
              </a:solidFill>
            </a:endParaRPr>
          </a:p>
        </p:txBody>
      </p:sp>
      <p:sp>
        <p:nvSpPr>
          <p:cNvPr id="6" name="Shape 418"/>
          <p:cNvSpPr/>
          <p:nvPr/>
        </p:nvSpPr>
        <p:spPr>
          <a:xfrm>
            <a:off x="3650412" y="6706515"/>
            <a:ext cx="1843177" cy="158751"/>
          </a:xfrm>
          <a:prstGeom prst="rect">
            <a:avLst/>
          </a:prstGeom>
          <a:solidFill>
            <a:schemeClr val="accent3"/>
          </a:solidFill>
          <a:ln w="12700">
            <a:miter lim="400000"/>
          </a:ln>
        </p:spPr>
        <p:txBody>
          <a:bodyPr lIns="0" tIns="0" rIns="0" bIns="0" anchor="ctr"/>
          <a:lstStyle/>
          <a:p>
            <a:pPr>
              <a:defRPr sz="3200"/>
            </a:pPr>
            <a:endParaRPr sz="3200">
              <a:solidFill>
                <a:prstClr val="black"/>
              </a:solidFill>
            </a:endParaRPr>
          </a:p>
        </p:txBody>
      </p:sp>
      <p:sp>
        <p:nvSpPr>
          <p:cNvPr id="7" name="Shape 419"/>
          <p:cNvSpPr/>
          <p:nvPr/>
        </p:nvSpPr>
        <p:spPr>
          <a:xfrm>
            <a:off x="5482231" y="6706515"/>
            <a:ext cx="1843178" cy="158751"/>
          </a:xfrm>
          <a:prstGeom prst="rect">
            <a:avLst/>
          </a:prstGeom>
          <a:solidFill>
            <a:schemeClr val="accent4"/>
          </a:solidFill>
          <a:ln w="12700">
            <a:miter lim="400000"/>
          </a:ln>
        </p:spPr>
        <p:txBody>
          <a:bodyPr lIns="0" tIns="0" rIns="0" bIns="0" anchor="ctr"/>
          <a:lstStyle/>
          <a:p>
            <a:pPr>
              <a:defRPr sz="3200"/>
            </a:pPr>
            <a:endParaRPr sz="3200">
              <a:solidFill>
                <a:prstClr val="black"/>
              </a:solidFill>
            </a:endParaRPr>
          </a:p>
        </p:txBody>
      </p:sp>
      <p:sp>
        <p:nvSpPr>
          <p:cNvPr id="8" name="Shape 420"/>
          <p:cNvSpPr/>
          <p:nvPr/>
        </p:nvSpPr>
        <p:spPr>
          <a:xfrm>
            <a:off x="7303985" y="6706515"/>
            <a:ext cx="1843177" cy="158751"/>
          </a:xfrm>
          <a:prstGeom prst="rect">
            <a:avLst/>
          </a:prstGeom>
          <a:solidFill>
            <a:schemeClr val="accent5"/>
          </a:solidFill>
          <a:ln w="12700">
            <a:miter lim="400000"/>
          </a:ln>
        </p:spPr>
        <p:txBody>
          <a:bodyPr lIns="0" tIns="0" rIns="0" bIns="0" anchor="ctr"/>
          <a:lstStyle/>
          <a:p>
            <a:pPr>
              <a:defRPr sz="3200"/>
            </a:pPr>
            <a:endParaRPr sz="3200">
              <a:solidFill>
                <a:prstClr val="black"/>
              </a:solidFill>
            </a:endParaRPr>
          </a:p>
        </p:txBody>
      </p:sp>
      <p:grpSp>
        <p:nvGrpSpPr>
          <p:cNvPr id="10" name="Group 431"/>
          <p:cNvGrpSpPr/>
          <p:nvPr/>
        </p:nvGrpSpPr>
        <p:grpSpPr>
          <a:xfrm>
            <a:off x="4076078" y="18924"/>
            <a:ext cx="1437253" cy="1767776"/>
            <a:chOff x="378732" y="0"/>
            <a:chExt cx="2879540" cy="3535550"/>
          </a:xfrm>
        </p:grpSpPr>
        <p:sp>
          <p:nvSpPr>
            <p:cNvPr id="11" name="Shape 422"/>
            <p:cNvSpPr/>
            <p:nvPr/>
          </p:nvSpPr>
          <p:spPr>
            <a:xfrm>
              <a:off x="378732" y="0"/>
              <a:ext cx="2047855" cy="3535550"/>
            </a:xfrm>
            <a:custGeom>
              <a:avLst/>
              <a:gdLst/>
              <a:ahLst/>
              <a:cxnLst>
                <a:cxn ang="0">
                  <a:pos x="wd2" y="hd2"/>
                </a:cxn>
                <a:cxn ang="5400000">
                  <a:pos x="wd2" y="hd2"/>
                </a:cxn>
                <a:cxn ang="10800000">
                  <a:pos x="wd2" y="hd2"/>
                </a:cxn>
                <a:cxn ang="16200000">
                  <a:pos x="wd2" y="hd2"/>
                </a:cxn>
              </a:cxnLst>
              <a:rect l="0" t="0" r="r" b="b"/>
              <a:pathLst>
                <a:path w="21600" h="21600" extrusionOk="0">
                  <a:moveTo>
                    <a:pt x="10785" y="16866"/>
                  </a:moveTo>
                  <a:lnTo>
                    <a:pt x="0" y="21600"/>
                  </a:lnTo>
                  <a:lnTo>
                    <a:pt x="0" y="0"/>
                  </a:lnTo>
                  <a:lnTo>
                    <a:pt x="21600" y="0"/>
                  </a:lnTo>
                  <a:lnTo>
                    <a:pt x="21600" y="21589"/>
                  </a:lnTo>
                  <a:lnTo>
                    <a:pt x="10785" y="16866"/>
                  </a:lnTo>
                  <a:close/>
                </a:path>
              </a:pathLst>
            </a:custGeom>
            <a:solidFill>
              <a:srgbClr val="FFFFFF"/>
            </a:solidFill>
            <a:ln w="12700" cap="flat">
              <a:noFill/>
              <a:miter lim="400000"/>
            </a:ln>
            <a:effectLst/>
          </p:spPr>
          <p:txBody>
            <a:bodyPr wrap="square" lIns="0" tIns="0" rIns="0" bIns="0" numCol="1" anchor="ctr">
              <a:noAutofit/>
            </a:bodyPr>
            <a:lstStyle/>
            <a:p>
              <a:pPr>
                <a:defRPr sz="3200"/>
              </a:pPr>
              <a:endParaRPr sz="3200">
                <a:solidFill>
                  <a:prstClr val="black"/>
                </a:solidFill>
              </a:endParaRPr>
            </a:p>
          </p:txBody>
        </p:sp>
        <p:sp>
          <p:nvSpPr>
            <p:cNvPr id="13" name="Shape 424"/>
            <p:cNvSpPr/>
            <p:nvPr/>
          </p:nvSpPr>
          <p:spPr>
            <a:xfrm>
              <a:off x="513648" y="1544187"/>
              <a:ext cx="2744624" cy="44717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spAutoFit/>
            </a:bodyPr>
            <a:lstStyle>
              <a:lvl1pPr>
                <a:lnSpc>
                  <a:spcPct val="70000"/>
                </a:lnSpc>
                <a:defRPr sz="2500">
                  <a:solidFill>
                    <a:srgbClr val="212830"/>
                  </a:solidFill>
                  <a:latin typeface="Roboto Regular"/>
                  <a:ea typeface="Roboto Regular"/>
                  <a:cs typeface="Roboto Regular"/>
                  <a:sym typeface="Roboto Regular"/>
                </a:defRPr>
              </a:lvl1pPr>
            </a:lstStyle>
            <a:p>
              <a:pPr>
                <a:defRPr sz="1800">
                  <a:solidFill>
                    <a:srgbClr val="000000"/>
                  </a:solidFill>
                </a:defRPr>
              </a:pPr>
              <a:endParaRPr sz="1100" dirty="0">
                <a:solidFill>
                  <a:srgbClr val="000000"/>
                </a:solidFill>
              </a:endParaRPr>
            </a:p>
          </p:txBody>
        </p:sp>
        <p:grpSp>
          <p:nvGrpSpPr>
            <p:cNvPr id="14" name="Group 430"/>
            <p:cNvGrpSpPr/>
            <p:nvPr/>
          </p:nvGrpSpPr>
          <p:grpSpPr>
            <a:xfrm>
              <a:off x="861128" y="629033"/>
              <a:ext cx="1106116" cy="162566"/>
              <a:chOff x="0" y="0"/>
              <a:chExt cx="1106114" cy="162564"/>
            </a:xfrm>
          </p:grpSpPr>
          <p:sp>
            <p:nvSpPr>
              <p:cNvPr id="15" name="Shape 425"/>
              <p:cNvSpPr/>
              <p:nvPr/>
            </p:nvSpPr>
            <p:spPr>
              <a:xfrm>
                <a:off x="0" y="0"/>
                <a:ext cx="162565" cy="16256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1"/>
              </a:solidFill>
              <a:ln w="12700" cap="flat">
                <a:noFill/>
                <a:miter lim="400000"/>
              </a:ln>
              <a:effectLst/>
            </p:spPr>
            <p:txBody>
              <a:bodyPr wrap="square" lIns="0" tIns="0" rIns="0" bIns="0" numCol="1" anchor="ctr">
                <a:noAutofit/>
              </a:bodyPr>
              <a:lstStyle/>
              <a:p>
                <a:pPr>
                  <a:defRPr sz="3200"/>
                </a:pPr>
                <a:endParaRPr sz="3200">
                  <a:solidFill>
                    <a:prstClr val="black"/>
                  </a:solidFill>
                </a:endParaRPr>
              </a:p>
            </p:txBody>
          </p:sp>
          <p:sp>
            <p:nvSpPr>
              <p:cNvPr id="16" name="Shape 426"/>
              <p:cNvSpPr/>
              <p:nvPr/>
            </p:nvSpPr>
            <p:spPr>
              <a:xfrm>
                <a:off x="235887" y="0"/>
                <a:ext cx="162566" cy="16256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2"/>
              </a:solidFill>
              <a:ln w="12700" cap="flat">
                <a:noFill/>
                <a:miter lim="400000"/>
              </a:ln>
              <a:effectLst/>
            </p:spPr>
            <p:txBody>
              <a:bodyPr wrap="square" lIns="0" tIns="0" rIns="0" bIns="0" numCol="1" anchor="ctr">
                <a:noAutofit/>
              </a:bodyPr>
              <a:lstStyle/>
              <a:p>
                <a:pPr>
                  <a:defRPr sz="3200"/>
                </a:pPr>
                <a:endParaRPr sz="3200">
                  <a:solidFill>
                    <a:prstClr val="black"/>
                  </a:solidFill>
                </a:endParaRPr>
              </a:p>
            </p:txBody>
          </p:sp>
          <p:sp>
            <p:nvSpPr>
              <p:cNvPr id="17" name="Shape 427"/>
              <p:cNvSpPr/>
              <p:nvPr/>
            </p:nvSpPr>
            <p:spPr>
              <a:xfrm>
                <a:off x="471775" y="0"/>
                <a:ext cx="162565" cy="16256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3"/>
              </a:solidFill>
              <a:ln w="12700" cap="flat">
                <a:noFill/>
                <a:miter lim="400000"/>
              </a:ln>
              <a:effectLst/>
            </p:spPr>
            <p:txBody>
              <a:bodyPr wrap="square" lIns="0" tIns="0" rIns="0" bIns="0" numCol="1" anchor="ctr">
                <a:noAutofit/>
              </a:bodyPr>
              <a:lstStyle/>
              <a:p>
                <a:pPr>
                  <a:defRPr sz="3200"/>
                </a:pPr>
                <a:endParaRPr sz="3200">
                  <a:solidFill>
                    <a:prstClr val="black"/>
                  </a:solidFill>
                </a:endParaRPr>
              </a:p>
            </p:txBody>
          </p:sp>
          <p:sp>
            <p:nvSpPr>
              <p:cNvPr id="18" name="Shape 428"/>
              <p:cNvSpPr/>
              <p:nvPr/>
            </p:nvSpPr>
            <p:spPr>
              <a:xfrm>
                <a:off x="707662" y="0"/>
                <a:ext cx="162566" cy="16256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4"/>
              </a:solidFill>
              <a:ln w="12700" cap="flat">
                <a:noFill/>
                <a:miter lim="400000"/>
              </a:ln>
              <a:effectLst/>
            </p:spPr>
            <p:txBody>
              <a:bodyPr wrap="square" lIns="0" tIns="0" rIns="0" bIns="0" numCol="1" anchor="ctr">
                <a:noAutofit/>
              </a:bodyPr>
              <a:lstStyle/>
              <a:p>
                <a:pPr>
                  <a:defRPr sz="3200"/>
                </a:pPr>
                <a:endParaRPr sz="3200">
                  <a:solidFill>
                    <a:prstClr val="black"/>
                  </a:solidFill>
                </a:endParaRPr>
              </a:p>
            </p:txBody>
          </p:sp>
          <p:sp>
            <p:nvSpPr>
              <p:cNvPr id="19" name="Shape 429"/>
              <p:cNvSpPr/>
              <p:nvPr/>
            </p:nvSpPr>
            <p:spPr>
              <a:xfrm>
                <a:off x="943550" y="0"/>
                <a:ext cx="162565" cy="16256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5"/>
              </a:solidFill>
              <a:ln w="12700" cap="flat">
                <a:noFill/>
                <a:miter lim="400000"/>
              </a:ln>
              <a:effectLst/>
            </p:spPr>
            <p:txBody>
              <a:bodyPr wrap="square" lIns="0" tIns="0" rIns="0" bIns="0" numCol="1" anchor="ctr">
                <a:noAutofit/>
              </a:bodyPr>
              <a:lstStyle/>
              <a:p>
                <a:pPr>
                  <a:defRPr sz="3200"/>
                </a:pPr>
                <a:endParaRPr sz="3200">
                  <a:solidFill>
                    <a:prstClr val="black"/>
                  </a:solidFill>
                </a:endParaRPr>
              </a:p>
            </p:txBody>
          </p:sp>
        </p:grpSp>
      </p:grpSp>
    </p:spTree>
    <p:extLst>
      <p:ext uri="{BB962C8B-B14F-4D97-AF65-F5344CB8AC3E}">
        <p14:creationId xmlns:p14="http://schemas.microsoft.com/office/powerpoint/2010/main" val="3322901943"/>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iterate>
                                    <p:tmAbs val="0"/>
                                  </p:iterate>
                                  <p:childTnLst>
                                    <p:set>
                                      <p:cBhvr>
                                        <p:cTn id="6" fill="hold"/>
                                        <p:tgtEl>
                                          <p:spTgt spid="10"/>
                                        </p:tgtEl>
                                        <p:attrNameLst>
                                          <p:attrName>style.visibility</p:attrName>
                                        </p:attrNameLst>
                                      </p:cBhvr>
                                      <p:to>
                                        <p:strVal val="visible"/>
                                      </p:to>
                                    </p:set>
                                    <p:anim calcmode="lin" valueType="num">
                                      <p:cBhvr>
                                        <p:cTn id="7" dur="1000" fill="hold"/>
                                        <p:tgtEl>
                                          <p:spTgt spid="10"/>
                                        </p:tgtEl>
                                        <p:attrNameLst>
                                          <p:attrName>ppt_x</p:attrName>
                                        </p:attrNameLst>
                                      </p:cBhvr>
                                      <p:tavLst>
                                        <p:tav tm="0">
                                          <p:val>
                                            <p:strVal val="#ppt_x"/>
                                          </p:val>
                                        </p:tav>
                                        <p:tav tm="100000">
                                          <p:val>
                                            <p:strVal val="#ppt_x"/>
                                          </p:val>
                                        </p:tav>
                                      </p:tavLst>
                                    </p:anim>
                                    <p:anim calcmode="lin" valueType="num">
                                      <p:cBhvr>
                                        <p:cTn id="8" dur="1000" fill="hold"/>
                                        <p:tgtEl>
                                          <p:spTgt spid="10"/>
                                        </p:tgtEl>
                                        <p:attrNameLst>
                                          <p:attrName>ppt_y</p:attrName>
                                        </p:attrNameLst>
                                      </p:cBhvr>
                                      <p:tavLst>
                                        <p:tav tm="0">
                                          <p:val>
                                            <p:strVal val="0-#ppt_h/2"/>
                                          </p:val>
                                        </p:tav>
                                        <p:tav tm="100000">
                                          <p:val>
                                            <p:strVal val="#ppt_y"/>
                                          </p:val>
                                        </p:tav>
                                      </p:tavLst>
                                    </p:anim>
                                  </p:childTnLst>
                                </p:cTn>
                              </p:par>
                            </p:childTnLst>
                          </p:cTn>
                        </p:par>
                        <p:par>
                          <p:cTn id="9" fill="hold">
                            <p:stCondLst>
                              <p:cond delay="1000"/>
                            </p:stCondLst>
                            <p:childTnLst>
                              <p:par>
                                <p:cTn id="10" presetID="2" presetClass="entr" presetSubtype="8" fill="hold" grpId="0" nodeType="after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additive="base">
                                        <p:cTn id="12" dur="500" fill="hold"/>
                                        <p:tgtEl>
                                          <p:spTgt spid="3"/>
                                        </p:tgtEl>
                                        <p:attrNameLst>
                                          <p:attrName>ppt_x</p:attrName>
                                        </p:attrNameLst>
                                      </p:cBhvr>
                                      <p:tavLst>
                                        <p:tav tm="0">
                                          <p:val>
                                            <p:strVal val="0-#ppt_w/2"/>
                                          </p:val>
                                        </p:tav>
                                        <p:tav tm="100000">
                                          <p:val>
                                            <p:strVal val="#ppt_x"/>
                                          </p:val>
                                        </p:tav>
                                      </p:tavLst>
                                    </p:anim>
                                    <p:anim calcmode="lin" valueType="num">
                                      <p:cBhvr additive="base">
                                        <p:cTn id="13" dur="500" fill="hold"/>
                                        <p:tgtEl>
                                          <p:spTgt spid="3"/>
                                        </p:tgtEl>
                                        <p:attrNameLst>
                                          <p:attrName>ppt_y</p:attrName>
                                        </p:attrNameLst>
                                      </p:cBhvr>
                                      <p:tavLst>
                                        <p:tav tm="0">
                                          <p:val>
                                            <p:strVal val="#ppt_y"/>
                                          </p:val>
                                        </p:tav>
                                        <p:tav tm="100000">
                                          <p:val>
                                            <p:strVal val="#ppt_y"/>
                                          </p:val>
                                        </p:tav>
                                      </p:tavLst>
                                    </p:anim>
                                  </p:childTnLst>
                                </p:cTn>
                              </p:par>
                            </p:childTnLst>
                          </p:cTn>
                        </p:par>
                        <p:par>
                          <p:cTn id="14" fill="hold">
                            <p:stCondLst>
                              <p:cond delay="1500"/>
                            </p:stCondLst>
                            <p:childTnLst>
                              <p:par>
                                <p:cTn id="15" presetID="2" presetClass="entr" presetSubtype="8" fill="hold" grpId="0" nodeType="afterEffect">
                                  <p:stCondLst>
                                    <p:cond delay="0"/>
                                  </p:stCondLst>
                                  <p:iterate>
                                    <p:tmAbs val="0"/>
                                  </p:iterate>
                                  <p:childTnLst>
                                    <p:set>
                                      <p:cBhvr>
                                        <p:cTn id="16" fill="hold"/>
                                        <p:tgtEl>
                                          <p:spTgt spid="8"/>
                                        </p:tgtEl>
                                        <p:attrNameLst>
                                          <p:attrName>style.visibility</p:attrName>
                                        </p:attrNameLst>
                                      </p:cBhvr>
                                      <p:to>
                                        <p:strVal val="visible"/>
                                      </p:to>
                                    </p:set>
                                    <p:anim calcmode="lin" valueType="num">
                                      <p:cBhvr>
                                        <p:cTn id="17" dur="350" fill="hold"/>
                                        <p:tgtEl>
                                          <p:spTgt spid="8"/>
                                        </p:tgtEl>
                                        <p:attrNameLst>
                                          <p:attrName>ppt_x</p:attrName>
                                        </p:attrNameLst>
                                      </p:cBhvr>
                                      <p:tavLst>
                                        <p:tav tm="0">
                                          <p:val>
                                            <p:strVal val="0-#ppt_w/2"/>
                                          </p:val>
                                        </p:tav>
                                        <p:tav tm="100000">
                                          <p:val>
                                            <p:strVal val="#ppt_x"/>
                                          </p:val>
                                        </p:tav>
                                      </p:tavLst>
                                    </p:anim>
                                    <p:anim calcmode="lin" valueType="num">
                                      <p:cBhvr>
                                        <p:cTn id="18" dur="350" fill="hold"/>
                                        <p:tgtEl>
                                          <p:spTgt spid="8"/>
                                        </p:tgtEl>
                                        <p:attrNameLst>
                                          <p:attrName>ppt_y</p:attrName>
                                        </p:attrNameLst>
                                      </p:cBhvr>
                                      <p:tavLst>
                                        <p:tav tm="0">
                                          <p:val>
                                            <p:strVal val="#ppt_y"/>
                                          </p:val>
                                        </p:tav>
                                        <p:tav tm="100000">
                                          <p:val>
                                            <p:strVal val="#ppt_y"/>
                                          </p:val>
                                        </p:tav>
                                      </p:tavLst>
                                    </p:anim>
                                  </p:childTnLst>
                                </p:cTn>
                              </p:par>
                            </p:childTnLst>
                          </p:cTn>
                        </p:par>
                        <p:par>
                          <p:cTn id="19" fill="hold">
                            <p:stCondLst>
                              <p:cond delay="1850"/>
                            </p:stCondLst>
                            <p:childTnLst>
                              <p:par>
                                <p:cTn id="20" presetID="2" presetClass="entr" presetSubtype="8" fill="hold" grpId="0" nodeType="afterEffect">
                                  <p:stCondLst>
                                    <p:cond delay="0"/>
                                  </p:stCondLst>
                                  <p:iterate>
                                    <p:tmAbs val="0"/>
                                  </p:iterate>
                                  <p:childTnLst>
                                    <p:set>
                                      <p:cBhvr>
                                        <p:cTn id="21" fill="hold"/>
                                        <p:tgtEl>
                                          <p:spTgt spid="7"/>
                                        </p:tgtEl>
                                        <p:attrNameLst>
                                          <p:attrName>style.visibility</p:attrName>
                                        </p:attrNameLst>
                                      </p:cBhvr>
                                      <p:to>
                                        <p:strVal val="visible"/>
                                      </p:to>
                                    </p:set>
                                    <p:anim calcmode="lin" valueType="num">
                                      <p:cBhvr>
                                        <p:cTn id="22" dur="350" fill="hold"/>
                                        <p:tgtEl>
                                          <p:spTgt spid="7"/>
                                        </p:tgtEl>
                                        <p:attrNameLst>
                                          <p:attrName>ppt_x</p:attrName>
                                        </p:attrNameLst>
                                      </p:cBhvr>
                                      <p:tavLst>
                                        <p:tav tm="0">
                                          <p:val>
                                            <p:strVal val="0-#ppt_w/2"/>
                                          </p:val>
                                        </p:tav>
                                        <p:tav tm="100000">
                                          <p:val>
                                            <p:strVal val="#ppt_x"/>
                                          </p:val>
                                        </p:tav>
                                      </p:tavLst>
                                    </p:anim>
                                    <p:anim calcmode="lin" valueType="num">
                                      <p:cBhvr>
                                        <p:cTn id="23" dur="350" fill="hold"/>
                                        <p:tgtEl>
                                          <p:spTgt spid="7"/>
                                        </p:tgtEl>
                                        <p:attrNameLst>
                                          <p:attrName>ppt_y</p:attrName>
                                        </p:attrNameLst>
                                      </p:cBhvr>
                                      <p:tavLst>
                                        <p:tav tm="0">
                                          <p:val>
                                            <p:strVal val="#ppt_y"/>
                                          </p:val>
                                        </p:tav>
                                        <p:tav tm="100000">
                                          <p:val>
                                            <p:strVal val="#ppt_y"/>
                                          </p:val>
                                        </p:tav>
                                      </p:tavLst>
                                    </p:anim>
                                  </p:childTnLst>
                                </p:cTn>
                              </p:par>
                            </p:childTnLst>
                          </p:cTn>
                        </p:par>
                        <p:par>
                          <p:cTn id="24" fill="hold">
                            <p:stCondLst>
                              <p:cond delay="2200"/>
                            </p:stCondLst>
                            <p:childTnLst>
                              <p:par>
                                <p:cTn id="25" presetID="2" presetClass="entr" presetSubtype="8" fill="hold" grpId="0" nodeType="afterEffect">
                                  <p:stCondLst>
                                    <p:cond delay="0"/>
                                  </p:stCondLst>
                                  <p:iterate>
                                    <p:tmAbs val="0"/>
                                  </p:iterate>
                                  <p:childTnLst>
                                    <p:set>
                                      <p:cBhvr>
                                        <p:cTn id="26" fill="hold"/>
                                        <p:tgtEl>
                                          <p:spTgt spid="6"/>
                                        </p:tgtEl>
                                        <p:attrNameLst>
                                          <p:attrName>style.visibility</p:attrName>
                                        </p:attrNameLst>
                                      </p:cBhvr>
                                      <p:to>
                                        <p:strVal val="visible"/>
                                      </p:to>
                                    </p:set>
                                    <p:anim calcmode="lin" valueType="num">
                                      <p:cBhvr>
                                        <p:cTn id="27" dur="350" fill="hold"/>
                                        <p:tgtEl>
                                          <p:spTgt spid="6"/>
                                        </p:tgtEl>
                                        <p:attrNameLst>
                                          <p:attrName>ppt_x</p:attrName>
                                        </p:attrNameLst>
                                      </p:cBhvr>
                                      <p:tavLst>
                                        <p:tav tm="0">
                                          <p:val>
                                            <p:strVal val="0-#ppt_w/2"/>
                                          </p:val>
                                        </p:tav>
                                        <p:tav tm="100000">
                                          <p:val>
                                            <p:strVal val="#ppt_x"/>
                                          </p:val>
                                        </p:tav>
                                      </p:tavLst>
                                    </p:anim>
                                    <p:anim calcmode="lin" valueType="num">
                                      <p:cBhvr>
                                        <p:cTn id="28" dur="350" fill="hold"/>
                                        <p:tgtEl>
                                          <p:spTgt spid="6"/>
                                        </p:tgtEl>
                                        <p:attrNameLst>
                                          <p:attrName>ppt_y</p:attrName>
                                        </p:attrNameLst>
                                      </p:cBhvr>
                                      <p:tavLst>
                                        <p:tav tm="0">
                                          <p:val>
                                            <p:strVal val="#ppt_y"/>
                                          </p:val>
                                        </p:tav>
                                        <p:tav tm="100000">
                                          <p:val>
                                            <p:strVal val="#ppt_y"/>
                                          </p:val>
                                        </p:tav>
                                      </p:tavLst>
                                    </p:anim>
                                  </p:childTnLst>
                                </p:cTn>
                              </p:par>
                            </p:childTnLst>
                          </p:cTn>
                        </p:par>
                        <p:par>
                          <p:cTn id="29" fill="hold">
                            <p:stCondLst>
                              <p:cond delay="2550"/>
                            </p:stCondLst>
                            <p:childTnLst>
                              <p:par>
                                <p:cTn id="30" presetID="2" presetClass="entr" presetSubtype="8" fill="hold" grpId="0" nodeType="afterEffect">
                                  <p:stCondLst>
                                    <p:cond delay="0"/>
                                  </p:stCondLst>
                                  <p:iterate>
                                    <p:tmAbs val="0"/>
                                  </p:iterate>
                                  <p:childTnLst>
                                    <p:set>
                                      <p:cBhvr>
                                        <p:cTn id="31" fill="hold"/>
                                        <p:tgtEl>
                                          <p:spTgt spid="5"/>
                                        </p:tgtEl>
                                        <p:attrNameLst>
                                          <p:attrName>style.visibility</p:attrName>
                                        </p:attrNameLst>
                                      </p:cBhvr>
                                      <p:to>
                                        <p:strVal val="visible"/>
                                      </p:to>
                                    </p:set>
                                    <p:anim calcmode="lin" valueType="num">
                                      <p:cBhvr>
                                        <p:cTn id="32" dur="350" fill="hold"/>
                                        <p:tgtEl>
                                          <p:spTgt spid="5"/>
                                        </p:tgtEl>
                                        <p:attrNameLst>
                                          <p:attrName>ppt_x</p:attrName>
                                        </p:attrNameLst>
                                      </p:cBhvr>
                                      <p:tavLst>
                                        <p:tav tm="0">
                                          <p:val>
                                            <p:strVal val="0-#ppt_w/2"/>
                                          </p:val>
                                        </p:tav>
                                        <p:tav tm="100000">
                                          <p:val>
                                            <p:strVal val="#ppt_x"/>
                                          </p:val>
                                        </p:tav>
                                      </p:tavLst>
                                    </p:anim>
                                    <p:anim calcmode="lin" valueType="num">
                                      <p:cBhvr>
                                        <p:cTn id="33" dur="350" fill="hold"/>
                                        <p:tgtEl>
                                          <p:spTgt spid="5"/>
                                        </p:tgtEl>
                                        <p:attrNameLst>
                                          <p:attrName>ppt_y</p:attrName>
                                        </p:attrNameLst>
                                      </p:cBhvr>
                                      <p:tavLst>
                                        <p:tav tm="0">
                                          <p:val>
                                            <p:strVal val="#ppt_y"/>
                                          </p:val>
                                        </p:tav>
                                        <p:tav tm="100000">
                                          <p:val>
                                            <p:strVal val="#ppt_y"/>
                                          </p:val>
                                        </p:tav>
                                      </p:tavLst>
                                    </p:anim>
                                  </p:childTnLst>
                                </p:cTn>
                              </p:par>
                            </p:childTnLst>
                          </p:cTn>
                        </p:par>
                        <p:par>
                          <p:cTn id="34" fill="hold">
                            <p:stCondLst>
                              <p:cond delay="2900"/>
                            </p:stCondLst>
                            <p:childTnLst>
                              <p:par>
                                <p:cTn id="35" presetID="2" presetClass="entr" presetSubtype="8" fill="hold" grpId="0" nodeType="afterEffect">
                                  <p:stCondLst>
                                    <p:cond delay="0"/>
                                  </p:stCondLst>
                                  <p:iterate>
                                    <p:tmAbs val="0"/>
                                  </p:iterate>
                                  <p:childTnLst>
                                    <p:set>
                                      <p:cBhvr>
                                        <p:cTn id="36" fill="hold"/>
                                        <p:tgtEl>
                                          <p:spTgt spid="4"/>
                                        </p:tgtEl>
                                        <p:attrNameLst>
                                          <p:attrName>style.visibility</p:attrName>
                                        </p:attrNameLst>
                                      </p:cBhvr>
                                      <p:to>
                                        <p:strVal val="visible"/>
                                      </p:to>
                                    </p:set>
                                    <p:anim calcmode="lin" valueType="num">
                                      <p:cBhvr>
                                        <p:cTn id="37" dur="350" fill="hold"/>
                                        <p:tgtEl>
                                          <p:spTgt spid="4"/>
                                        </p:tgtEl>
                                        <p:attrNameLst>
                                          <p:attrName>ppt_x</p:attrName>
                                        </p:attrNameLst>
                                      </p:cBhvr>
                                      <p:tavLst>
                                        <p:tav tm="0">
                                          <p:val>
                                            <p:strVal val="0-#ppt_w/2"/>
                                          </p:val>
                                        </p:tav>
                                        <p:tav tm="100000">
                                          <p:val>
                                            <p:strVal val="#ppt_x"/>
                                          </p:val>
                                        </p:tav>
                                      </p:tavLst>
                                    </p:anim>
                                    <p:anim calcmode="lin" valueType="num">
                                      <p:cBhvr>
                                        <p:cTn id="38" dur="3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advAuto="0"/>
      <p:bldP spid="5" grpId="0" animBg="1" advAuto="0"/>
      <p:bldP spid="6" grpId="0" animBg="1" advAuto="0"/>
      <p:bldP spid="7" grpId="0" animBg="1" advAuto="0"/>
      <p:bldP spid="8" grpId="0" animBg="1" advAuto="0"/>
      <p:bldP spid="10" grpId="0" animBg="1" advAuto="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203535"/>
            <a:ext cx="7886700" cy="1317854"/>
          </a:xfrm>
          <a:noFill/>
          <a:ln w="9525">
            <a:noFill/>
            <a:miter lim="800000"/>
            <a:headEnd/>
            <a:tailEnd/>
          </a:ln>
        </p:spPr>
        <p:txBody>
          <a:bodyPr vert="horz" wrap="square" lIns="91440" tIns="18288" rIns="91440" bIns="18288" numCol="1" rtlCol="0" anchor="ctr" anchorCtr="0" compatLnSpc="1">
            <a:prstTxWarp prst="textNoShape">
              <a:avLst/>
            </a:prstTxWarp>
            <a:noAutofit/>
          </a:bodyPr>
          <a:lstStyle/>
          <a:p>
            <a:pPr algn="ctr" defTabSz="914400"/>
            <a:r>
              <a:rPr lang="en-US" sz="2800" b="1" dirty="0" smtClean="0">
                <a:solidFill>
                  <a:srgbClr val="000000"/>
                </a:solidFill>
                <a:latin typeface="Arial" pitchFamily="34" charset="0"/>
                <a:cs typeface="Arial" pitchFamily="34" charset="0"/>
              </a:rPr>
              <a:t>Production </a:t>
            </a:r>
            <a:r>
              <a:rPr lang="en-US" sz="2800" b="1" dirty="0">
                <a:solidFill>
                  <a:srgbClr val="000000"/>
                </a:solidFill>
                <a:latin typeface="Arial" pitchFamily="34" charset="0"/>
                <a:cs typeface="Arial" pitchFamily="34" charset="0"/>
              </a:rPr>
              <a:t>of key crops, in Zambia, 1990-2013</a:t>
            </a:r>
          </a:p>
        </p:txBody>
      </p:sp>
      <p:pic>
        <p:nvPicPr>
          <p:cNvPr id="3" name="Picture 2"/>
          <p:cNvPicPr>
            <a:picLocks noChangeAspect="1"/>
          </p:cNvPicPr>
          <p:nvPr/>
        </p:nvPicPr>
        <p:blipFill>
          <a:blip r:embed="rId2"/>
          <a:stretch>
            <a:fillRect/>
          </a:stretch>
        </p:blipFill>
        <p:spPr>
          <a:xfrm>
            <a:off x="143480" y="1468966"/>
            <a:ext cx="8112497" cy="4353151"/>
          </a:xfrm>
          <a:prstGeom prst="rect">
            <a:avLst/>
          </a:prstGeom>
        </p:spPr>
      </p:pic>
      <p:sp>
        <p:nvSpPr>
          <p:cNvPr id="4" name="TextBox 3"/>
          <p:cNvSpPr txBox="1"/>
          <p:nvPr/>
        </p:nvSpPr>
        <p:spPr>
          <a:xfrm>
            <a:off x="6948264" y="6309320"/>
            <a:ext cx="2910017" cy="253916"/>
          </a:xfrm>
          <a:prstGeom prst="rect">
            <a:avLst/>
          </a:prstGeom>
          <a:noFill/>
        </p:spPr>
        <p:txBody>
          <a:bodyPr wrap="square" rtlCol="0">
            <a:spAutoFit/>
          </a:bodyPr>
          <a:lstStyle/>
          <a:p>
            <a:r>
              <a:rPr lang="en-US" sz="1050" dirty="0"/>
              <a:t>Source: http://faostat3.fao.org</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592" y="203534"/>
            <a:ext cx="525826" cy="830652"/>
          </a:xfrm>
          <a:prstGeom prst="rect">
            <a:avLst/>
          </a:prstGeom>
        </p:spPr>
      </p:pic>
    </p:spTree>
    <p:extLst>
      <p:ext uri="{BB962C8B-B14F-4D97-AF65-F5344CB8AC3E}">
        <p14:creationId xmlns:p14="http://schemas.microsoft.com/office/powerpoint/2010/main" val="94522646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43608" y="203534"/>
            <a:ext cx="7262925" cy="830652"/>
          </a:xfrm>
          <a:noFill/>
          <a:ln w="9525">
            <a:noFill/>
            <a:miter lim="800000"/>
            <a:headEnd/>
            <a:tailEnd/>
          </a:ln>
        </p:spPr>
        <p:txBody>
          <a:bodyPr vert="horz" wrap="square" lIns="91440" tIns="18288" rIns="91440" bIns="18288" numCol="1" rtlCol="0" anchor="ctr" anchorCtr="0" compatLnSpc="1">
            <a:prstTxWarp prst="textNoShape">
              <a:avLst/>
            </a:prstTxWarp>
            <a:noAutofit/>
          </a:bodyPr>
          <a:lstStyle/>
          <a:p>
            <a:pPr algn="ctr" defTabSz="914400"/>
            <a:r>
              <a:rPr lang="en-US" sz="2800" b="1" dirty="0" smtClean="0">
                <a:solidFill>
                  <a:srgbClr val="000000"/>
                </a:solidFill>
                <a:latin typeface="Arial" pitchFamily="34" charset="0"/>
                <a:cs typeface="Arial" pitchFamily="34" charset="0"/>
              </a:rPr>
              <a:t>Food </a:t>
            </a:r>
            <a:r>
              <a:rPr lang="en-US" sz="2800" b="1" dirty="0">
                <a:solidFill>
                  <a:srgbClr val="000000"/>
                </a:solidFill>
                <a:latin typeface="Arial" pitchFamily="34" charset="0"/>
                <a:cs typeface="Arial" pitchFamily="34" charset="0"/>
              </a:rPr>
              <a:t>supply per capita per year, Zambia, 1998-2010</a:t>
            </a:r>
          </a:p>
        </p:txBody>
      </p:sp>
      <p:pic>
        <p:nvPicPr>
          <p:cNvPr id="3" name="Picture 2"/>
          <p:cNvPicPr>
            <a:picLocks noChangeAspect="1"/>
          </p:cNvPicPr>
          <p:nvPr/>
        </p:nvPicPr>
        <p:blipFill>
          <a:blip r:embed="rId2"/>
          <a:stretch>
            <a:fillRect/>
          </a:stretch>
        </p:blipFill>
        <p:spPr>
          <a:xfrm>
            <a:off x="481558" y="1282089"/>
            <a:ext cx="7847560" cy="4865337"/>
          </a:xfrm>
          <a:prstGeom prst="rect">
            <a:avLst/>
          </a:prstGeom>
        </p:spPr>
      </p:pic>
      <p:sp>
        <p:nvSpPr>
          <p:cNvPr id="4" name="TextBox 3"/>
          <p:cNvSpPr txBox="1"/>
          <p:nvPr/>
        </p:nvSpPr>
        <p:spPr>
          <a:xfrm>
            <a:off x="7380312" y="6176132"/>
            <a:ext cx="2893026" cy="253916"/>
          </a:xfrm>
          <a:prstGeom prst="rect">
            <a:avLst/>
          </a:prstGeom>
          <a:noFill/>
        </p:spPr>
        <p:txBody>
          <a:bodyPr wrap="square" rtlCol="0">
            <a:spAutoFit/>
          </a:bodyPr>
          <a:lstStyle/>
          <a:p>
            <a:r>
              <a:rPr lang="en-US" sz="1050" dirty="0"/>
              <a:t>Source: FAO 2015</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592" y="203534"/>
            <a:ext cx="525826" cy="830652"/>
          </a:xfrm>
          <a:prstGeom prst="rect">
            <a:avLst/>
          </a:prstGeom>
        </p:spPr>
      </p:pic>
    </p:spTree>
    <p:extLst>
      <p:ext uri="{BB962C8B-B14F-4D97-AF65-F5344CB8AC3E}">
        <p14:creationId xmlns:p14="http://schemas.microsoft.com/office/powerpoint/2010/main" val="260981529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922515"/>
            <a:ext cx="9281885" cy="4795848"/>
          </a:xfrm>
          <a:prstGeom prst="rect">
            <a:avLst/>
          </a:prstGeom>
        </p:spPr>
      </p:pic>
      <p:sp>
        <p:nvSpPr>
          <p:cNvPr id="3" name="Title 1"/>
          <p:cNvSpPr txBox="1">
            <a:spLocks/>
          </p:cNvSpPr>
          <p:nvPr/>
        </p:nvSpPr>
        <p:spPr>
          <a:xfrm>
            <a:off x="1187624" y="188640"/>
            <a:ext cx="7262925" cy="830652"/>
          </a:xfrm>
          <a:prstGeom prst="rect">
            <a:avLst/>
          </a:prstGeom>
          <a:noFill/>
          <a:ln w="9525">
            <a:noFill/>
            <a:miter lim="800000"/>
            <a:headEnd/>
            <a:tailEnd/>
          </a:ln>
        </p:spPr>
        <p:txBody>
          <a:bodyPr vert="horz" wrap="square" lIns="91440" tIns="18288" rIns="91440" bIns="18288" numCol="1" rtlCol="0" anchor="ctr" anchorCtr="0" compatLnSpc="1">
            <a:prstTxWarp prst="textNoShape">
              <a:avLst/>
            </a:prstTxWarp>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gn="ctr" defTabSz="914400"/>
            <a:r>
              <a:rPr lang="en-US" sz="2800" b="1" dirty="0" smtClean="0">
                <a:solidFill>
                  <a:srgbClr val="000000"/>
                </a:solidFill>
                <a:latin typeface="Arial" pitchFamily="34" charset="0"/>
                <a:cs typeface="Arial" pitchFamily="34" charset="0"/>
              </a:rPr>
              <a:t>Yields are still low</a:t>
            </a:r>
            <a:endParaRPr lang="en-US" sz="2800" b="1" dirty="0">
              <a:solidFill>
                <a:srgbClr val="000000"/>
              </a:solidFill>
              <a:latin typeface="Arial" pitchFamily="34" charset="0"/>
              <a:cs typeface="Arial" pitchFamily="34" charset="0"/>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7608" y="188640"/>
            <a:ext cx="525826" cy="830652"/>
          </a:xfrm>
          <a:prstGeom prst="rect">
            <a:avLst/>
          </a:prstGeom>
        </p:spPr>
      </p:pic>
    </p:spTree>
    <p:extLst>
      <p:ext uri="{BB962C8B-B14F-4D97-AF65-F5344CB8AC3E}">
        <p14:creationId xmlns:p14="http://schemas.microsoft.com/office/powerpoint/2010/main" val="25580238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0"/>
            <a:ext cx="7467600" cy="914400"/>
          </a:xfrm>
        </p:spPr>
        <p:txBody>
          <a:bodyPr/>
          <a:lstStyle/>
          <a:p>
            <a:r>
              <a:rPr lang="en-US" sz="3200" dirty="0" smtClean="0"/>
              <a:t>Spatial Patterns (annual avg. 2005-07)</a:t>
            </a:r>
            <a:endParaRPr lang="en-US" sz="3200"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162" y="1886836"/>
            <a:ext cx="4260372" cy="44224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62540" y="1969225"/>
            <a:ext cx="4041922" cy="4196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6396829" y="1268760"/>
            <a:ext cx="973343" cy="461665"/>
          </a:xfrm>
          <a:prstGeom prst="rect">
            <a:avLst/>
          </a:prstGeom>
        </p:spPr>
        <p:txBody>
          <a:bodyPr wrap="none">
            <a:spAutoFit/>
          </a:bodyPr>
          <a:lstStyle/>
          <a:p>
            <a:pPr fontAlgn="base">
              <a:spcBef>
                <a:spcPct val="0"/>
              </a:spcBef>
              <a:spcAft>
                <a:spcPct val="0"/>
              </a:spcAft>
            </a:pPr>
            <a:r>
              <a:rPr lang="en-US" sz="2400" dirty="0">
                <a:solidFill>
                  <a:srgbClr val="000000"/>
                </a:solidFill>
              </a:rPr>
              <a:t>L</a:t>
            </a:r>
            <a:r>
              <a:rPr lang="en-US" sz="2400" dirty="0" smtClean="0">
                <a:solidFill>
                  <a:srgbClr val="000000"/>
                </a:solidFill>
              </a:rPr>
              <a:t>abor</a:t>
            </a:r>
            <a:endParaRPr lang="en-US" sz="2400" dirty="0">
              <a:solidFill>
                <a:srgbClr val="000000"/>
              </a:solidFill>
            </a:endParaRPr>
          </a:p>
        </p:txBody>
      </p:sp>
      <p:sp>
        <p:nvSpPr>
          <p:cNvPr id="8" name="Rectangle 7"/>
          <p:cNvSpPr/>
          <p:nvPr/>
        </p:nvSpPr>
        <p:spPr>
          <a:xfrm>
            <a:off x="1168227" y="1320280"/>
            <a:ext cx="870751" cy="461665"/>
          </a:xfrm>
          <a:prstGeom prst="rect">
            <a:avLst/>
          </a:prstGeom>
        </p:spPr>
        <p:txBody>
          <a:bodyPr wrap="none">
            <a:spAutoFit/>
          </a:bodyPr>
          <a:lstStyle/>
          <a:p>
            <a:pPr fontAlgn="base">
              <a:spcBef>
                <a:spcPct val="0"/>
              </a:spcBef>
              <a:spcAft>
                <a:spcPct val="0"/>
              </a:spcAft>
            </a:pPr>
            <a:r>
              <a:rPr lang="en-US" sz="2400" dirty="0" smtClean="0">
                <a:solidFill>
                  <a:srgbClr val="000000"/>
                </a:solidFill>
              </a:rPr>
              <a:t>Land</a:t>
            </a:r>
            <a:endParaRPr lang="en-US" sz="2400" dirty="0">
              <a:solidFill>
                <a:srgbClr val="000000"/>
              </a:solidFill>
            </a:endParaRPr>
          </a:p>
        </p:txBody>
      </p:sp>
      <p:sp>
        <p:nvSpPr>
          <p:cNvPr id="9" name="TextBox 8"/>
          <p:cNvSpPr txBox="1"/>
          <p:nvPr/>
        </p:nvSpPr>
        <p:spPr>
          <a:xfrm>
            <a:off x="381000" y="6553200"/>
            <a:ext cx="8839200" cy="276999"/>
          </a:xfrm>
          <a:prstGeom prst="rect">
            <a:avLst/>
          </a:prstGeom>
          <a:noFill/>
        </p:spPr>
        <p:txBody>
          <a:bodyPr wrap="square" rtlCol="0">
            <a:spAutoFit/>
          </a:bodyPr>
          <a:lstStyle/>
          <a:p>
            <a:pPr fontAlgn="base">
              <a:spcBef>
                <a:spcPct val="0"/>
              </a:spcBef>
              <a:spcAft>
                <a:spcPct val="0"/>
              </a:spcAft>
            </a:pPr>
            <a:r>
              <a:rPr lang="en-US" sz="1200" dirty="0" smtClean="0">
                <a:solidFill>
                  <a:srgbClr val="000000"/>
                </a:solidFill>
              </a:rPr>
              <a:t>Source: Benin, et.al (2011). Trends and Spatial Patterns in Agricultural Productivity in Africa 1961-2010, </a:t>
            </a:r>
            <a:r>
              <a:rPr lang="en-US" sz="1200" dirty="0" err="1" smtClean="0">
                <a:solidFill>
                  <a:srgbClr val="000000"/>
                </a:solidFill>
              </a:rPr>
              <a:t>ReSAKSS</a:t>
            </a:r>
            <a:r>
              <a:rPr lang="en-US" sz="1200" dirty="0" smtClean="0">
                <a:solidFill>
                  <a:srgbClr val="000000"/>
                </a:solidFill>
              </a:rPr>
              <a:t>.</a:t>
            </a:r>
            <a:endParaRPr lang="en-US" sz="1200" dirty="0">
              <a:solidFill>
                <a:srgbClr val="000000"/>
              </a:solidFill>
            </a:endParaRPr>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7608" y="188640"/>
            <a:ext cx="525826" cy="830652"/>
          </a:xfrm>
          <a:prstGeom prst="rect">
            <a:avLst/>
          </a:prstGeom>
        </p:spPr>
      </p:pic>
    </p:spTree>
    <p:extLst>
      <p:ext uri="{BB962C8B-B14F-4D97-AF65-F5344CB8AC3E}">
        <p14:creationId xmlns:p14="http://schemas.microsoft.com/office/powerpoint/2010/main" val="24287204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1187624" y="188640"/>
            <a:ext cx="7262925" cy="830652"/>
          </a:xfrm>
          <a:prstGeom prst="rect">
            <a:avLst/>
          </a:prstGeom>
          <a:noFill/>
          <a:ln w="9525">
            <a:noFill/>
            <a:miter lim="800000"/>
            <a:headEnd/>
            <a:tailEnd/>
          </a:ln>
        </p:spPr>
        <p:txBody>
          <a:bodyPr vert="horz" wrap="square" lIns="91440" tIns="18288" rIns="91440" bIns="18288" numCol="1" rtlCol="0" anchor="ctr" anchorCtr="0" compatLnSpc="1">
            <a:prstTxWarp prst="textNoShape">
              <a:avLst/>
            </a:prstTxWarp>
            <a:noAutofit/>
          </a:bodyPr>
          <a:lstStyle>
            <a:defPPr>
              <a:defRPr lang="nl-NL"/>
            </a:defPPr>
            <a:lvl1pPr algn="ctr">
              <a:lnSpc>
                <a:spcPct val="90000"/>
              </a:lnSpc>
              <a:spcBef>
                <a:spcPct val="0"/>
              </a:spcBef>
              <a:buNone/>
              <a:defRPr sz="2800" b="1">
                <a:solidFill>
                  <a:srgbClr val="000000"/>
                </a:solidFill>
                <a:latin typeface="Arial" pitchFamily="34" charset="0"/>
                <a:ea typeface="+mj-ea"/>
                <a:cs typeface="Arial" pitchFamily="34" charset="0"/>
              </a:defRPr>
            </a:lvl1pPr>
          </a:lstStyle>
          <a:p>
            <a:r>
              <a:rPr lang="en-US" dirty="0"/>
              <a:t>Intensity of agricultural research spending and capacity, 1981–2008</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7608" y="188640"/>
            <a:ext cx="525826" cy="830652"/>
          </a:xfrm>
          <a:prstGeom prst="rect">
            <a:avLst/>
          </a:prstGeom>
        </p:spPr>
      </p:pic>
      <p:pic>
        <p:nvPicPr>
          <p:cNvPr id="5" name="Picture 4"/>
          <p:cNvPicPr>
            <a:picLocks noChangeAspect="1"/>
          </p:cNvPicPr>
          <p:nvPr/>
        </p:nvPicPr>
        <p:blipFill>
          <a:blip r:embed="rId4"/>
          <a:stretch>
            <a:fillRect/>
          </a:stretch>
        </p:blipFill>
        <p:spPr>
          <a:xfrm>
            <a:off x="560521" y="1196752"/>
            <a:ext cx="8188960" cy="5111080"/>
          </a:xfrm>
          <a:prstGeom prst="rect">
            <a:avLst/>
          </a:prstGeom>
        </p:spPr>
      </p:pic>
    </p:spTree>
    <p:extLst>
      <p:ext uri="{BB962C8B-B14F-4D97-AF65-F5344CB8AC3E}">
        <p14:creationId xmlns:p14="http://schemas.microsoft.com/office/powerpoint/2010/main" val="336697156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7584" y="250293"/>
            <a:ext cx="6644541" cy="994172"/>
          </a:xfrm>
        </p:spPr>
        <p:txBody>
          <a:bodyPr vert="horz" lIns="91440" tIns="45720" rIns="91440" bIns="45720" rtlCol="0" anchor="ctr">
            <a:noAutofit/>
          </a:bodyPr>
          <a:lstStyle/>
          <a:p>
            <a:r>
              <a:rPr lang="en-US" sz="3600" cap="all" dirty="0" smtClean="0">
                <a:solidFill>
                  <a:srgbClr val="000000"/>
                </a:solidFill>
                <a:latin typeface="+mn-lt"/>
                <a:cs typeface="Arial" panose="020B0604020202020204" pitchFamily="34" charset="0"/>
              </a:rPr>
              <a:t>Stochastic Profit Frontier</a:t>
            </a:r>
            <a:endParaRPr lang="en-US" sz="3600" cap="all" dirty="0">
              <a:solidFill>
                <a:srgbClr val="000000"/>
              </a:solidFill>
              <a:latin typeface="+mn-lt"/>
              <a:cs typeface="Arial" panose="020B0604020202020204" pitchFamily="34" charset="0"/>
            </a:endParaRPr>
          </a:p>
        </p:txBody>
      </p:sp>
      <p:pic>
        <p:nvPicPr>
          <p:cNvPr id="4" name="Picture 3"/>
          <p:cNvPicPr>
            <a:picLocks noChangeAspect="1"/>
          </p:cNvPicPr>
          <p:nvPr/>
        </p:nvPicPr>
        <p:blipFill>
          <a:blip r:embed="rId3" cstate="print"/>
          <a:stretch>
            <a:fillRect/>
          </a:stretch>
        </p:blipFill>
        <p:spPr>
          <a:xfrm>
            <a:off x="1763753" y="1642922"/>
            <a:ext cx="6048672" cy="4787092"/>
          </a:xfrm>
          <a:prstGeom prst="rect">
            <a:avLst/>
          </a:prstGeom>
        </p:spPr>
      </p:pic>
      <p:cxnSp>
        <p:nvCxnSpPr>
          <p:cNvPr id="6" name="Straight Arrow Connector 5"/>
          <p:cNvCxnSpPr>
            <a:cxnSpLocks noChangeShapeType="1"/>
          </p:cNvCxnSpPr>
          <p:nvPr/>
        </p:nvCxnSpPr>
        <p:spPr bwMode="auto">
          <a:xfrm flipV="1">
            <a:off x="3464054" y="4467693"/>
            <a:ext cx="685800" cy="514350"/>
          </a:xfrm>
          <a:prstGeom prst="straightConnector1">
            <a:avLst/>
          </a:prstGeom>
          <a:noFill/>
          <a:ln w="63500" algn="ctr">
            <a:solidFill>
              <a:srgbClr val="FF0000"/>
            </a:solidFill>
            <a:round/>
            <a:headEnd/>
            <a:tailEnd type="arrow" w="med" len="med"/>
          </a:ln>
        </p:spPr>
      </p:cxnSp>
      <p:sp>
        <p:nvSpPr>
          <p:cNvPr id="7" name="TextBox 6"/>
          <p:cNvSpPr txBox="1"/>
          <p:nvPr/>
        </p:nvSpPr>
        <p:spPr>
          <a:xfrm>
            <a:off x="2990091" y="4982043"/>
            <a:ext cx="351992" cy="300082"/>
          </a:xfrm>
          <a:prstGeom prst="rect">
            <a:avLst/>
          </a:prstGeom>
          <a:noFill/>
        </p:spPr>
        <p:txBody>
          <a:bodyPr wrap="square" rtlCol="0">
            <a:spAutoFit/>
          </a:bodyPr>
          <a:lstStyle/>
          <a:p>
            <a:pPr fontAlgn="base">
              <a:spcBef>
                <a:spcPct val="0"/>
              </a:spcBef>
              <a:spcAft>
                <a:spcPct val="0"/>
              </a:spcAft>
            </a:pPr>
            <a:r>
              <a:rPr lang="en-US" sz="1350" b="1" dirty="0">
                <a:solidFill>
                  <a:srgbClr val="FF0000"/>
                </a:solidFill>
                <a:latin typeface="Arial" charset="0"/>
              </a:rPr>
              <a:t>C</a:t>
            </a:r>
          </a:p>
        </p:txBody>
      </p:sp>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3592" y="203534"/>
            <a:ext cx="525826" cy="830652"/>
          </a:xfrm>
          <a:prstGeom prst="rect">
            <a:avLst/>
          </a:prstGeom>
        </p:spPr>
      </p:pic>
      <p:sp>
        <p:nvSpPr>
          <p:cNvPr id="12" name="TextBox 11"/>
          <p:cNvSpPr txBox="1"/>
          <p:nvPr/>
        </p:nvSpPr>
        <p:spPr>
          <a:xfrm>
            <a:off x="1519811" y="1642922"/>
            <a:ext cx="2040118" cy="646331"/>
          </a:xfrm>
          <a:prstGeom prst="rect">
            <a:avLst/>
          </a:prstGeom>
          <a:solidFill>
            <a:schemeClr val="bg1"/>
          </a:solidFill>
        </p:spPr>
        <p:txBody>
          <a:bodyPr wrap="square" rtlCol="0">
            <a:spAutoFit/>
          </a:bodyPr>
          <a:lstStyle/>
          <a:p>
            <a:r>
              <a:rPr lang="en-US" dirty="0" smtClean="0"/>
              <a:t>Production of maize</a:t>
            </a:r>
            <a:endParaRPr lang="en-US" dirty="0"/>
          </a:p>
        </p:txBody>
      </p:sp>
      <p:sp>
        <p:nvSpPr>
          <p:cNvPr id="13" name="TextBox 12"/>
          <p:cNvSpPr txBox="1"/>
          <p:nvPr/>
        </p:nvSpPr>
        <p:spPr>
          <a:xfrm>
            <a:off x="6452066" y="5783683"/>
            <a:ext cx="2040118" cy="646331"/>
          </a:xfrm>
          <a:prstGeom prst="rect">
            <a:avLst/>
          </a:prstGeom>
          <a:solidFill>
            <a:schemeClr val="bg1"/>
          </a:solidFill>
        </p:spPr>
        <p:txBody>
          <a:bodyPr wrap="square" rtlCol="0">
            <a:spAutoFit/>
          </a:bodyPr>
          <a:lstStyle/>
          <a:p>
            <a:r>
              <a:rPr lang="en-US" dirty="0" smtClean="0"/>
              <a:t>Production of wheat</a:t>
            </a:r>
            <a:endParaRPr lang="en-US" dirty="0"/>
          </a:p>
        </p:txBody>
      </p:sp>
      <p:sp>
        <p:nvSpPr>
          <p:cNvPr id="22" name="Right Arrow 21"/>
          <p:cNvSpPr/>
          <p:nvPr/>
        </p:nvSpPr>
        <p:spPr>
          <a:xfrm rot="19320341">
            <a:off x="4510999" y="3671087"/>
            <a:ext cx="1007722" cy="516830"/>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p:cNvSpPr txBox="1"/>
          <p:nvPr/>
        </p:nvSpPr>
        <p:spPr>
          <a:xfrm>
            <a:off x="5411429" y="2954019"/>
            <a:ext cx="2040118" cy="923330"/>
          </a:xfrm>
          <a:prstGeom prst="rect">
            <a:avLst/>
          </a:prstGeom>
          <a:solidFill>
            <a:schemeClr val="bg1"/>
          </a:solidFill>
        </p:spPr>
        <p:txBody>
          <a:bodyPr wrap="square" rtlCol="0">
            <a:spAutoFit/>
          </a:bodyPr>
          <a:lstStyle/>
          <a:p>
            <a:r>
              <a:rPr lang="en-US" dirty="0" smtClean="0"/>
              <a:t>Frontier of possibilities of production</a:t>
            </a:r>
            <a:endParaRPr lang="en-US" dirty="0"/>
          </a:p>
        </p:txBody>
      </p:sp>
      <p:sp>
        <p:nvSpPr>
          <p:cNvPr id="23" name="TextBox 22"/>
          <p:cNvSpPr txBox="1"/>
          <p:nvPr/>
        </p:nvSpPr>
        <p:spPr>
          <a:xfrm>
            <a:off x="5473421" y="2729173"/>
            <a:ext cx="2040118" cy="1200329"/>
          </a:xfrm>
          <a:prstGeom prst="rect">
            <a:avLst/>
          </a:prstGeom>
          <a:solidFill>
            <a:schemeClr val="bg1"/>
          </a:solidFill>
        </p:spPr>
        <p:txBody>
          <a:bodyPr wrap="square" rtlCol="0">
            <a:spAutoFit/>
          </a:bodyPr>
          <a:lstStyle/>
          <a:p>
            <a:r>
              <a:rPr lang="en-US" dirty="0" smtClean="0"/>
              <a:t>Frontier of possibilities of production increases</a:t>
            </a:r>
            <a:endParaRPr lang="en-US" dirty="0"/>
          </a:p>
        </p:txBody>
      </p:sp>
    </p:spTree>
    <p:extLst>
      <p:ext uri="{BB962C8B-B14F-4D97-AF65-F5344CB8AC3E}">
        <p14:creationId xmlns:p14="http://schemas.microsoft.com/office/powerpoint/2010/main" val="38481440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linds(horizontal)">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1" nodeType="clickEffect">
                                  <p:stCondLst>
                                    <p:cond delay="0"/>
                                  </p:stCondLst>
                                  <p:childTnLst>
                                    <p:set>
                                      <p:cBhvr>
                                        <p:cTn id="11" dur="1" fill="hold">
                                          <p:stCondLst>
                                            <p:cond delay="0"/>
                                          </p:stCondLst>
                                        </p:cTn>
                                        <p:tgtEl>
                                          <p:spTgt spid="22"/>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1" animBg="1"/>
      <p:bldP spid="2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3D4246"/>
        </a:solidFill>
        <a:effectLst/>
      </p:bgPr>
    </p:bg>
    <p:spTree>
      <p:nvGrpSpPr>
        <p:cNvPr id="1" name=""/>
        <p:cNvGrpSpPr/>
        <p:nvPr/>
      </p:nvGrpSpPr>
      <p:grpSpPr>
        <a:xfrm>
          <a:off x="0" y="0"/>
          <a:ext cx="0" cy="0"/>
          <a:chOff x="0" y="0"/>
          <a:chExt cx="0" cy="0"/>
        </a:xfrm>
      </p:grpSpPr>
      <p:sp>
        <p:nvSpPr>
          <p:cNvPr id="3" name="Shape 415"/>
          <p:cNvSpPr/>
          <p:nvPr/>
        </p:nvSpPr>
        <p:spPr>
          <a:xfrm>
            <a:off x="1144485" y="2138338"/>
            <a:ext cx="6855029" cy="2751522"/>
          </a:xfrm>
          <a:prstGeom prst="rect">
            <a:avLst/>
          </a:prstGeom>
          <a:ln w="12700">
            <a:miter lim="400000"/>
          </a:ln>
          <a:extLst>
            <a:ext uri="{C572A759-6A51-4108-AA02-DFA0A04FC94B}">
              <ma14:wrappingTextBoxFlag xmlns="" xmlns:ma14="http://schemas.microsoft.com/office/mac/drawingml/2011/main" val="1"/>
            </a:ext>
          </a:extLst>
        </p:spPr>
        <p:txBody>
          <a:bodyPr wrap="square" lIns="21336" tIns="21336" rIns="21336" bIns="21336" anchor="ctr">
            <a:spAutoFit/>
          </a:bodyPr>
          <a:lstStyle/>
          <a:p>
            <a:pPr algn="ctr">
              <a:defRPr sz="1800"/>
            </a:pPr>
            <a:r>
              <a:rPr lang="en-US" sz="4400" b="1" u="sng" dirty="0" smtClean="0">
                <a:solidFill>
                  <a:srgbClr val="CCFF66"/>
                </a:solidFill>
                <a:latin typeface="BebasNeueBold" pitchFamily="34" charset="0"/>
                <a:ea typeface="BebasNeueRegular"/>
                <a:cs typeface="BebasNeueRegular"/>
                <a:sym typeface="BebasNeueRegular"/>
              </a:rPr>
              <a:t>Challenge 2</a:t>
            </a:r>
            <a:r>
              <a:rPr lang="en-US" sz="4400" dirty="0" smtClean="0">
                <a:solidFill>
                  <a:srgbClr val="CCFF66"/>
                </a:solidFill>
                <a:latin typeface="BebasNeueBold" pitchFamily="34" charset="0"/>
                <a:ea typeface="BebasNeueRegular"/>
                <a:cs typeface="BebasNeueRegular"/>
                <a:sym typeface="BebasNeueRegular"/>
              </a:rPr>
              <a:t>: We need to be resilient to climate change and weather shocks</a:t>
            </a:r>
            <a:endParaRPr lang="en-US" sz="4400" dirty="0">
              <a:solidFill>
                <a:srgbClr val="CCFF66"/>
              </a:solidFill>
              <a:latin typeface="BebasNeueBold" pitchFamily="34" charset="0"/>
              <a:ea typeface="BebasNeueRegular"/>
              <a:cs typeface="BebasNeueRegular"/>
              <a:sym typeface="BebasNeueRegular"/>
            </a:endParaRPr>
          </a:p>
        </p:txBody>
      </p:sp>
      <p:sp>
        <p:nvSpPr>
          <p:cNvPr id="4" name="Shape 416"/>
          <p:cNvSpPr/>
          <p:nvPr/>
        </p:nvSpPr>
        <p:spPr>
          <a:xfrm>
            <a:off x="-3163" y="6706515"/>
            <a:ext cx="1843178" cy="158751"/>
          </a:xfrm>
          <a:prstGeom prst="rect">
            <a:avLst/>
          </a:prstGeom>
          <a:solidFill>
            <a:schemeClr val="accent1"/>
          </a:solidFill>
          <a:ln w="12700">
            <a:miter lim="400000"/>
          </a:ln>
        </p:spPr>
        <p:txBody>
          <a:bodyPr lIns="0" tIns="0" rIns="0" bIns="0" anchor="ctr"/>
          <a:lstStyle/>
          <a:p>
            <a:pPr>
              <a:defRPr sz="3200"/>
            </a:pPr>
            <a:endParaRPr sz="3200">
              <a:solidFill>
                <a:prstClr val="black"/>
              </a:solidFill>
            </a:endParaRPr>
          </a:p>
        </p:txBody>
      </p:sp>
      <p:sp>
        <p:nvSpPr>
          <p:cNvPr id="5" name="Shape 417"/>
          <p:cNvSpPr/>
          <p:nvPr/>
        </p:nvSpPr>
        <p:spPr>
          <a:xfrm>
            <a:off x="1818592" y="6706515"/>
            <a:ext cx="1843177" cy="158751"/>
          </a:xfrm>
          <a:prstGeom prst="rect">
            <a:avLst/>
          </a:prstGeom>
          <a:solidFill>
            <a:schemeClr val="accent2"/>
          </a:solidFill>
          <a:ln w="12700">
            <a:miter lim="400000"/>
          </a:ln>
        </p:spPr>
        <p:txBody>
          <a:bodyPr lIns="0" tIns="0" rIns="0" bIns="0" anchor="ctr"/>
          <a:lstStyle/>
          <a:p>
            <a:pPr>
              <a:defRPr sz="3200"/>
            </a:pPr>
            <a:endParaRPr sz="3200">
              <a:solidFill>
                <a:prstClr val="black"/>
              </a:solidFill>
            </a:endParaRPr>
          </a:p>
        </p:txBody>
      </p:sp>
      <p:sp>
        <p:nvSpPr>
          <p:cNvPr id="6" name="Shape 418"/>
          <p:cNvSpPr/>
          <p:nvPr/>
        </p:nvSpPr>
        <p:spPr>
          <a:xfrm>
            <a:off x="3650412" y="6706515"/>
            <a:ext cx="1843177" cy="158751"/>
          </a:xfrm>
          <a:prstGeom prst="rect">
            <a:avLst/>
          </a:prstGeom>
          <a:solidFill>
            <a:schemeClr val="accent3"/>
          </a:solidFill>
          <a:ln w="12700">
            <a:miter lim="400000"/>
          </a:ln>
        </p:spPr>
        <p:txBody>
          <a:bodyPr lIns="0" tIns="0" rIns="0" bIns="0" anchor="ctr"/>
          <a:lstStyle/>
          <a:p>
            <a:pPr>
              <a:defRPr sz="3200"/>
            </a:pPr>
            <a:endParaRPr sz="3200">
              <a:solidFill>
                <a:prstClr val="black"/>
              </a:solidFill>
            </a:endParaRPr>
          </a:p>
        </p:txBody>
      </p:sp>
      <p:sp>
        <p:nvSpPr>
          <p:cNvPr id="7" name="Shape 419"/>
          <p:cNvSpPr/>
          <p:nvPr/>
        </p:nvSpPr>
        <p:spPr>
          <a:xfrm>
            <a:off x="5482231" y="6706515"/>
            <a:ext cx="1843178" cy="158751"/>
          </a:xfrm>
          <a:prstGeom prst="rect">
            <a:avLst/>
          </a:prstGeom>
          <a:solidFill>
            <a:schemeClr val="accent4"/>
          </a:solidFill>
          <a:ln w="12700">
            <a:miter lim="400000"/>
          </a:ln>
        </p:spPr>
        <p:txBody>
          <a:bodyPr lIns="0" tIns="0" rIns="0" bIns="0" anchor="ctr"/>
          <a:lstStyle/>
          <a:p>
            <a:pPr>
              <a:defRPr sz="3200"/>
            </a:pPr>
            <a:endParaRPr sz="3200">
              <a:solidFill>
                <a:prstClr val="black"/>
              </a:solidFill>
            </a:endParaRPr>
          </a:p>
        </p:txBody>
      </p:sp>
      <p:sp>
        <p:nvSpPr>
          <p:cNvPr id="8" name="Shape 420"/>
          <p:cNvSpPr/>
          <p:nvPr/>
        </p:nvSpPr>
        <p:spPr>
          <a:xfrm>
            <a:off x="7303985" y="6706515"/>
            <a:ext cx="1843177" cy="158751"/>
          </a:xfrm>
          <a:prstGeom prst="rect">
            <a:avLst/>
          </a:prstGeom>
          <a:solidFill>
            <a:schemeClr val="accent5"/>
          </a:solidFill>
          <a:ln w="12700">
            <a:miter lim="400000"/>
          </a:ln>
        </p:spPr>
        <p:txBody>
          <a:bodyPr lIns="0" tIns="0" rIns="0" bIns="0" anchor="ctr"/>
          <a:lstStyle/>
          <a:p>
            <a:pPr>
              <a:defRPr sz="3200"/>
            </a:pPr>
            <a:endParaRPr sz="3200">
              <a:solidFill>
                <a:prstClr val="black"/>
              </a:solidFill>
            </a:endParaRPr>
          </a:p>
        </p:txBody>
      </p:sp>
      <p:grpSp>
        <p:nvGrpSpPr>
          <p:cNvPr id="10" name="Group 431"/>
          <p:cNvGrpSpPr/>
          <p:nvPr/>
        </p:nvGrpSpPr>
        <p:grpSpPr>
          <a:xfrm>
            <a:off x="4076078" y="18924"/>
            <a:ext cx="1437253" cy="1767776"/>
            <a:chOff x="378732" y="0"/>
            <a:chExt cx="2879540" cy="3535550"/>
          </a:xfrm>
        </p:grpSpPr>
        <p:sp>
          <p:nvSpPr>
            <p:cNvPr id="11" name="Shape 422"/>
            <p:cNvSpPr/>
            <p:nvPr/>
          </p:nvSpPr>
          <p:spPr>
            <a:xfrm>
              <a:off x="378732" y="0"/>
              <a:ext cx="2047855" cy="3535550"/>
            </a:xfrm>
            <a:custGeom>
              <a:avLst/>
              <a:gdLst/>
              <a:ahLst/>
              <a:cxnLst>
                <a:cxn ang="0">
                  <a:pos x="wd2" y="hd2"/>
                </a:cxn>
                <a:cxn ang="5400000">
                  <a:pos x="wd2" y="hd2"/>
                </a:cxn>
                <a:cxn ang="10800000">
                  <a:pos x="wd2" y="hd2"/>
                </a:cxn>
                <a:cxn ang="16200000">
                  <a:pos x="wd2" y="hd2"/>
                </a:cxn>
              </a:cxnLst>
              <a:rect l="0" t="0" r="r" b="b"/>
              <a:pathLst>
                <a:path w="21600" h="21600" extrusionOk="0">
                  <a:moveTo>
                    <a:pt x="10785" y="16866"/>
                  </a:moveTo>
                  <a:lnTo>
                    <a:pt x="0" y="21600"/>
                  </a:lnTo>
                  <a:lnTo>
                    <a:pt x="0" y="0"/>
                  </a:lnTo>
                  <a:lnTo>
                    <a:pt x="21600" y="0"/>
                  </a:lnTo>
                  <a:lnTo>
                    <a:pt x="21600" y="21589"/>
                  </a:lnTo>
                  <a:lnTo>
                    <a:pt x="10785" y="16866"/>
                  </a:lnTo>
                  <a:close/>
                </a:path>
              </a:pathLst>
            </a:custGeom>
            <a:solidFill>
              <a:srgbClr val="FFFFFF"/>
            </a:solidFill>
            <a:ln w="12700" cap="flat">
              <a:noFill/>
              <a:miter lim="400000"/>
            </a:ln>
            <a:effectLst/>
          </p:spPr>
          <p:txBody>
            <a:bodyPr wrap="square" lIns="0" tIns="0" rIns="0" bIns="0" numCol="1" anchor="ctr">
              <a:noAutofit/>
            </a:bodyPr>
            <a:lstStyle/>
            <a:p>
              <a:pPr>
                <a:defRPr sz="3200"/>
              </a:pPr>
              <a:endParaRPr sz="3200">
                <a:solidFill>
                  <a:prstClr val="black"/>
                </a:solidFill>
              </a:endParaRPr>
            </a:p>
          </p:txBody>
        </p:sp>
        <p:sp>
          <p:nvSpPr>
            <p:cNvPr id="13" name="Shape 424"/>
            <p:cNvSpPr/>
            <p:nvPr/>
          </p:nvSpPr>
          <p:spPr>
            <a:xfrm>
              <a:off x="513648" y="1544187"/>
              <a:ext cx="2744624" cy="44717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spAutoFit/>
            </a:bodyPr>
            <a:lstStyle>
              <a:lvl1pPr>
                <a:lnSpc>
                  <a:spcPct val="70000"/>
                </a:lnSpc>
                <a:defRPr sz="2500">
                  <a:solidFill>
                    <a:srgbClr val="212830"/>
                  </a:solidFill>
                  <a:latin typeface="Roboto Regular"/>
                  <a:ea typeface="Roboto Regular"/>
                  <a:cs typeface="Roboto Regular"/>
                  <a:sym typeface="Roboto Regular"/>
                </a:defRPr>
              </a:lvl1pPr>
            </a:lstStyle>
            <a:p>
              <a:pPr>
                <a:defRPr sz="1800">
                  <a:solidFill>
                    <a:srgbClr val="000000"/>
                  </a:solidFill>
                </a:defRPr>
              </a:pPr>
              <a:endParaRPr sz="1100" dirty="0">
                <a:solidFill>
                  <a:srgbClr val="000000"/>
                </a:solidFill>
              </a:endParaRPr>
            </a:p>
          </p:txBody>
        </p:sp>
        <p:grpSp>
          <p:nvGrpSpPr>
            <p:cNvPr id="14" name="Group 430"/>
            <p:cNvGrpSpPr/>
            <p:nvPr/>
          </p:nvGrpSpPr>
          <p:grpSpPr>
            <a:xfrm>
              <a:off x="861128" y="629033"/>
              <a:ext cx="1106116" cy="162566"/>
              <a:chOff x="0" y="0"/>
              <a:chExt cx="1106114" cy="162564"/>
            </a:xfrm>
          </p:grpSpPr>
          <p:sp>
            <p:nvSpPr>
              <p:cNvPr id="15" name="Shape 425"/>
              <p:cNvSpPr/>
              <p:nvPr/>
            </p:nvSpPr>
            <p:spPr>
              <a:xfrm>
                <a:off x="0" y="0"/>
                <a:ext cx="162565" cy="16256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1"/>
              </a:solidFill>
              <a:ln w="12700" cap="flat">
                <a:noFill/>
                <a:miter lim="400000"/>
              </a:ln>
              <a:effectLst/>
            </p:spPr>
            <p:txBody>
              <a:bodyPr wrap="square" lIns="0" tIns="0" rIns="0" bIns="0" numCol="1" anchor="ctr">
                <a:noAutofit/>
              </a:bodyPr>
              <a:lstStyle/>
              <a:p>
                <a:pPr>
                  <a:defRPr sz="3200"/>
                </a:pPr>
                <a:endParaRPr sz="3200">
                  <a:solidFill>
                    <a:prstClr val="black"/>
                  </a:solidFill>
                </a:endParaRPr>
              </a:p>
            </p:txBody>
          </p:sp>
          <p:sp>
            <p:nvSpPr>
              <p:cNvPr id="16" name="Shape 426"/>
              <p:cNvSpPr/>
              <p:nvPr/>
            </p:nvSpPr>
            <p:spPr>
              <a:xfrm>
                <a:off x="235887" y="0"/>
                <a:ext cx="162566" cy="16256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2"/>
              </a:solidFill>
              <a:ln w="12700" cap="flat">
                <a:noFill/>
                <a:miter lim="400000"/>
              </a:ln>
              <a:effectLst/>
            </p:spPr>
            <p:txBody>
              <a:bodyPr wrap="square" lIns="0" tIns="0" rIns="0" bIns="0" numCol="1" anchor="ctr">
                <a:noAutofit/>
              </a:bodyPr>
              <a:lstStyle/>
              <a:p>
                <a:pPr>
                  <a:defRPr sz="3200"/>
                </a:pPr>
                <a:endParaRPr sz="3200">
                  <a:solidFill>
                    <a:prstClr val="black"/>
                  </a:solidFill>
                </a:endParaRPr>
              </a:p>
            </p:txBody>
          </p:sp>
          <p:sp>
            <p:nvSpPr>
              <p:cNvPr id="17" name="Shape 427"/>
              <p:cNvSpPr/>
              <p:nvPr/>
            </p:nvSpPr>
            <p:spPr>
              <a:xfrm>
                <a:off x="471775" y="0"/>
                <a:ext cx="162565" cy="16256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3"/>
              </a:solidFill>
              <a:ln w="12700" cap="flat">
                <a:noFill/>
                <a:miter lim="400000"/>
              </a:ln>
              <a:effectLst/>
            </p:spPr>
            <p:txBody>
              <a:bodyPr wrap="square" lIns="0" tIns="0" rIns="0" bIns="0" numCol="1" anchor="ctr">
                <a:noAutofit/>
              </a:bodyPr>
              <a:lstStyle/>
              <a:p>
                <a:pPr>
                  <a:defRPr sz="3200"/>
                </a:pPr>
                <a:endParaRPr sz="3200">
                  <a:solidFill>
                    <a:prstClr val="black"/>
                  </a:solidFill>
                </a:endParaRPr>
              </a:p>
            </p:txBody>
          </p:sp>
          <p:sp>
            <p:nvSpPr>
              <p:cNvPr id="18" name="Shape 428"/>
              <p:cNvSpPr/>
              <p:nvPr/>
            </p:nvSpPr>
            <p:spPr>
              <a:xfrm>
                <a:off x="707662" y="0"/>
                <a:ext cx="162566" cy="16256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4"/>
              </a:solidFill>
              <a:ln w="12700" cap="flat">
                <a:noFill/>
                <a:miter lim="400000"/>
              </a:ln>
              <a:effectLst/>
            </p:spPr>
            <p:txBody>
              <a:bodyPr wrap="square" lIns="0" tIns="0" rIns="0" bIns="0" numCol="1" anchor="ctr">
                <a:noAutofit/>
              </a:bodyPr>
              <a:lstStyle/>
              <a:p>
                <a:pPr>
                  <a:defRPr sz="3200"/>
                </a:pPr>
                <a:endParaRPr sz="3200">
                  <a:solidFill>
                    <a:prstClr val="black"/>
                  </a:solidFill>
                </a:endParaRPr>
              </a:p>
            </p:txBody>
          </p:sp>
          <p:sp>
            <p:nvSpPr>
              <p:cNvPr id="19" name="Shape 429"/>
              <p:cNvSpPr/>
              <p:nvPr/>
            </p:nvSpPr>
            <p:spPr>
              <a:xfrm>
                <a:off x="943550" y="0"/>
                <a:ext cx="162565" cy="16256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5"/>
              </a:solidFill>
              <a:ln w="12700" cap="flat">
                <a:noFill/>
                <a:miter lim="400000"/>
              </a:ln>
              <a:effectLst/>
            </p:spPr>
            <p:txBody>
              <a:bodyPr wrap="square" lIns="0" tIns="0" rIns="0" bIns="0" numCol="1" anchor="ctr">
                <a:noAutofit/>
              </a:bodyPr>
              <a:lstStyle/>
              <a:p>
                <a:pPr>
                  <a:defRPr sz="3200"/>
                </a:pPr>
                <a:endParaRPr sz="3200">
                  <a:solidFill>
                    <a:prstClr val="black"/>
                  </a:solidFill>
                </a:endParaRPr>
              </a:p>
            </p:txBody>
          </p:sp>
        </p:grpSp>
      </p:grpSp>
    </p:spTree>
    <p:extLst>
      <p:ext uri="{BB962C8B-B14F-4D97-AF65-F5344CB8AC3E}">
        <p14:creationId xmlns:p14="http://schemas.microsoft.com/office/powerpoint/2010/main" val="273949831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iterate>
                                    <p:tmAbs val="0"/>
                                  </p:iterate>
                                  <p:childTnLst>
                                    <p:set>
                                      <p:cBhvr>
                                        <p:cTn id="6" fill="hold"/>
                                        <p:tgtEl>
                                          <p:spTgt spid="10"/>
                                        </p:tgtEl>
                                        <p:attrNameLst>
                                          <p:attrName>style.visibility</p:attrName>
                                        </p:attrNameLst>
                                      </p:cBhvr>
                                      <p:to>
                                        <p:strVal val="visible"/>
                                      </p:to>
                                    </p:set>
                                    <p:anim calcmode="lin" valueType="num">
                                      <p:cBhvr>
                                        <p:cTn id="7" dur="1000" fill="hold"/>
                                        <p:tgtEl>
                                          <p:spTgt spid="10"/>
                                        </p:tgtEl>
                                        <p:attrNameLst>
                                          <p:attrName>ppt_x</p:attrName>
                                        </p:attrNameLst>
                                      </p:cBhvr>
                                      <p:tavLst>
                                        <p:tav tm="0">
                                          <p:val>
                                            <p:strVal val="#ppt_x"/>
                                          </p:val>
                                        </p:tav>
                                        <p:tav tm="100000">
                                          <p:val>
                                            <p:strVal val="#ppt_x"/>
                                          </p:val>
                                        </p:tav>
                                      </p:tavLst>
                                    </p:anim>
                                    <p:anim calcmode="lin" valueType="num">
                                      <p:cBhvr>
                                        <p:cTn id="8" dur="1000" fill="hold"/>
                                        <p:tgtEl>
                                          <p:spTgt spid="10"/>
                                        </p:tgtEl>
                                        <p:attrNameLst>
                                          <p:attrName>ppt_y</p:attrName>
                                        </p:attrNameLst>
                                      </p:cBhvr>
                                      <p:tavLst>
                                        <p:tav tm="0">
                                          <p:val>
                                            <p:strVal val="0-#ppt_h/2"/>
                                          </p:val>
                                        </p:tav>
                                        <p:tav tm="100000">
                                          <p:val>
                                            <p:strVal val="#ppt_y"/>
                                          </p:val>
                                        </p:tav>
                                      </p:tavLst>
                                    </p:anim>
                                  </p:childTnLst>
                                </p:cTn>
                              </p:par>
                            </p:childTnLst>
                          </p:cTn>
                        </p:par>
                        <p:par>
                          <p:cTn id="9" fill="hold">
                            <p:stCondLst>
                              <p:cond delay="1000"/>
                            </p:stCondLst>
                            <p:childTnLst>
                              <p:par>
                                <p:cTn id="10" presetID="2" presetClass="entr" presetSubtype="8" fill="hold" grpId="0" nodeType="after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additive="base">
                                        <p:cTn id="12" dur="500" fill="hold"/>
                                        <p:tgtEl>
                                          <p:spTgt spid="3"/>
                                        </p:tgtEl>
                                        <p:attrNameLst>
                                          <p:attrName>ppt_x</p:attrName>
                                        </p:attrNameLst>
                                      </p:cBhvr>
                                      <p:tavLst>
                                        <p:tav tm="0">
                                          <p:val>
                                            <p:strVal val="0-#ppt_w/2"/>
                                          </p:val>
                                        </p:tav>
                                        <p:tav tm="100000">
                                          <p:val>
                                            <p:strVal val="#ppt_x"/>
                                          </p:val>
                                        </p:tav>
                                      </p:tavLst>
                                    </p:anim>
                                    <p:anim calcmode="lin" valueType="num">
                                      <p:cBhvr additive="base">
                                        <p:cTn id="13" dur="500" fill="hold"/>
                                        <p:tgtEl>
                                          <p:spTgt spid="3"/>
                                        </p:tgtEl>
                                        <p:attrNameLst>
                                          <p:attrName>ppt_y</p:attrName>
                                        </p:attrNameLst>
                                      </p:cBhvr>
                                      <p:tavLst>
                                        <p:tav tm="0">
                                          <p:val>
                                            <p:strVal val="#ppt_y"/>
                                          </p:val>
                                        </p:tav>
                                        <p:tav tm="100000">
                                          <p:val>
                                            <p:strVal val="#ppt_y"/>
                                          </p:val>
                                        </p:tav>
                                      </p:tavLst>
                                    </p:anim>
                                  </p:childTnLst>
                                </p:cTn>
                              </p:par>
                            </p:childTnLst>
                          </p:cTn>
                        </p:par>
                        <p:par>
                          <p:cTn id="14" fill="hold">
                            <p:stCondLst>
                              <p:cond delay="1500"/>
                            </p:stCondLst>
                            <p:childTnLst>
                              <p:par>
                                <p:cTn id="15" presetID="2" presetClass="entr" presetSubtype="8" fill="hold" grpId="0" nodeType="afterEffect">
                                  <p:stCondLst>
                                    <p:cond delay="0"/>
                                  </p:stCondLst>
                                  <p:iterate>
                                    <p:tmAbs val="0"/>
                                  </p:iterate>
                                  <p:childTnLst>
                                    <p:set>
                                      <p:cBhvr>
                                        <p:cTn id="16" fill="hold"/>
                                        <p:tgtEl>
                                          <p:spTgt spid="8"/>
                                        </p:tgtEl>
                                        <p:attrNameLst>
                                          <p:attrName>style.visibility</p:attrName>
                                        </p:attrNameLst>
                                      </p:cBhvr>
                                      <p:to>
                                        <p:strVal val="visible"/>
                                      </p:to>
                                    </p:set>
                                    <p:anim calcmode="lin" valueType="num">
                                      <p:cBhvr>
                                        <p:cTn id="17" dur="350" fill="hold"/>
                                        <p:tgtEl>
                                          <p:spTgt spid="8"/>
                                        </p:tgtEl>
                                        <p:attrNameLst>
                                          <p:attrName>ppt_x</p:attrName>
                                        </p:attrNameLst>
                                      </p:cBhvr>
                                      <p:tavLst>
                                        <p:tav tm="0">
                                          <p:val>
                                            <p:strVal val="0-#ppt_w/2"/>
                                          </p:val>
                                        </p:tav>
                                        <p:tav tm="100000">
                                          <p:val>
                                            <p:strVal val="#ppt_x"/>
                                          </p:val>
                                        </p:tav>
                                      </p:tavLst>
                                    </p:anim>
                                    <p:anim calcmode="lin" valueType="num">
                                      <p:cBhvr>
                                        <p:cTn id="18" dur="350" fill="hold"/>
                                        <p:tgtEl>
                                          <p:spTgt spid="8"/>
                                        </p:tgtEl>
                                        <p:attrNameLst>
                                          <p:attrName>ppt_y</p:attrName>
                                        </p:attrNameLst>
                                      </p:cBhvr>
                                      <p:tavLst>
                                        <p:tav tm="0">
                                          <p:val>
                                            <p:strVal val="#ppt_y"/>
                                          </p:val>
                                        </p:tav>
                                        <p:tav tm="100000">
                                          <p:val>
                                            <p:strVal val="#ppt_y"/>
                                          </p:val>
                                        </p:tav>
                                      </p:tavLst>
                                    </p:anim>
                                  </p:childTnLst>
                                </p:cTn>
                              </p:par>
                            </p:childTnLst>
                          </p:cTn>
                        </p:par>
                        <p:par>
                          <p:cTn id="19" fill="hold">
                            <p:stCondLst>
                              <p:cond delay="1850"/>
                            </p:stCondLst>
                            <p:childTnLst>
                              <p:par>
                                <p:cTn id="20" presetID="2" presetClass="entr" presetSubtype="8" fill="hold" grpId="0" nodeType="afterEffect">
                                  <p:stCondLst>
                                    <p:cond delay="0"/>
                                  </p:stCondLst>
                                  <p:iterate>
                                    <p:tmAbs val="0"/>
                                  </p:iterate>
                                  <p:childTnLst>
                                    <p:set>
                                      <p:cBhvr>
                                        <p:cTn id="21" fill="hold"/>
                                        <p:tgtEl>
                                          <p:spTgt spid="7"/>
                                        </p:tgtEl>
                                        <p:attrNameLst>
                                          <p:attrName>style.visibility</p:attrName>
                                        </p:attrNameLst>
                                      </p:cBhvr>
                                      <p:to>
                                        <p:strVal val="visible"/>
                                      </p:to>
                                    </p:set>
                                    <p:anim calcmode="lin" valueType="num">
                                      <p:cBhvr>
                                        <p:cTn id="22" dur="350" fill="hold"/>
                                        <p:tgtEl>
                                          <p:spTgt spid="7"/>
                                        </p:tgtEl>
                                        <p:attrNameLst>
                                          <p:attrName>ppt_x</p:attrName>
                                        </p:attrNameLst>
                                      </p:cBhvr>
                                      <p:tavLst>
                                        <p:tav tm="0">
                                          <p:val>
                                            <p:strVal val="0-#ppt_w/2"/>
                                          </p:val>
                                        </p:tav>
                                        <p:tav tm="100000">
                                          <p:val>
                                            <p:strVal val="#ppt_x"/>
                                          </p:val>
                                        </p:tav>
                                      </p:tavLst>
                                    </p:anim>
                                    <p:anim calcmode="lin" valueType="num">
                                      <p:cBhvr>
                                        <p:cTn id="23" dur="350" fill="hold"/>
                                        <p:tgtEl>
                                          <p:spTgt spid="7"/>
                                        </p:tgtEl>
                                        <p:attrNameLst>
                                          <p:attrName>ppt_y</p:attrName>
                                        </p:attrNameLst>
                                      </p:cBhvr>
                                      <p:tavLst>
                                        <p:tav tm="0">
                                          <p:val>
                                            <p:strVal val="#ppt_y"/>
                                          </p:val>
                                        </p:tav>
                                        <p:tav tm="100000">
                                          <p:val>
                                            <p:strVal val="#ppt_y"/>
                                          </p:val>
                                        </p:tav>
                                      </p:tavLst>
                                    </p:anim>
                                  </p:childTnLst>
                                </p:cTn>
                              </p:par>
                            </p:childTnLst>
                          </p:cTn>
                        </p:par>
                        <p:par>
                          <p:cTn id="24" fill="hold">
                            <p:stCondLst>
                              <p:cond delay="2200"/>
                            </p:stCondLst>
                            <p:childTnLst>
                              <p:par>
                                <p:cTn id="25" presetID="2" presetClass="entr" presetSubtype="8" fill="hold" grpId="0" nodeType="afterEffect">
                                  <p:stCondLst>
                                    <p:cond delay="0"/>
                                  </p:stCondLst>
                                  <p:iterate>
                                    <p:tmAbs val="0"/>
                                  </p:iterate>
                                  <p:childTnLst>
                                    <p:set>
                                      <p:cBhvr>
                                        <p:cTn id="26" fill="hold"/>
                                        <p:tgtEl>
                                          <p:spTgt spid="6"/>
                                        </p:tgtEl>
                                        <p:attrNameLst>
                                          <p:attrName>style.visibility</p:attrName>
                                        </p:attrNameLst>
                                      </p:cBhvr>
                                      <p:to>
                                        <p:strVal val="visible"/>
                                      </p:to>
                                    </p:set>
                                    <p:anim calcmode="lin" valueType="num">
                                      <p:cBhvr>
                                        <p:cTn id="27" dur="350" fill="hold"/>
                                        <p:tgtEl>
                                          <p:spTgt spid="6"/>
                                        </p:tgtEl>
                                        <p:attrNameLst>
                                          <p:attrName>ppt_x</p:attrName>
                                        </p:attrNameLst>
                                      </p:cBhvr>
                                      <p:tavLst>
                                        <p:tav tm="0">
                                          <p:val>
                                            <p:strVal val="0-#ppt_w/2"/>
                                          </p:val>
                                        </p:tav>
                                        <p:tav tm="100000">
                                          <p:val>
                                            <p:strVal val="#ppt_x"/>
                                          </p:val>
                                        </p:tav>
                                      </p:tavLst>
                                    </p:anim>
                                    <p:anim calcmode="lin" valueType="num">
                                      <p:cBhvr>
                                        <p:cTn id="28" dur="350" fill="hold"/>
                                        <p:tgtEl>
                                          <p:spTgt spid="6"/>
                                        </p:tgtEl>
                                        <p:attrNameLst>
                                          <p:attrName>ppt_y</p:attrName>
                                        </p:attrNameLst>
                                      </p:cBhvr>
                                      <p:tavLst>
                                        <p:tav tm="0">
                                          <p:val>
                                            <p:strVal val="#ppt_y"/>
                                          </p:val>
                                        </p:tav>
                                        <p:tav tm="100000">
                                          <p:val>
                                            <p:strVal val="#ppt_y"/>
                                          </p:val>
                                        </p:tav>
                                      </p:tavLst>
                                    </p:anim>
                                  </p:childTnLst>
                                </p:cTn>
                              </p:par>
                            </p:childTnLst>
                          </p:cTn>
                        </p:par>
                        <p:par>
                          <p:cTn id="29" fill="hold">
                            <p:stCondLst>
                              <p:cond delay="2550"/>
                            </p:stCondLst>
                            <p:childTnLst>
                              <p:par>
                                <p:cTn id="30" presetID="2" presetClass="entr" presetSubtype="8" fill="hold" grpId="0" nodeType="afterEffect">
                                  <p:stCondLst>
                                    <p:cond delay="0"/>
                                  </p:stCondLst>
                                  <p:iterate>
                                    <p:tmAbs val="0"/>
                                  </p:iterate>
                                  <p:childTnLst>
                                    <p:set>
                                      <p:cBhvr>
                                        <p:cTn id="31" fill="hold"/>
                                        <p:tgtEl>
                                          <p:spTgt spid="5"/>
                                        </p:tgtEl>
                                        <p:attrNameLst>
                                          <p:attrName>style.visibility</p:attrName>
                                        </p:attrNameLst>
                                      </p:cBhvr>
                                      <p:to>
                                        <p:strVal val="visible"/>
                                      </p:to>
                                    </p:set>
                                    <p:anim calcmode="lin" valueType="num">
                                      <p:cBhvr>
                                        <p:cTn id="32" dur="350" fill="hold"/>
                                        <p:tgtEl>
                                          <p:spTgt spid="5"/>
                                        </p:tgtEl>
                                        <p:attrNameLst>
                                          <p:attrName>ppt_x</p:attrName>
                                        </p:attrNameLst>
                                      </p:cBhvr>
                                      <p:tavLst>
                                        <p:tav tm="0">
                                          <p:val>
                                            <p:strVal val="0-#ppt_w/2"/>
                                          </p:val>
                                        </p:tav>
                                        <p:tav tm="100000">
                                          <p:val>
                                            <p:strVal val="#ppt_x"/>
                                          </p:val>
                                        </p:tav>
                                      </p:tavLst>
                                    </p:anim>
                                    <p:anim calcmode="lin" valueType="num">
                                      <p:cBhvr>
                                        <p:cTn id="33" dur="350" fill="hold"/>
                                        <p:tgtEl>
                                          <p:spTgt spid="5"/>
                                        </p:tgtEl>
                                        <p:attrNameLst>
                                          <p:attrName>ppt_y</p:attrName>
                                        </p:attrNameLst>
                                      </p:cBhvr>
                                      <p:tavLst>
                                        <p:tav tm="0">
                                          <p:val>
                                            <p:strVal val="#ppt_y"/>
                                          </p:val>
                                        </p:tav>
                                        <p:tav tm="100000">
                                          <p:val>
                                            <p:strVal val="#ppt_y"/>
                                          </p:val>
                                        </p:tav>
                                      </p:tavLst>
                                    </p:anim>
                                  </p:childTnLst>
                                </p:cTn>
                              </p:par>
                            </p:childTnLst>
                          </p:cTn>
                        </p:par>
                        <p:par>
                          <p:cTn id="34" fill="hold">
                            <p:stCondLst>
                              <p:cond delay="2900"/>
                            </p:stCondLst>
                            <p:childTnLst>
                              <p:par>
                                <p:cTn id="35" presetID="2" presetClass="entr" presetSubtype="8" fill="hold" grpId="0" nodeType="afterEffect">
                                  <p:stCondLst>
                                    <p:cond delay="0"/>
                                  </p:stCondLst>
                                  <p:iterate>
                                    <p:tmAbs val="0"/>
                                  </p:iterate>
                                  <p:childTnLst>
                                    <p:set>
                                      <p:cBhvr>
                                        <p:cTn id="36" fill="hold"/>
                                        <p:tgtEl>
                                          <p:spTgt spid="4"/>
                                        </p:tgtEl>
                                        <p:attrNameLst>
                                          <p:attrName>style.visibility</p:attrName>
                                        </p:attrNameLst>
                                      </p:cBhvr>
                                      <p:to>
                                        <p:strVal val="visible"/>
                                      </p:to>
                                    </p:set>
                                    <p:anim calcmode="lin" valueType="num">
                                      <p:cBhvr>
                                        <p:cTn id="37" dur="350" fill="hold"/>
                                        <p:tgtEl>
                                          <p:spTgt spid="4"/>
                                        </p:tgtEl>
                                        <p:attrNameLst>
                                          <p:attrName>ppt_x</p:attrName>
                                        </p:attrNameLst>
                                      </p:cBhvr>
                                      <p:tavLst>
                                        <p:tav tm="0">
                                          <p:val>
                                            <p:strVal val="0-#ppt_w/2"/>
                                          </p:val>
                                        </p:tav>
                                        <p:tav tm="100000">
                                          <p:val>
                                            <p:strVal val="#ppt_x"/>
                                          </p:val>
                                        </p:tav>
                                      </p:tavLst>
                                    </p:anim>
                                    <p:anim calcmode="lin" valueType="num">
                                      <p:cBhvr>
                                        <p:cTn id="38" dur="3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advAuto="0"/>
      <p:bldP spid="5" grpId="0" animBg="1" advAuto="0"/>
      <p:bldP spid="6" grpId="0" animBg="1" advAuto="0"/>
      <p:bldP spid="7" grpId="0" animBg="1" advAuto="0"/>
      <p:bldP spid="8" grpId="0" animBg="1" advAuto="0"/>
      <p:bldP spid="10" grpId="0" animBg="1" advAuto="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735689" y="6381328"/>
            <a:ext cx="4441087" cy="461665"/>
          </a:xfrm>
          <a:prstGeom prst="rect">
            <a:avLst/>
          </a:prstGeom>
        </p:spPr>
        <p:txBody>
          <a:bodyPr wrap="square">
            <a:spAutoFit/>
          </a:bodyPr>
          <a:lstStyle/>
          <a:p>
            <a:r>
              <a:rPr lang="en-US" sz="1200" dirty="0">
                <a:solidFill>
                  <a:prstClr val="black"/>
                </a:solidFill>
              </a:rPr>
              <a:t>https://www.climate.gov/news-features/blogs/enso/november-el-ni%C3%B1o-update-it%E2%80%99s-small-world</a:t>
            </a:r>
          </a:p>
        </p:txBody>
      </p:sp>
      <p:grpSp>
        <p:nvGrpSpPr>
          <p:cNvPr id="7" name="Group 6"/>
          <p:cNvGrpSpPr/>
          <p:nvPr/>
        </p:nvGrpSpPr>
        <p:grpSpPr>
          <a:xfrm>
            <a:off x="3289839" y="1124744"/>
            <a:ext cx="5671622" cy="4484971"/>
            <a:chOff x="2590800" y="627797"/>
            <a:chExt cx="7010400" cy="5449514"/>
          </a:xfrm>
        </p:grpSpPr>
        <p:pic>
          <p:nvPicPr>
            <p:cNvPr id="4" name="Picture 3"/>
            <p:cNvPicPr>
              <a:picLocks noChangeAspect="1"/>
            </p:cNvPicPr>
            <p:nvPr/>
          </p:nvPicPr>
          <p:blipFill rotWithShape="1">
            <a:blip r:embed="rId3"/>
            <a:srcRect t="3035"/>
            <a:stretch/>
          </p:blipFill>
          <p:spPr>
            <a:xfrm>
              <a:off x="3055744" y="627797"/>
              <a:ext cx="5859655" cy="5449514"/>
            </a:xfrm>
            <a:prstGeom prst="rect">
              <a:avLst/>
            </a:prstGeom>
          </p:spPr>
        </p:pic>
        <p:sp>
          <p:nvSpPr>
            <p:cNvPr id="6" name="Rectangle 5"/>
            <p:cNvSpPr/>
            <p:nvPr/>
          </p:nvSpPr>
          <p:spPr>
            <a:xfrm>
              <a:off x="2590800" y="1063256"/>
              <a:ext cx="7010400" cy="329609"/>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grpSp>
      <p:grpSp>
        <p:nvGrpSpPr>
          <p:cNvPr id="24" name="Group 23"/>
          <p:cNvGrpSpPr/>
          <p:nvPr/>
        </p:nvGrpSpPr>
        <p:grpSpPr>
          <a:xfrm>
            <a:off x="-104551" y="1522578"/>
            <a:ext cx="3791148" cy="3058549"/>
            <a:chOff x="-337506" y="1998409"/>
            <a:chExt cx="7129463" cy="3621345"/>
          </a:xfrm>
        </p:grpSpPr>
        <p:sp>
          <p:nvSpPr>
            <p:cNvPr id="8" name="Rectangle 21"/>
            <p:cNvSpPr>
              <a:spLocks noChangeArrowheads="1"/>
            </p:cNvSpPr>
            <p:nvPr/>
          </p:nvSpPr>
          <p:spPr bwMode="auto">
            <a:xfrm>
              <a:off x="-337506" y="3874084"/>
              <a:ext cx="5887137" cy="920168"/>
            </a:xfrm>
            <a:custGeom>
              <a:avLst/>
              <a:gdLst>
                <a:gd name="connsiteX0" fmla="*/ 0 w 6337987"/>
                <a:gd name="connsiteY0" fmla="*/ 0 h 920168"/>
                <a:gd name="connsiteX1" fmla="*/ 6337987 w 6337987"/>
                <a:gd name="connsiteY1" fmla="*/ 0 h 920168"/>
                <a:gd name="connsiteX2" fmla="*/ 6337987 w 6337987"/>
                <a:gd name="connsiteY2" fmla="*/ 920168 h 920168"/>
                <a:gd name="connsiteX3" fmla="*/ 0 w 6337987"/>
                <a:gd name="connsiteY3" fmla="*/ 920168 h 920168"/>
                <a:gd name="connsiteX4" fmla="*/ 0 w 6337987"/>
                <a:gd name="connsiteY4" fmla="*/ 0 h 920168"/>
                <a:gd name="connsiteX0" fmla="*/ 0 w 6337987"/>
                <a:gd name="connsiteY0" fmla="*/ 0 h 920168"/>
                <a:gd name="connsiteX1" fmla="*/ 5887137 w 6337987"/>
                <a:gd name="connsiteY1" fmla="*/ 0 h 920168"/>
                <a:gd name="connsiteX2" fmla="*/ 6337987 w 6337987"/>
                <a:gd name="connsiteY2" fmla="*/ 920168 h 920168"/>
                <a:gd name="connsiteX3" fmla="*/ 0 w 6337987"/>
                <a:gd name="connsiteY3" fmla="*/ 920168 h 920168"/>
                <a:gd name="connsiteX4" fmla="*/ 0 w 6337987"/>
                <a:gd name="connsiteY4" fmla="*/ 0 h 920168"/>
                <a:gd name="connsiteX0" fmla="*/ 0 w 5887137"/>
                <a:gd name="connsiteY0" fmla="*/ 0 h 920168"/>
                <a:gd name="connsiteX1" fmla="*/ 5887137 w 5887137"/>
                <a:gd name="connsiteY1" fmla="*/ 0 h 920168"/>
                <a:gd name="connsiteX2" fmla="*/ 5766487 w 5887137"/>
                <a:gd name="connsiteY2" fmla="*/ 913818 h 920168"/>
                <a:gd name="connsiteX3" fmla="*/ 0 w 5887137"/>
                <a:gd name="connsiteY3" fmla="*/ 920168 h 920168"/>
                <a:gd name="connsiteX4" fmla="*/ 0 w 5887137"/>
                <a:gd name="connsiteY4" fmla="*/ 0 h 920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87137" h="920168">
                  <a:moveTo>
                    <a:pt x="0" y="0"/>
                  </a:moveTo>
                  <a:lnTo>
                    <a:pt x="5887137" y="0"/>
                  </a:lnTo>
                  <a:lnTo>
                    <a:pt x="5766487" y="913818"/>
                  </a:lnTo>
                  <a:lnTo>
                    <a:pt x="0" y="920168"/>
                  </a:lnTo>
                  <a:lnTo>
                    <a:pt x="0" y="0"/>
                  </a:lnTo>
                  <a:close/>
                </a:path>
              </a:pathLst>
            </a:custGeom>
            <a:gradFill>
              <a:gsLst>
                <a:gs pos="0">
                  <a:schemeClr val="accent5">
                    <a:lumMod val="75000"/>
                  </a:schemeClr>
                </a:gs>
                <a:gs pos="78000">
                  <a:schemeClr val="accent5">
                    <a:lumMod val="60000"/>
                    <a:lumOff val="40000"/>
                  </a:schemeClr>
                </a:gs>
                <a:gs pos="100000">
                  <a:schemeClr val="bg1">
                    <a:alpha val="0"/>
                  </a:schemeClr>
                </a:gs>
              </a:gsLst>
              <a:lin ang="10800000" scaled="0"/>
            </a:gradFill>
            <a:ln>
              <a:noFill/>
            </a:ln>
          </p:spPr>
          <p:txBody>
            <a:bodyPr vert="horz" wrap="square" lIns="68580" tIns="34290" rIns="68580" bIns="34290" numCol="1" anchor="t" anchorCtr="0" compatLnSpc="1">
              <a:prstTxWarp prst="textNoShape">
                <a:avLst/>
              </a:prstTxWarp>
            </a:bodyPr>
            <a:lstStyle/>
            <a:p>
              <a:endParaRPr lang="id-ID" sz="1350">
                <a:solidFill>
                  <a:prstClr val="black"/>
                </a:solidFill>
              </a:endParaRPr>
            </a:p>
          </p:txBody>
        </p:sp>
        <p:sp>
          <p:nvSpPr>
            <p:cNvPr id="9" name="Freeform 8"/>
            <p:cNvSpPr>
              <a:spLocks noChangeArrowheads="1"/>
            </p:cNvSpPr>
            <p:nvPr/>
          </p:nvSpPr>
          <p:spPr bwMode="auto">
            <a:xfrm>
              <a:off x="-337506" y="4787427"/>
              <a:ext cx="5904600" cy="825976"/>
            </a:xfrm>
            <a:custGeom>
              <a:avLst/>
              <a:gdLst>
                <a:gd name="connsiteX0" fmla="*/ 5797178 w 6337987"/>
                <a:gd name="connsiteY0" fmla="*/ 0 h 816450"/>
                <a:gd name="connsiteX1" fmla="*/ 5969577 w 6337987"/>
                <a:gd name="connsiteY1" fmla="*/ 260268 h 816450"/>
                <a:gd name="connsiteX2" fmla="*/ 5815012 w 6337987"/>
                <a:gd name="connsiteY2" fmla="*/ 526759 h 816450"/>
                <a:gd name="connsiteX3" fmla="*/ 6146099 w 6337987"/>
                <a:gd name="connsiteY3" fmla="*/ 526759 h 816450"/>
                <a:gd name="connsiteX4" fmla="*/ 6337987 w 6337987"/>
                <a:gd name="connsiteY4" fmla="*/ 816450 h 816450"/>
                <a:gd name="connsiteX5" fmla="*/ 0 w 6337987"/>
                <a:gd name="connsiteY5" fmla="*/ 816450 h 816450"/>
                <a:gd name="connsiteX6" fmla="*/ 0 w 6337987"/>
                <a:gd name="connsiteY6" fmla="*/ 965 h 816450"/>
                <a:gd name="connsiteX0" fmla="*/ 5797178 w 6146099"/>
                <a:gd name="connsiteY0" fmla="*/ 0 h 821212"/>
                <a:gd name="connsiteX1" fmla="*/ 5969577 w 6146099"/>
                <a:gd name="connsiteY1" fmla="*/ 260268 h 821212"/>
                <a:gd name="connsiteX2" fmla="*/ 5815012 w 6146099"/>
                <a:gd name="connsiteY2" fmla="*/ 526759 h 821212"/>
                <a:gd name="connsiteX3" fmla="*/ 6146099 w 6146099"/>
                <a:gd name="connsiteY3" fmla="*/ 526759 h 821212"/>
                <a:gd name="connsiteX4" fmla="*/ 5866499 w 6146099"/>
                <a:gd name="connsiteY4" fmla="*/ 821212 h 821212"/>
                <a:gd name="connsiteX5" fmla="*/ 0 w 6146099"/>
                <a:gd name="connsiteY5" fmla="*/ 816450 h 821212"/>
                <a:gd name="connsiteX6" fmla="*/ 0 w 6146099"/>
                <a:gd name="connsiteY6" fmla="*/ 965 h 821212"/>
                <a:gd name="connsiteX7" fmla="*/ 5797178 w 6146099"/>
                <a:gd name="connsiteY7" fmla="*/ 0 h 821212"/>
                <a:gd name="connsiteX0" fmla="*/ 5797178 w 6146099"/>
                <a:gd name="connsiteY0" fmla="*/ 0 h 821212"/>
                <a:gd name="connsiteX1" fmla="*/ 5550477 w 6146099"/>
                <a:gd name="connsiteY1" fmla="*/ 250743 h 821212"/>
                <a:gd name="connsiteX2" fmla="*/ 5815012 w 6146099"/>
                <a:gd name="connsiteY2" fmla="*/ 526759 h 821212"/>
                <a:gd name="connsiteX3" fmla="*/ 6146099 w 6146099"/>
                <a:gd name="connsiteY3" fmla="*/ 526759 h 821212"/>
                <a:gd name="connsiteX4" fmla="*/ 5866499 w 6146099"/>
                <a:gd name="connsiteY4" fmla="*/ 821212 h 821212"/>
                <a:gd name="connsiteX5" fmla="*/ 0 w 6146099"/>
                <a:gd name="connsiteY5" fmla="*/ 816450 h 821212"/>
                <a:gd name="connsiteX6" fmla="*/ 0 w 6146099"/>
                <a:gd name="connsiteY6" fmla="*/ 965 h 821212"/>
                <a:gd name="connsiteX7" fmla="*/ 5797178 w 6146099"/>
                <a:gd name="connsiteY7" fmla="*/ 0 h 821212"/>
                <a:gd name="connsiteX0" fmla="*/ 5797178 w 6146099"/>
                <a:gd name="connsiteY0" fmla="*/ 0 h 821212"/>
                <a:gd name="connsiteX1" fmla="*/ 5550477 w 6146099"/>
                <a:gd name="connsiteY1" fmla="*/ 250743 h 821212"/>
                <a:gd name="connsiteX2" fmla="*/ 5676900 w 6146099"/>
                <a:gd name="connsiteY2" fmla="*/ 579147 h 821212"/>
                <a:gd name="connsiteX3" fmla="*/ 6146099 w 6146099"/>
                <a:gd name="connsiteY3" fmla="*/ 526759 h 821212"/>
                <a:gd name="connsiteX4" fmla="*/ 5866499 w 6146099"/>
                <a:gd name="connsiteY4" fmla="*/ 821212 h 821212"/>
                <a:gd name="connsiteX5" fmla="*/ 0 w 6146099"/>
                <a:gd name="connsiteY5" fmla="*/ 816450 h 821212"/>
                <a:gd name="connsiteX6" fmla="*/ 0 w 6146099"/>
                <a:gd name="connsiteY6" fmla="*/ 965 h 821212"/>
                <a:gd name="connsiteX7" fmla="*/ 5797178 w 6146099"/>
                <a:gd name="connsiteY7" fmla="*/ 0 h 821212"/>
                <a:gd name="connsiteX0" fmla="*/ 5797178 w 5898449"/>
                <a:gd name="connsiteY0" fmla="*/ 0 h 821212"/>
                <a:gd name="connsiteX1" fmla="*/ 5550477 w 5898449"/>
                <a:gd name="connsiteY1" fmla="*/ 250743 h 821212"/>
                <a:gd name="connsiteX2" fmla="*/ 5676900 w 5898449"/>
                <a:gd name="connsiteY2" fmla="*/ 579147 h 821212"/>
                <a:gd name="connsiteX3" fmla="*/ 5898449 w 5898449"/>
                <a:gd name="connsiteY3" fmla="*/ 688684 h 821212"/>
                <a:gd name="connsiteX4" fmla="*/ 5866499 w 5898449"/>
                <a:gd name="connsiteY4" fmla="*/ 821212 h 821212"/>
                <a:gd name="connsiteX5" fmla="*/ 0 w 5898449"/>
                <a:gd name="connsiteY5" fmla="*/ 816450 h 821212"/>
                <a:gd name="connsiteX6" fmla="*/ 0 w 5898449"/>
                <a:gd name="connsiteY6" fmla="*/ 965 h 821212"/>
                <a:gd name="connsiteX7" fmla="*/ 5797178 w 5898449"/>
                <a:gd name="connsiteY7" fmla="*/ 0 h 821212"/>
                <a:gd name="connsiteX0" fmla="*/ 5797178 w 5904599"/>
                <a:gd name="connsiteY0" fmla="*/ 0 h 825975"/>
                <a:gd name="connsiteX1" fmla="*/ 5550477 w 5904599"/>
                <a:gd name="connsiteY1" fmla="*/ 250743 h 825975"/>
                <a:gd name="connsiteX2" fmla="*/ 5676900 w 5904599"/>
                <a:gd name="connsiteY2" fmla="*/ 579147 h 825975"/>
                <a:gd name="connsiteX3" fmla="*/ 5898449 w 5904599"/>
                <a:gd name="connsiteY3" fmla="*/ 688684 h 825975"/>
                <a:gd name="connsiteX4" fmla="*/ 5904599 w 5904599"/>
                <a:gd name="connsiteY4" fmla="*/ 825975 h 825975"/>
                <a:gd name="connsiteX5" fmla="*/ 0 w 5904599"/>
                <a:gd name="connsiteY5" fmla="*/ 816450 h 825975"/>
                <a:gd name="connsiteX6" fmla="*/ 0 w 5904599"/>
                <a:gd name="connsiteY6" fmla="*/ 965 h 825975"/>
                <a:gd name="connsiteX7" fmla="*/ 5797178 w 5904599"/>
                <a:gd name="connsiteY7" fmla="*/ 0 h 82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04599" h="825975">
                  <a:moveTo>
                    <a:pt x="5797178" y="0"/>
                  </a:moveTo>
                  <a:lnTo>
                    <a:pt x="5550477" y="250743"/>
                  </a:lnTo>
                  <a:lnTo>
                    <a:pt x="5676900" y="579147"/>
                  </a:lnTo>
                  <a:lnTo>
                    <a:pt x="5898449" y="688684"/>
                  </a:lnTo>
                  <a:lnTo>
                    <a:pt x="5904599" y="825975"/>
                  </a:lnTo>
                  <a:lnTo>
                    <a:pt x="0" y="816450"/>
                  </a:lnTo>
                  <a:lnTo>
                    <a:pt x="0" y="965"/>
                  </a:lnTo>
                  <a:lnTo>
                    <a:pt x="5797178" y="0"/>
                  </a:lnTo>
                  <a:close/>
                </a:path>
              </a:pathLst>
            </a:custGeom>
            <a:gradFill>
              <a:gsLst>
                <a:gs pos="0">
                  <a:schemeClr val="accent4">
                    <a:lumMod val="75000"/>
                  </a:schemeClr>
                </a:gs>
                <a:gs pos="75000">
                  <a:schemeClr val="accent4">
                    <a:lumMod val="60000"/>
                    <a:lumOff val="40000"/>
                  </a:schemeClr>
                </a:gs>
                <a:gs pos="100000">
                  <a:schemeClr val="bg1">
                    <a:alpha val="0"/>
                  </a:schemeClr>
                </a:gs>
              </a:gsLst>
              <a:lin ang="10800000" scaled="0"/>
            </a:gradFill>
            <a:ln>
              <a:noFill/>
            </a:ln>
          </p:spPr>
          <p:txBody>
            <a:bodyPr vert="horz" wrap="square" lIns="68580" tIns="34290" rIns="68580" bIns="34290" numCol="1" anchor="t" anchorCtr="0" compatLnSpc="1">
              <a:prstTxWarp prst="textNoShape">
                <a:avLst/>
              </a:prstTxWarp>
              <a:noAutofit/>
            </a:bodyPr>
            <a:lstStyle/>
            <a:p>
              <a:endParaRPr lang="id-ID" sz="1350">
                <a:solidFill>
                  <a:prstClr val="black"/>
                </a:solidFill>
              </a:endParaRPr>
            </a:p>
          </p:txBody>
        </p:sp>
        <p:sp>
          <p:nvSpPr>
            <p:cNvPr id="10" name="Rectangle 21"/>
            <p:cNvSpPr>
              <a:spLocks noChangeArrowheads="1"/>
            </p:cNvSpPr>
            <p:nvPr/>
          </p:nvSpPr>
          <p:spPr bwMode="auto">
            <a:xfrm>
              <a:off x="-337506" y="2940634"/>
              <a:ext cx="6383337" cy="936043"/>
            </a:xfrm>
            <a:custGeom>
              <a:avLst/>
              <a:gdLst>
                <a:gd name="connsiteX0" fmla="*/ 0 w 6650037"/>
                <a:gd name="connsiteY0" fmla="*/ 0 h 929692"/>
                <a:gd name="connsiteX1" fmla="*/ 6650037 w 6650037"/>
                <a:gd name="connsiteY1" fmla="*/ 0 h 929692"/>
                <a:gd name="connsiteX2" fmla="*/ 6650037 w 6650037"/>
                <a:gd name="connsiteY2" fmla="*/ 929692 h 929692"/>
                <a:gd name="connsiteX3" fmla="*/ 0 w 6650037"/>
                <a:gd name="connsiteY3" fmla="*/ 929692 h 929692"/>
                <a:gd name="connsiteX4" fmla="*/ 0 w 6650037"/>
                <a:gd name="connsiteY4" fmla="*/ 0 h 929692"/>
                <a:gd name="connsiteX0" fmla="*/ 0 w 6650037"/>
                <a:gd name="connsiteY0" fmla="*/ 0 h 929692"/>
                <a:gd name="connsiteX1" fmla="*/ 6383337 w 6650037"/>
                <a:gd name="connsiteY1" fmla="*/ 12700 h 929692"/>
                <a:gd name="connsiteX2" fmla="*/ 6650037 w 6650037"/>
                <a:gd name="connsiteY2" fmla="*/ 929692 h 929692"/>
                <a:gd name="connsiteX3" fmla="*/ 0 w 6650037"/>
                <a:gd name="connsiteY3" fmla="*/ 929692 h 929692"/>
                <a:gd name="connsiteX4" fmla="*/ 0 w 6650037"/>
                <a:gd name="connsiteY4" fmla="*/ 0 h 929692"/>
                <a:gd name="connsiteX0" fmla="*/ 0 w 6383337"/>
                <a:gd name="connsiteY0" fmla="*/ 0 h 929692"/>
                <a:gd name="connsiteX1" fmla="*/ 6383337 w 6383337"/>
                <a:gd name="connsiteY1" fmla="*/ 12700 h 929692"/>
                <a:gd name="connsiteX2" fmla="*/ 5443537 w 6383337"/>
                <a:gd name="connsiteY2" fmla="*/ 923342 h 929692"/>
                <a:gd name="connsiteX3" fmla="*/ 0 w 6383337"/>
                <a:gd name="connsiteY3" fmla="*/ 929692 h 929692"/>
                <a:gd name="connsiteX4" fmla="*/ 0 w 6383337"/>
                <a:gd name="connsiteY4" fmla="*/ 0 h 929692"/>
                <a:gd name="connsiteX0" fmla="*/ 0 w 6383337"/>
                <a:gd name="connsiteY0" fmla="*/ 0 h 929692"/>
                <a:gd name="connsiteX1" fmla="*/ 6383337 w 6383337"/>
                <a:gd name="connsiteY1" fmla="*/ 0 h 929692"/>
                <a:gd name="connsiteX2" fmla="*/ 5443537 w 6383337"/>
                <a:gd name="connsiteY2" fmla="*/ 923342 h 929692"/>
                <a:gd name="connsiteX3" fmla="*/ 0 w 6383337"/>
                <a:gd name="connsiteY3" fmla="*/ 929692 h 929692"/>
                <a:gd name="connsiteX4" fmla="*/ 0 w 6383337"/>
                <a:gd name="connsiteY4" fmla="*/ 0 h 929692"/>
                <a:gd name="connsiteX0" fmla="*/ 0 w 6383337"/>
                <a:gd name="connsiteY0" fmla="*/ 0 h 936042"/>
                <a:gd name="connsiteX1" fmla="*/ 6383337 w 6383337"/>
                <a:gd name="connsiteY1" fmla="*/ 0 h 936042"/>
                <a:gd name="connsiteX2" fmla="*/ 5437187 w 6383337"/>
                <a:gd name="connsiteY2" fmla="*/ 936042 h 936042"/>
                <a:gd name="connsiteX3" fmla="*/ 0 w 6383337"/>
                <a:gd name="connsiteY3" fmla="*/ 929692 h 936042"/>
                <a:gd name="connsiteX4" fmla="*/ 0 w 6383337"/>
                <a:gd name="connsiteY4" fmla="*/ 0 h 936042"/>
                <a:gd name="connsiteX0" fmla="*/ 0 w 6383337"/>
                <a:gd name="connsiteY0" fmla="*/ 0 h 936042"/>
                <a:gd name="connsiteX1" fmla="*/ 6383337 w 6383337"/>
                <a:gd name="connsiteY1" fmla="*/ 0 h 936042"/>
                <a:gd name="connsiteX2" fmla="*/ 5376227 w 6383337"/>
                <a:gd name="connsiteY2" fmla="*/ 936042 h 936042"/>
                <a:gd name="connsiteX3" fmla="*/ 0 w 6383337"/>
                <a:gd name="connsiteY3" fmla="*/ 929692 h 936042"/>
                <a:gd name="connsiteX4" fmla="*/ 0 w 6383337"/>
                <a:gd name="connsiteY4" fmla="*/ 0 h 936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3337" h="936042">
                  <a:moveTo>
                    <a:pt x="0" y="0"/>
                  </a:moveTo>
                  <a:lnTo>
                    <a:pt x="6383337" y="0"/>
                  </a:lnTo>
                  <a:lnTo>
                    <a:pt x="5376227" y="936042"/>
                  </a:lnTo>
                  <a:lnTo>
                    <a:pt x="0" y="929692"/>
                  </a:lnTo>
                  <a:lnTo>
                    <a:pt x="0" y="0"/>
                  </a:lnTo>
                  <a:close/>
                </a:path>
              </a:pathLst>
            </a:custGeom>
            <a:gradFill>
              <a:gsLst>
                <a:gs pos="0">
                  <a:schemeClr val="accent6">
                    <a:lumMod val="75000"/>
                  </a:schemeClr>
                </a:gs>
                <a:gs pos="80000">
                  <a:schemeClr val="accent6">
                    <a:lumMod val="60000"/>
                    <a:lumOff val="40000"/>
                  </a:schemeClr>
                </a:gs>
                <a:gs pos="100000">
                  <a:schemeClr val="bg1">
                    <a:alpha val="0"/>
                  </a:schemeClr>
                </a:gs>
              </a:gsLst>
              <a:lin ang="10800000" scaled="0"/>
            </a:gradFill>
            <a:ln>
              <a:noFill/>
            </a:ln>
          </p:spPr>
          <p:txBody>
            <a:bodyPr vert="horz" wrap="square" lIns="68580" tIns="34290" rIns="68580" bIns="34290" numCol="1" anchor="t" anchorCtr="0" compatLnSpc="1">
              <a:prstTxWarp prst="textNoShape">
                <a:avLst/>
              </a:prstTxWarp>
            </a:bodyPr>
            <a:lstStyle/>
            <a:p>
              <a:endParaRPr lang="id-ID" sz="1350" dirty="0">
                <a:solidFill>
                  <a:prstClr val="black"/>
                </a:solidFill>
              </a:endParaRPr>
            </a:p>
          </p:txBody>
        </p:sp>
        <p:sp>
          <p:nvSpPr>
            <p:cNvPr id="11" name="Rectangle 21"/>
            <p:cNvSpPr>
              <a:spLocks noChangeArrowheads="1"/>
            </p:cNvSpPr>
            <p:nvPr/>
          </p:nvSpPr>
          <p:spPr bwMode="auto">
            <a:xfrm>
              <a:off x="-337506" y="2045284"/>
              <a:ext cx="6337986" cy="894218"/>
            </a:xfrm>
            <a:custGeom>
              <a:avLst/>
              <a:gdLst>
                <a:gd name="connsiteX0" fmla="*/ 0 w 6337987"/>
                <a:gd name="connsiteY0" fmla="*/ 0 h 894218"/>
                <a:gd name="connsiteX1" fmla="*/ 6337987 w 6337987"/>
                <a:gd name="connsiteY1" fmla="*/ 0 h 894218"/>
                <a:gd name="connsiteX2" fmla="*/ 6337987 w 6337987"/>
                <a:gd name="connsiteY2" fmla="*/ 894218 h 894218"/>
                <a:gd name="connsiteX3" fmla="*/ 0 w 6337987"/>
                <a:gd name="connsiteY3" fmla="*/ 894218 h 894218"/>
                <a:gd name="connsiteX4" fmla="*/ 0 w 6337987"/>
                <a:gd name="connsiteY4" fmla="*/ 0 h 894218"/>
                <a:gd name="connsiteX0" fmla="*/ 0 w 6337987"/>
                <a:gd name="connsiteY0" fmla="*/ 0 h 894218"/>
                <a:gd name="connsiteX1" fmla="*/ 6337987 w 6337987"/>
                <a:gd name="connsiteY1" fmla="*/ 0 h 894218"/>
                <a:gd name="connsiteX2" fmla="*/ 6185587 w 6337987"/>
                <a:gd name="connsiteY2" fmla="*/ 894218 h 894218"/>
                <a:gd name="connsiteX3" fmla="*/ 0 w 6337987"/>
                <a:gd name="connsiteY3" fmla="*/ 894218 h 894218"/>
                <a:gd name="connsiteX4" fmla="*/ 0 w 6337987"/>
                <a:gd name="connsiteY4" fmla="*/ 0 h 894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7987" h="894218">
                  <a:moveTo>
                    <a:pt x="0" y="0"/>
                  </a:moveTo>
                  <a:lnTo>
                    <a:pt x="6337987" y="0"/>
                  </a:lnTo>
                  <a:lnTo>
                    <a:pt x="6185587" y="894218"/>
                  </a:lnTo>
                  <a:lnTo>
                    <a:pt x="0" y="894218"/>
                  </a:lnTo>
                  <a:lnTo>
                    <a:pt x="0" y="0"/>
                  </a:lnTo>
                  <a:close/>
                </a:path>
              </a:pathLst>
            </a:custGeom>
            <a:gradFill>
              <a:gsLst>
                <a:gs pos="0">
                  <a:schemeClr val="accent1">
                    <a:lumMod val="75000"/>
                  </a:schemeClr>
                </a:gs>
                <a:gs pos="78000">
                  <a:schemeClr val="accent1">
                    <a:lumMod val="60000"/>
                    <a:lumOff val="40000"/>
                  </a:schemeClr>
                </a:gs>
                <a:gs pos="100000">
                  <a:schemeClr val="bg1">
                    <a:alpha val="0"/>
                  </a:schemeClr>
                </a:gs>
              </a:gsLst>
              <a:lin ang="10800000" scaled="0"/>
            </a:gradFill>
            <a:ln>
              <a:noFill/>
            </a:ln>
          </p:spPr>
          <p:txBody>
            <a:bodyPr vert="horz" wrap="square" lIns="68580" tIns="34290" rIns="68580" bIns="34290" numCol="1" anchor="t" anchorCtr="0" compatLnSpc="1">
              <a:prstTxWarp prst="textNoShape">
                <a:avLst/>
              </a:prstTxWarp>
            </a:bodyPr>
            <a:lstStyle/>
            <a:p>
              <a:endParaRPr lang="id-ID" sz="1350">
                <a:solidFill>
                  <a:prstClr val="black"/>
                </a:solidFill>
              </a:endParaRPr>
            </a:p>
          </p:txBody>
        </p:sp>
        <p:grpSp>
          <p:nvGrpSpPr>
            <p:cNvPr id="12" name="Group 11"/>
            <p:cNvGrpSpPr/>
            <p:nvPr/>
          </p:nvGrpSpPr>
          <p:grpSpPr>
            <a:xfrm>
              <a:off x="3573253" y="4779622"/>
              <a:ext cx="2004778" cy="840132"/>
              <a:chOff x="5530850" y="4687888"/>
              <a:chExt cx="2647950" cy="1109663"/>
            </a:xfrm>
            <a:solidFill>
              <a:schemeClr val="accent4"/>
            </a:solidFill>
          </p:grpSpPr>
          <p:sp>
            <p:nvSpPr>
              <p:cNvPr id="13" name="Freeform 9"/>
              <p:cNvSpPr>
                <a:spLocks/>
              </p:cNvSpPr>
              <p:nvPr/>
            </p:nvSpPr>
            <p:spPr bwMode="auto">
              <a:xfrm>
                <a:off x="7277100" y="4687888"/>
                <a:ext cx="901700" cy="1079500"/>
              </a:xfrm>
              <a:custGeom>
                <a:avLst/>
                <a:gdLst>
                  <a:gd name="T0" fmla="*/ 123 w 240"/>
                  <a:gd name="T1" fmla="*/ 0 h 287"/>
                  <a:gd name="T2" fmla="*/ 88 w 240"/>
                  <a:gd name="T3" fmla="*/ 63 h 287"/>
                  <a:gd name="T4" fmla="*/ 85 w 240"/>
                  <a:gd name="T5" fmla="*/ 63 h 287"/>
                  <a:gd name="T6" fmla="*/ 60 w 240"/>
                  <a:gd name="T7" fmla="*/ 103 h 287"/>
                  <a:gd name="T8" fmla="*/ 22 w 240"/>
                  <a:gd name="T9" fmla="*/ 154 h 287"/>
                  <a:gd name="T10" fmla="*/ 93 w 240"/>
                  <a:gd name="T11" fmla="*/ 228 h 287"/>
                  <a:gd name="T12" fmla="*/ 235 w 240"/>
                  <a:gd name="T13" fmla="*/ 266 h 287"/>
                  <a:gd name="T14" fmla="*/ 208 w 240"/>
                  <a:gd name="T15" fmla="*/ 220 h 287"/>
                  <a:gd name="T16" fmla="*/ 145 w 240"/>
                  <a:gd name="T17" fmla="*/ 134 h 287"/>
                  <a:gd name="T18" fmla="*/ 142 w 240"/>
                  <a:gd name="T19" fmla="*/ 110 h 287"/>
                  <a:gd name="T20" fmla="*/ 141 w 240"/>
                  <a:gd name="T21" fmla="*/ 77 h 287"/>
                  <a:gd name="T22" fmla="*/ 203 w 240"/>
                  <a:gd name="T23" fmla="*/ 0 h 287"/>
                  <a:gd name="T24" fmla="*/ 123 w 240"/>
                  <a:gd name="T25"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287">
                    <a:moveTo>
                      <a:pt x="123" y="0"/>
                    </a:moveTo>
                    <a:cubicBezTo>
                      <a:pt x="106" y="33"/>
                      <a:pt x="88" y="63"/>
                      <a:pt x="88" y="63"/>
                    </a:cubicBezTo>
                    <a:cubicBezTo>
                      <a:pt x="85" y="63"/>
                      <a:pt x="85" y="63"/>
                      <a:pt x="85" y="63"/>
                    </a:cubicBezTo>
                    <a:cubicBezTo>
                      <a:pt x="73" y="68"/>
                      <a:pt x="70" y="98"/>
                      <a:pt x="60" y="103"/>
                    </a:cubicBezTo>
                    <a:cubicBezTo>
                      <a:pt x="50" y="109"/>
                      <a:pt x="45" y="128"/>
                      <a:pt x="22" y="154"/>
                    </a:cubicBezTo>
                    <a:cubicBezTo>
                      <a:pt x="0" y="180"/>
                      <a:pt x="29" y="188"/>
                      <a:pt x="93" y="228"/>
                    </a:cubicBezTo>
                    <a:cubicBezTo>
                      <a:pt x="157" y="268"/>
                      <a:pt x="231" y="287"/>
                      <a:pt x="235" y="266"/>
                    </a:cubicBezTo>
                    <a:cubicBezTo>
                      <a:pt x="240" y="245"/>
                      <a:pt x="231" y="231"/>
                      <a:pt x="208" y="220"/>
                    </a:cubicBezTo>
                    <a:cubicBezTo>
                      <a:pt x="185" y="209"/>
                      <a:pt x="145" y="134"/>
                      <a:pt x="145" y="134"/>
                    </a:cubicBezTo>
                    <a:cubicBezTo>
                      <a:pt x="145" y="134"/>
                      <a:pt x="138" y="122"/>
                      <a:pt x="142" y="110"/>
                    </a:cubicBezTo>
                    <a:cubicBezTo>
                      <a:pt x="145" y="97"/>
                      <a:pt x="141" y="77"/>
                      <a:pt x="141" y="77"/>
                    </a:cubicBezTo>
                    <a:cubicBezTo>
                      <a:pt x="141" y="77"/>
                      <a:pt x="173" y="36"/>
                      <a:pt x="203" y="0"/>
                    </a:cubicBezTo>
                    <a:lnTo>
                      <a:pt x="1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350">
                  <a:solidFill>
                    <a:prstClr val="black"/>
                  </a:solidFill>
                </a:endParaRPr>
              </a:p>
            </p:txBody>
          </p:sp>
          <p:sp>
            <p:nvSpPr>
              <p:cNvPr id="14" name="Freeform 10"/>
              <p:cNvSpPr>
                <a:spLocks/>
              </p:cNvSpPr>
              <p:nvPr/>
            </p:nvSpPr>
            <p:spPr bwMode="auto">
              <a:xfrm>
                <a:off x="5530850" y="4687888"/>
                <a:ext cx="1081088" cy="1109663"/>
              </a:xfrm>
              <a:custGeom>
                <a:avLst/>
                <a:gdLst>
                  <a:gd name="T0" fmla="*/ 75 w 288"/>
                  <a:gd name="T1" fmla="*/ 262 h 295"/>
                  <a:gd name="T2" fmla="*/ 139 w 288"/>
                  <a:gd name="T3" fmla="*/ 282 h 295"/>
                  <a:gd name="T4" fmla="*/ 124 w 288"/>
                  <a:gd name="T5" fmla="*/ 250 h 295"/>
                  <a:gd name="T6" fmla="*/ 119 w 288"/>
                  <a:gd name="T7" fmla="*/ 176 h 295"/>
                  <a:gd name="T8" fmla="*/ 131 w 288"/>
                  <a:gd name="T9" fmla="*/ 145 h 295"/>
                  <a:gd name="T10" fmla="*/ 159 w 288"/>
                  <a:gd name="T11" fmla="*/ 96 h 295"/>
                  <a:gd name="T12" fmla="*/ 265 w 288"/>
                  <a:gd name="T13" fmla="*/ 16 h 295"/>
                  <a:gd name="T14" fmla="*/ 288 w 288"/>
                  <a:gd name="T15" fmla="*/ 0 h 295"/>
                  <a:gd name="T16" fmla="*/ 164 w 288"/>
                  <a:gd name="T17" fmla="*/ 0 h 295"/>
                  <a:gd name="T18" fmla="*/ 158 w 288"/>
                  <a:gd name="T19" fmla="*/ 10 h 295"/>
                  <a:gd name="T20" fmla="*/ 94 w 288"/>
                  <a:gd name="T21" fmla="*/ 90 h 295"/>
                  <a:gd name="T22" fmla="*/ 90 w 288"/>
                  <a:gd name="T23" fmla="*/ 90 h 295"/>
                  <a:gd name="T24" fmla="*/ 74 w 288"/>
                  <a:gd name="T25" fmla="*/ 103 h 295"/>
                  <a:gd name="T26" fmla="*/ 27 w 288"/>
                  <a:gd name="T27" fmla="*/ 118 h 295"/>
                  <a:gd name="T28" fmla="*/ 48 w 288"/>
                  <a:gd name="T29" fmla="*/ 187 h 295"/>
                  <a:gd name="T30" fmla="*/ 75 w 288"/>
                  <a:gd name="T31" fmla="*/ 262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8" h="295">
                    <a:moveTo>
                      <a:pt x="75" y="262"/>
                    </a:moveTo>
                    <a:cubicBezTo>
                      <a:pt x="101" y="295"/>
                      <a:pt x="130" y="295"/>
                      <a:pt x="139" y="282"/>
                    </a:cubicBezTo>
                    <a:cubicBezTo>
                      <a:pt x="148" y="268"/>
                      <a:pt x="130" y="261"/>
                      <a:pt x="124" y="250"/>
                    </a:cubicBezTo>
                    <a:cubicBezTo>
                      <a:pt x="119" y="239"/>
                      <a:pt x="119" y="190"/>
                      <a:pt x="119" y="176"/>
                    </a:cubicBezTo>
                    <a:cubicBezTo>
                      <a:pt x="119" y="161"/>
                      <a:pt x="131" y="152"/>
                      <a:pt x="131" y="145"/>
                    </a:cubicBezTo>
                    <a:cubicBezTo>
                      <a:pt x="131" y="138"/>
                      <a:pt x="141" y="111"/>
                      <a:pt x="159" y="96"/>
                    </a:cubicBezTo>
                    <a:cubicBezTo>
                      <a:pt x="177" y="81"/>
                      <a:pt x="224" y="45"/>
                      <a:pt x="265" y="16"/>
                    </a:cubicBezTo>
                    <a:cubicBezTo>
                      <a:pt x="276" y="8"/>
                      <a:pt x="283" y="3"/>
                      <a:pt x="288" y="0"/>
                    </a:cubicBezTo>
                    <a:cubicBezTo>
                      <a:pt x="164" y="0"/>
                      <a:pt x="164" y="0"/>
                      <a:pt x="164" y="0"/>
                    </a:cubicBezTo>
                    <a:cubicBezTo>
                      <a:pt x="162" y="4"/>
                      <a:pt x="160" y="7"/>
                      <a:pt x="158" y="10"/>
                    </a:cubicBezTo>
                    <a:cubicBezTo>
                      <a:pt x="139" y="43"/>
                      <a:pt x="94" y="90"/>
                      <a:pt x="94" y="90"/>
                    </a:cubicBezTo>
                    <a:cubicBezTo>
                      <a:pt x="94" y="90"/>
                      <a:pt x="94" y="90"/>
                      <a:pt x="90" y="90"/>
                    </a:cubicBezTo>
                    <a:cubicBezTo>
                      <a:pt x="86" y="90"/>
                      <a:pt x="83" y="102"/>
                      <a:pt x="74" y="103"/>
                    </a:cubicBezTo>
                    <a:cubicBezTo>
                      <a:pt x="65" y="104"/>
                      <a:pt x="53" y="103"/>
                      <a:pt x="27" y="118"/>
                    </a:cubicBezTo>
                    <a:cubicBezTo>
                      <a:pt x="0" y="132"/>
                      <a:pt x="32" y="168"/>
                      <a:pt x="48" y="187"/>
                    </a:cubicBezTo>
                    <a:cubicBezTo>
                      <a:pt x="63" y="206"/>
                      <a:pt x="48" y="228"/>
                      <a:pt x="75" y="2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350">
                  <a:solidFill>
                    <a:prstClr val="black"/>
                  </a:solidFill>
                </a:endParaRPr>
              </a:p>
            </p:txBody>
          </p:sp>
        </p:grpSp>
        <p:sp>
          <p:nvSpPr>
            <p:cNvPr id="15" name="Freeform 11"/>
            <p:cNvSpPr>
              <a:spLocks/>
            </p:cNvSpPr>
            <p:nvPr/>
          </p:nvSpPr>
          <p:spPr bwMode="auto">
            <a:xfrm>
              <a:off x="4033583" y="3860163"/>
              <a:ext cx="1871367" cy="929074"/>
            </a:xfrm>
            <a:custGeom>
              <a:avLst/>
              <a:gdLst>
                <a:gd name="T0" fmla="*/ 200 w 658"/>
                <a:gd name="T1" fmla="*/ 70 h 326"/>
                <a:gd name="T2" fmla="*/ 112 w 658"/>
                <a:gd name="T3" fmla="*/ 213 h 326"/>
                <a:gd name="T4" fmla="*/ 104 w 658"/>
                <a:gd name="T5" fmla="*/ 231 h 326"/>
                <a:gd name="T6" fmla="*/ 0 w 658"/>
                <a:gd name="T7" fmla="*/ 326 h 326"/>
                <a:gd name="T8" fmla="*/ 121 w 658"/>
                <a:gd name="T9" fmla="*/ 326 h 326"/>
                <a:gd name="T10" fmla="*/ 151 w 658"/>
                <a:gd name="T11" fmla="*/ 315 h 326"/>
                <a:gd name="T12" fmla="*/ 191 w 658"/>
                <a:gd name="T13" fmla="*/ 268 h 326"/>
                <a:gd name="T14" fmla="*/ 203 w 658"/>
                <a:gd name="T15" fmla="*/ 254 h 326"/>
                <a:gd name="T16" fmla="*/ 343 w 658"/>
                <a:gd name="T17" fmla="*/ 131 h 326"/>
                <a:gd name="T18" fmla="*/ 513 w 658"/>
                <a:gd name="T19" fmla="*/ 145 h 326"/>
                <a:gd name="T20" fmla="*/ 459 w 658"/>
                <a:gd name="T21" fmla="*/ 253 h 326"/>
                <a:gd name="T22" fmla="*/ 424 w 658"/>
                <a:gd name="T23" fmla="*/ 326 h 326"/>
                <a:gd name="T24" fmla="*/ 503 w 658"/>
                <a:gd name="T25" fmla="*/ 326 h 326"/>
                <a:gd name="T26" fmla="*/ 532 w 658"/>
                <a:gd name="T27" fmla="*/ 294 h 326"/>
                <a:gd name="T28" fmla="*/ 629 w 658"/>
                <a:gd name="T29" fmla="*/ 159 h 326"/>
                <a:gd name="T30" fmla="*/ 603 w 658"/>
                <a:gd name="T31" fmla="*/ 54 h 326"/>
                <a:gd name="T32" fmla="*/ 522 w 658"/>
                <a:gd name="T33" fmla="*/ 0 h 326"/>
                <a:gd name="T34" fmla="*/ 170 w 658"/>
                <a:gd name="T35" fmla="*/ 0 h 326"/>
                <a:gd name="T36" fmla="*/ 200 w 658"/>
                <a:gd name="T37" fmla="*/ 7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58" h="326">
                  <a:moveTo>
                    <a:pt x="200" y="70"/>
                  </a:moveTo>
                  <a:cubicBezTo>
                    <a:pt x="159" y="110"/>
                    <a:pt x="114" y="198"/>
                    <a:pt x="112" y="213"/>
                  </a:cubicBezTo>
                  <a:cubicBezTo>
                    <a:pt x="110" y="227"/>
                    <a:pt x="104" y="231"/>
                    <a:pt x="104" y="231"/>
                  </a:cubicBezTo>
                  <a:cubicBezTo>
                    <a:pt x="57" y="252"/>
                    <a:pt x="20" y="294"/>
                    <a:pt x="0" y="326"/>
                  </a:cubicBezTo>
                  <a:cubicBezTo>
                    <a:pt x="121" y="326"/>
                    <a:pt x="121" y="326"/>
                    <a:pt x="121" y="326"/>
                  </a:cubicBezTo>
                  <a:cubicBezTo>
                    <a:pt x="139" y="314"/>
                    <a:pt x="132" y="321"/>
                    <a:pt x="151" y="315"/>
                  </a:cubicBezTo>
                  <a:cubicBezTo>
                    <a:pt x="174" y="308"/>
                    <a:pt x="184" y="275"/>
                    <a:pt x="191" y="268"/>
                  </a:cubicBezTo>
                  <a:cubicBezTo>
                    <a:pt x="197" y="261"/>
                    <a:pt x="203" y="254"/>
                    <a:pt x="203" y="254"/>
                  </a:cubicBezTo>
                  <a:cubicBezTo>
                    <a:pt x="235" y="228"/>
                    <a:pt x="343" y="131"/>
                    <a:pt x="343" y="131"/>
                  </a:cubicBezTo>
                  <a:cubicBezTo>
                    <a:pt x="362" y="140"/>
                    <a:pt x="513" y="145"/>
                    <a:pt x="513" y="145"/>
                  </a:cubicBezTo>
                  <a:cubicBezTo>
                    <a:pt x="479" y="168"/>
                    <a:pt x="467" y="224"/>
                    <a:pt x="459" y="253"/>
                  </a:cubicBezTo>
                  <a:cubicBezTo>
                    <a:pt x="455" y="266"/>
                    <a:pt x="440" y="297"/>
                    <a:pt x="424" y="326"/>
                  </a:cubicBezTo>
                  <a:cubicBezTo>
                    <a:pt x="503" y="326"/>
                    <a:pt x="503" y="326"/>
                    <a:pt x="503" y="326"/>
                  </a:cubicBezTo>
                  <a:cubicBezTo>
                    <a:pt x="513" y="315"/>
                    <a:pt x="523" y="303"/>
                    <a:pt x="532" y="294"/>
                  </a:cubicBezTo>
                  <a:cubicBezTo>
                    <a:pt x="566" y="257"/>
                    <a:pt x="600" y="217"/>
                    <a:pt x="629" y="159"/>
                  </a:cubicBezTo>
                  <a:cubicBezTo>
                    <a:pt x="658" y="101"/>
                    <a:pt x="621" y="62"/>
                    <a:pt x="603" y="54"/>
                  </a:cubicBezTo>
                  <a:cubicBezTo>
                    <a:pt x="586" y="47"/>
                    <a:pt x="554" y="14"/>
                    <a:pt x="522" y="0"/>
                  </a:cubicBezTo>
                  <a:cubicBezTo>
                    <a:pt x="170" y="0"/>
                    <a:pt x="170" y="0"/>
                    <a:pt x="170" y="0"/>
                  </a:cubicBezTo>
                  <a:cubicBezTo>
                    <a:pt x="171" y="44"/>
                    <a:pt x="200" y="70"/>
                    <a:pt x="200" y="70"/>
                  </a:cubicBez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id-ID" sz="1350">
                <a:solidFill>
                  <a:prstClr val="black"/>
                </a:solidFill>
              </a:endParaRPr>
            </a:p>
          </p:txBody>
        </p:sp>
        <p:sp>
          <p:nvSpPr>
            <p:cNvPr id="16" name="Freeform 12"/>
            <p:cNvSpPr>
              <a:spLocks/>
            </p:cNvSpPr>
            <p:nvPr/>
          </p:nvSpPr>
          <p:spPr bwMode="auto">
            <a:xfrm>
              <a:off x="4514346" y="2938300"/>
              <a:ext cx="2277611" cy="927872"/>
            </a:xfrm>
            <a:custGeom>
              <a:avLst/>
              <a:gdLst>
                <a:gd name="T0" fmla="*/ 702 w 801"/>
                <a:gd name="T1" fmla="*/ 29 h 326"/>
                <a:gd name="T2" fmla="*/ 654 w 801"/>
                <a:gd name="T3" fmla="*/ 104 h 326"/>
                <a:gd name="T4" fmla="*/ 617 w 801"/>
                <a:gd name="T5" fmla="*/ 120 h 326"/>
                <a:gd name="T6" fmla="*/ 572 w 801"/>
                <a:gd name="T7" fmla="*/ 67 h 326"/>
                <a:gd name="T8" fmla="*/ 541 w 801"/>
                <a:gd name="T9" fmla="*/ 15 h 326"/>
                <a:gd name="T10" fmla="*/ 536 w 801"/>
                <a:gd name="T11" fmla="*/ 0 h 326"/>
                <a:gd name="T12" fmla="*/ 167 w 801"/>
                <a:gd name="T13" fmla="*/ 0 h 326"/>
                <a:gd name="T14" fmla="*/ 125 w 801"/>
                <a:gd name="T15" fmla="*/ 100 h 326"/>
                <a:gd name="T16" fmla="*/ 65 w 801"/>
                <a:gd name="T17" fmla="*/ 198 h 326"/>
                <a:gd name="T18" fmla="*/ 4 w 801"/>
                <a:gd name="T19" fmla="*/ 293 h 326"/>
                <a:gd name="T20" fmla="*/ 1 w 801"/>
                <a:gd name="T21" fmla="*/ 326 h 326"/>
                <a:gd name="T22" fmla="*/ 356 w 801"/>
                <a:gd name="T23" fmla="*/ 326 h 326"/>
                <a:gd name="T24" fmla="*/ 347 w 801"/>
                <a:gd name="T25" fmla="*/ 322 h 326"/>
                <a:gd name="T26" fmla="*/ 250 w 801"/>
                <a:gd name="T27" fmla="*/ 286 h 326"/>
                <a:gd name="T28" fmla="*/ 362 w 801"/>
                <a:gd name="T29" fmla="*/ 167 h 326"/>
                <a:gd name="T30" fmla="*/ 474 w 801"/>
                <a:gd name="T31" fmla="*/ 75 h 326"/>
                <a:gd name="T32" fmla="*/ 478 w 801"/>
                <a:gd name="T33" fmla="*/ 79 h 326"/>
                <a:gd name="T34" fmla="*/ 594 w 801"/>
                <a:gd name="T35" fmla="*/ 216 h 326"/>
                <a:gd name="T36" fmla="*/ 651 w 801"/>
                <a:gd name="T37" fmla="*/ 218 h 326"/>
                <a:gd name="T38" fmla="*/ 741 w 801"/>
                <a:gd name="T39" fmla="*/ 71 h 326"/>
                <a:gd name="T40" fmla="*/ 783 w 801"/>
                <a:gd name="T41" fmla="*/ 29 h 326"/>
                <a:gd name="T42" fmla="*/ 801 w 801"/>
                <a:gd name="T43" fmla="*/ 0 h 326"/>
                <a:gd name="T44" fmla="*/ 702 w 801"/>
                <a:gd name="T45" fmla="*/ 0 h 326"/>
                <a:gd name="T46" fmla="*/ 702 w 801"/>
                <a:gd name="T47" fmla="*/ 2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1" h="326">
                  <a:moveTo>
                    <a:pt x="702" y="29"/>
                  </a:moveTo>
                  <a:cubicBezTo>
                    <a:pt x="703" y="37"/>
                    <a:pt x="661" y="99"/>
                    <a:pt x="654" y="104"/>
                  </a:cubicBezTo>
                  <a:cubicBezTo>
                    <a:pt x="646" y="109"/>
                    <a:pt x="617" y="120"/>
                    <a:pt x="617" y="120"/>
                  </a:cubicBezTo>
                  <a:cubicBezTo>
                    <a:pt x="597" y="82"/>
                    <a:pt x="588" y="82"/>
                    <a:pt x="572" y="67"/>
                  </a:cubicBezTo>
                  <a:cubicBezTo>
                    <a:pt x="556" y="51"/>
                    <a:pt x="549" y="52"/>
                    <a:pt x="541" y="15"/>
                  </a:cubicBezTo>
                  <a:cubicBezTo>
                    <a:pt x="540" y="10"/>
                    <a:pt x="538" y="5"/>
                    <a:pt x="536" y="0"/>
                  </a:cubicBezTo>
                  <a:cubicBezTo>
                    <a:pt x="167" y="0"/>
                    <a:pt x="167" y="0"/>
                    <a:pt x="167" y="0"/>
                  </a:cubicBezTo>
                  <a:cubicBezTo>
                    <a:pt x="149" y="34"/>
                    <a:pt x="131" y="73"/>
                    <a:pt x="125" y="100"/>
                  </a:cubicBezTo>
                  <a:cubicBezTo>
                    <a:pt x="112" y="155"/>
                    <a:pt x="86" y="186"/>
                    <a:pt x="65" y="198"/>
                  </a:cubicBezTo>
                  <a:cubicBezTo>
                    <a:pt x="44" y="211"/>
                    <a:pt x="21" y="231"/>
                    <a:pt x="4" y="293"/>
                  </a:cubicBezTo>
                  <a:cubicBezTo>
                    <a:pt x="1" y="305"/>
                    <a:pt x="0" y="316"/>
                    <a:pt x="1" y="326"/>
                  </a:cubicBezTo>
                  <a:cubicBezTo>
                    <a:pt x="356" y="326"/>
                    <a:pt x="356" y="326"/>
                    <a:pt x="356" y="326"/>
                  </a:cubicBezTo>
                  <a:cubicBezTo>
                    <a:pt x="353" y="324"/>
                    <a:pt x="350" y="323"/>
                    <a:pt x="347" y="322"/>
                  </a:cubicBezTo>
                  <a:cubicBezTo>
                    <a:pt x="313" y="310"/>
                    <a:pt x="250" y="286"/>
                    <a:pt x="250" y="286"/>
                  </a:cubicBezTo>
                  <a:cubicBezTo>
                    <a:pt x="250" y="286"/>
                    <a:pt x="345" y="180"/>
                    <a:pt x="362" y="167"/>
                  </a:cubicBezTo>
                  <a:cubicBezTo>
                    <a:pt x="380" y="155"/>
                    <a:pt x="474" y="75"/>
                    <a:pt x="474" y="75"/>
                  </a:cubicBezTo>
                  <a:cubicBezTo>
                    <a:pt x="478" y="79"/>
                    <a:pt x="478" y="79"/>
                    <a:pt x="478" y="79"/>
                  </a:cubicBezTo>
                  <a:cubicBezTo>
                    <a:pt x="479" y="83"/>
                    <a:pt x="571" y="195"/>
                    <a:pt x="594" y="216"/>
                  </a:cubicBezTo>
                  <a:cubicBezTo>
                    <a:pt x="617" y="237"/>
                    <a:pt x="634" y="234"/>
                    <a:pt x="651" y="218"/>
                  </a:cubicBezTo>
                  <a:cubicBezTo>
                    <a:pt x="667" y="202"/>
                    <a:pt x="727" y="96"/>
                    <a:pt x="741" y="71"/>
                  </a:cubicBezTo>
                  <a:cubicBezTo>
                    <a:pt x="755" y="46"/>
                    <a:pt x="758" y="50"/>
                    <a:pt x="783" y="29"/>
                  </a:cubicBezTo>
                  <a:cubicBezTo>
                    <a:pt x="799" y="14"/>
                    <a:pt x="801" y="5"/>
                    <a:pt x="801" y="0"/>
                  </a:cubicBezTo>
                  <a:cubicBezTo>
                    <a:pt x="702" y="0"/>
                    <a:pt x="702" y="0"/>
                    <a:pt x="702" y="0"/>
                  </a:cubicBezTo>
                  <a:cubicBezTo>
                    <a:pt x="701" y="13"/>
                    <a:pt x="702" y="25"/>
                    <a:pt x="702" y="29"/>
                  </a:cubicBezTo>
                  <a:close/>
                </a:path>
              </a:pathLst>
            </a:custGeom>
            <a:solidFill>
              <a:schemeClr val="accent6"/>
            </a:solidFill>
            <a:ln>
              <a:noFill/>
            </a:ln>
          </p:spPr>
          <p:txBody>
            <a:bodyPr vert="horz" wrap="square" lIns="68580" tIns="34290" rIns="68580" bIns="34290" numCol="1" anchor="t" anchorCtr="0" compatLnSpc="1">
              <a:prstTxWarp prst="textNoShape">
                <a:avLst/>
              </a:prstTxWarp>
            </a:bodyPr>
            <a:lstStyle/>
            <a:p>
              <a:endParaRPr lang="id-ID" sz="1350">
                <a:solidFill>
                  <a:prstClr val="black"/>
                </a:solidFill>
              </a:endParaRPr>
            </a:p>
          </p:txBody>
        </p:sp>
        <p:grpSp>
          <p:nvGrpSpPr>
            <p:cNvPr id="17" name="Group 16"/>
            <p:cNvGrpSpPr/>
            <p:nvPr/>
          </p:nvGrpSpPr>
          <p:grpSpPr>
            <a:xfrm>
              <a:off x="3658589" y="1998409"/>
              <a:ext cx="3133367" cy="939890"/>
              <a:chOff x="5643563" y="1014413"/>
              <a:chExt cx="4138612" cy="1241425"/>
            </a:xfrm>
            <a:solidFill>
              <a:schemeClr val="accent1"/>
            </a:solidFill>
          </p:grpSpPr>
          <p:sp>
            <p:nvSpPr>
              <p:cNvPr id="18" name="Freeform 17"/>
              <p:cNvSpPr>
                <a:spLocks/>
              </p:cNvSpPr>
              <p:nvPr/>
            </p:nvSpPr>
            <p:spPr bwMode="auto">
              <a:xfrm>
                <a:off x="5643563" y="1014413"/>
                <a:ext cx="3424238" cy="1241425"/>
              </a:xfrm>
              <a:custGeom>
                <a:avLst/>
                <a:gdLst>
                  <a:gd name="T0" fmla="*/ 789 w 912"/>
                  <a:gd name="T1" fmla="*/ 272 h 330"/>
                  <a:gd name="T2" fmla="*/ 811 w 912"/>
                  <a:gd name="T3" fmla="*/ 247 h 330"/>
                  <a:gd name="T4" fmla="*/ 850 w 912"/>
                  <a:gd name="T5" fmla="*/ 250 h 330"/>
                  <a:gd name="T6" fmla="*/ 871 w 912"/>
                  <a:gd name="T7" fmla="*/ 236 h 330"/>
                  <a:gd name="T8" fmla="*/ 880 w 912"/>
                  <a:gd name="T9" fmla="*/ 224 h 330"/>
                  <a:gd name="T10" fmla="*/ 883 w 912"/>
                  <a:gd name="T11" fmla="*/ 214 h 330"/>
                  <a:gd name="T12" fmla="*/ 891 w 912"/>
                  <a:gd name="T13" fmla="*/ 198 h 330"/>
                  <a:gd name="T14" fmla="*/ 901 w 912"/>
                  <a:gd name="T15" fmla="*/ 192 h 330"/>
                  <a:gd name="T16" fmla="*/ 897 w 912"/>
                  <a:gd name="T17" fmla="*/ 151 h 330"/>
                  <a:gd name="T18" fmla="*/ 908 w 912"/>
                  <a:gd name="T19" fmla="*/ 139 h 330"/>
                  <a:gd name="T20" fmla="*/ 892 w 912"/>
                  <a:gd name="T21" fmla="*/ 47 h 330"/>
                  <a:gd name="T22" fmla="*/ 760 w 912"/>
                  <a:gd name="T23" fmla="*/ 34 h 330"/>
                  <a:gd name="T24" fmla="*/ 725 w 912"/>
                  <a:gd name="T25" fmla="*/ 139 h 330"/>
                  <a:gd name="T26" fmla="*/ 687 w 912"/>
                  <a:gd name="T27" fmla="*/ 184 h 330"/>
                  <a:gd name="T28" fmla="*/ 653 w 912"/>
                  <a:gd name="T29" fmla="*/ 180 h 330"/>
                  <a:gd name="T30" fmla="*/ 609 w 912"/>
                  <a:gd name="T31" fmla="*/ 146 h 330"/>
                  <a:gd name="T32" fmla="*/ 529 w 912"/>
                  <a:gd name="T33" fmla="*/ 135 h 330"/>
                  <a:gd name="T34" fmla="*/ 500 w 912"/>
                  <a:gd name="T35" fmla="*/ 123 h 330"/>
                  <a:gd name="T36" fmla="*/ 392 w 912"/>
                  <a:gd name="T37" fmla="*/ 92 h 330"/>
                  <a:gd name="T38" fmla="*/ 293 w 912"/>
                  <a:gd name="T39" fmla="*/ 98 h 330"/>
                  <a:gd name="T40" fmla="*/ 137 w 912"/>
                  <a:gd name="T41" fmla="*/ 179 h 330"/>
                  <a:gd name="T42" fmla="*/ 58 w 912"/>
                  <a:gd name="T43" fmla="*/ 204 h 330"/>
                  <a:gd name="T44" fmla="*/ 11 w 912"/>
                  <a:gd name="T45" fmla="*/ 237 h 330"/>
                  <a:gd name="T46" fmla="*/ 18 w 912"/>
                  <a:gd name="T47" fmla="*/ 312 h 330"/>
                  <a:gd name="T48" fmla="*/ 57 w 912"/>
                  <a:gd name="T49" fmla="*/ 310 h 330"/>
                  <a:gd name="T50" fmla="*/ 91 w 912"/>
                  <a:gd name="T51" fmla="*/ 297 h 330"/>
                  <a:gd name="T52" fmla="*/ 146 w 912"/>
                  <a:gd name="T53" fmla="*/ 236 h 330"/>
                  <a:gd name="T54" fmla="*/ 224 w 912"/>
                  <a:gd name="T55" fmla="*/ 201 h 330"/>
                  <a:gd name="T56" fmla="*/ 317 w 912"/>
                  <a:gd name="T57" fmla="*/ 172 h 330"/>
                  <a:gd name="T58" fmla="*/ 362 w 912"/>
                  <a:gd name="T59" fmla="*/ 164 h 330"/>
                  <a:gd name="T60" fmla="*/ 413 w 912"/>
                  <a:gd name="T61" fmla="*/ 196 h 330"/>
                  <a:gd name="T62" fmla="*/ 506 w 912"/>
                  <a:gd name="T63" fmla="*/ 230 h 330"/>
                  <a:gd name="T64" fmla="*/ 510 w 912"/>
                  <a:gd name="T65" fmla="*/ 250 h 330"/>
                  <a:gd name="T66" fmla="*/ 468 w 912"/>
                  <a:gd name="T67" fmla="*/ 330 h 330"/>
                  <a:gd name="T68" fmla="*/ 837 w 912"/>
                  <a:gd name="T69" fmla="*/ 330 h 330"/>
                  <a:gd name="T70" fmla="*/ 789 w 912"/>
                  <a:gd name="T71" fmla="*/ 272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12" h="330">
                    <a:moveTo>
                      <a:pt x="789" y="272"/>
                    </a:moveTo>
                    <a:cubicBezTo>
                      <a:pt x="789" y="272"/>
                      <a:pt x="799" y="256"/>
                      <a:pt x="811" y="247"/>
                    </a:cubicBezTo>
                    <a:cubicBezTo>
                      <a:pt x="823" y="238"/>
                      <a:pt x="834" y="249"/>
                      <a:pt x="850" y="250"/>
                    </a:cubicBezTo>
                    <a:cubicBezTo>
                      <a:pt x="865" y="251"/>
                      <a:pt x="869" y="242"/>
                      <a:pt x="871" y="236"/>
                    </a:cubicBezTo>
                    <a:cubicBezTo>
                      <a:pt x="872" y="231"/>
                      <a:pt x="876" y="228"/>
                      <a:pt x="880" y="224"/>
                    </a:cubicBezTo>
                    <a:cubicBezTo>
                      <a:pt x="883" y="221"/>
                      <a:pt x="879" y="216"/>
                      <a:pt x="883" y="214"/>
                    </a:cubicBezTo>
                    <a:cubicBezTo>
                      <a:pt x="888" y="213"/>
                      <a:pt x="891" y="201"/>
                      <a:pt x="891" y="198"/>
                    </a:cubicBezTo>
                    <a:cubicBezTo>
                      <a:pt x="891" y="194"/>
                      <a:pt x="891" y="195"/>
                      <a:pt x="901" y="192"/>
                    </a:cubicBezTo>
                    <a:cubicBezTo>
                      <a:pt x="911" y="190"/>
                      <a:pt x="896" y="155"/>
                      <a:pt x="897" y="151"/>
                    </a:cubicBezTo>
                    <a:cubicBezTo>
                      <a:pt x="897" y="147"/>
                      <a:pt x="904" y="150"/>
                      <a:pt x="908" y="139"/>
                    </a:cubicBezTo>
                    <a:cubicBezTo>
                      <a:pt x="912" y="128"/>
                      <a:pt x="907" y="67"/>
                      <a:pt x="892" y="47"/>
                    </a:cubicBezTo>
                    <a:cubicBezTo>
                      <a:pt x="870" y="17"/>
                      <a:pt x="805" y="0"/>
                      <a:pt x="760" y="34"/>
                    </a:cubicBezTo>
                    <a:cubicBezTo>
                      <a:pt x="714" y="68"/>
                      <a:pt x="716" y="112"/>
                      <a:pt x="725" y="139"/>
                    </a:cubicBezTo>
                    <a:cubicBezTo>
                      <a:pt x="734" y="166"/>
                      <a:pt x="687" y="184"/>
                      <a:pt x="687" y="184"/>
                    </a:cubicBezTo>
                    <a:cubicBezTo>
                      <a:pt x="679" y="186"/>
                      <a:pt x="669" y="186"/>
                      <a:pt x="653" y="180"/>
                    </a:cubicBezTo>
                    <a:cubicBezTo>
                      <a:pt x="637" y="173"/>
                      <a:pt x="635" y="163"/>
                      <a:pt x="609" y="146"/>
                    </a:cubicBezTo>
                    <a:cubicBezTo>
                      <a:pt x="584" y="129"/>
                      <a:pt x="529" y="135"/>
                      <a:pt x="529" y="135"/>
                    </a:cubicBezTo>
                    <a:cubicBezTo>
                      <a:pt x="529" y="128"/>
                      <a:pt x="509" y="123"/>
                      <a:pt x="500" y="123"/>
                    </a:cubicBezTo>
                    <a:cubicBezTo>
                      <a:pt x="491" y="123"/>
                      <a:pt x="439" y="103"/>
                      <a:pt x="392" y="92"/>
                    </a:cubicBezTo>
                    <a:cubicBezTo>
                      <a:pt x="345" y="81"/>
                      <a:pt x="306" y="90"/>
                      <a:pt x="293" y="98"/>
                    </a:cubicBezTo>
                    <a:cubicBezTo>
                      <a:pt x="279" y="106"/>
                      <a:pt x="180" y="154"/>
                      <a:pt x="137" y="179"/>
                    </a:cubicBezTo>
                    <a:cubicBezTo>
                      <a:pt x="94" y="204"/>
                      <a:pt x="89" y="197"/>
                      <a:pt x="58" y="204"/>
                    </a:cubicBezTo>
                    <a:cubicBezTo>
                      <a:pt x="27" y="211"/>
                      <a:pt x="14" y="218"/>
                      <a:pt x="11" y="237"/>
                    </a:cubicBezTo>
                    <a:cubicBezTo>
                      <a:pt x="8" y="256"/>
                      <a:pt x="0" y="294"/>
                      <a:pt x="18" y="312"/>
                    </a:cubicBezTo>
                    <a:cubicBezTo>
                      <a:pt x="35" y="330"/>
                      <a:pt x="45" y="315"/>
                      <a:pt x="57" y="310"/>
                    </a:cubicBezTo>
                    <a:cubicBezTo>
                      <a:pt x="70" y="306"/>
                      <a:pt x="78" y="297"/>
                      <a:pt x="91" y="297"/>
                    </a:cubicBezTo>
                    <a:cubicBezTo>
                      <a:pt x="104" y="296"/>
                      <a:pt x="131" y="251"/>
                      <a:pt x="146" y="236"/>
                    </a:cubicBezTo>
                    <a:cubicBezTo>
                      <a:pt x="161" y="221"/>
                      <a:pt x="182" y="213"/>
                      <a:pt x="224" y="201"/>
                    </a:cubicBezTo>
                    <a:cubicBezTo>
                      <a:pt x="266" y="188"/>
                      <a:pt x="294" y="182"/>
                      <a:pt x="317" y="172"/>
                    </a:cubicBezTo>
                    <a:cubicBezTo>
                      <a:pt x="341" y="162"/>
                      <a:pt x="351" y="164"/>
                      <a:pt x="362" y="164"/>
                    </a:cubicBezTo>
                    <a:cubicBezTo>
                      <a:pt x="374" y="164"/>
                      <a:pt x="382" y="173"/>
                      <a:pt x="413" y="196"/>
                    </a:cubicBezTo>
                    <a:cubicBezTo>
                      <a:pt x="444" y="219"/>
                      <a:pt x="500" y="230"/>
                      <a:pt x="506" y="230"/>
                    </a:cubicBezTo>
                    <a:cubicBezTo>
                      <a:pt x="513" y="230"/>
                      <a:pt x="516" y="235"/>
                      <a:pt x="510" y="250"/>
                    </a:cubicBezTo>
                    <a:cubicBezTo>
                      <a:pt x="507" y="258"/>
                      <a:pt x="487" y="292"/>
                      <a:pt x="468" y="330"/>
                    </a:cubicBezTo>
                    <a:cubicBezTo>
                      <a:pt x="837" y="330"/>
                      <a:pt x="837" y="330"/>
                      <a:pt x="837" y="330"/>
                    </a:cubicBezTo>
                    <a:cubicBezTo>
                      <a:pt x="823" y="299"/>
                      <a:pt x="789" y="272"/>
                      <a:pt x="789" y="2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350">
                  <a:solidFill>
                    <a:prstClr val="black"/>
                  </a:solidFill>
                </a:endParaRPr>
              </a:p>
            </p:txBody>
          </p:sp>
          <p:sp>
            <p:nvSpPr>
              <p:cNvPr id="19" name="Freeform 18"/>
              <p:cNvSpPr>
                <a:spLocks/>
              </p:cNvSpPr>
              <p:nvPr/>
            </p:nvSpPr>
            <p:spPr bwMode="auto">
              <a:xfrm>
                <a:off x="9410700" y="1966913"/>
                <a:ext cx="371475" cy="288925"/>
              </a:xfrm>
              <a:custGeom>
                <a:avLst/>
                <a:gdLst>
                  <a:gd name="T0" fmla="*/ 98 w 99"/>
                  <a:gd name="T1" fmla="*/ 70 h 77"/>
                  <a:gd name="T2" fmla="*/ 82 w 99"/>
                  <a:gd name="T3" fmla="*/ 45 h 77"/>
                  <a:gd name="T4" fmla="*/ 61 w 99"/>
                  <a:gd name="T5" fmla="*/ 26 h 77"/>
                  <a:gd name="T6" fmla="*/ 50 w 99"/>
                  <a:gd name="T7" fmla="*/ 15 h 77"/>
                  <a:gd name="T8" fmla="*/ 44 w 99"/>
                  <a:gd name="T9" fmla="*/ 9 h 77"/>
                  <a:gd name="T10" fmla="*/ 11 w 99"/>
                  <a:gd name="T11" fmla="*/ 42 h 77"/>
                  <a:gd name="T12" fmla="*/ 0 w 99"/>
                  <a:gd name="T13" fmla="*/ 77 h 77"/>
                  <a:gd name="T14" fmla="*/ 99 w 99"/>
                  <a:gd name="T15" fmla="*/ 77 h 77"/>
                  <a:gd name="T16" fmla="*/ 98 w 99"/>
                  <a:gd name="T17" fmla="*/ 7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77">
                    <a:moveTo>
                      <a:pt x="98" y="70"/>
                    </a:moveTo>
                    <a:cubicBezTo>
                      <a:pt x="98" y="64"/>
                      <a:pt x="87" y="49"/>
                      <a:pt x="82" y="45"/>
                    </a:cubicBezTo>
                    <a:cubicBezTo>
                      <a:pt x="77" y="41"/>
                      <a:pt x="64" y="31"/>
                      <a:pt x="61" y="26"/>
                    </a:cubicBezTo>
                    <a:cubicBezTo>
                      <a:pt x="58" y="21"/>
                      <a:pt x="53" y="16"/>
                      <a:pt x="50" y="15"/>
                    </a:cubicBezTo>
                    <a:cubicBezTo>
                      <a:pt x="46" y="13"/>
                      <a:pt x="44" y="9"/>
                      <a:pt x="44" y="9"/>
                    </a:cubicBezTo>
                    <a:cubicBezTo>
                      <a:pt x="30" y="0"/>
                      <a:pt x="25" y="28"/>
                      <a:pt x="11" y="42"/>
                    </a:cubicBezTo>
                    <a:cubicBezTo>
                      <a:pt x="4" y="49"/>
                      <a:pt x="1" y="63"/>
                      <a:pt x="0" y="77"/>
                    </a:cubicBezTo>
                    <a:cubicBezTo>
                      <a:pt x="99" y="77"/>
                      <a:pt x="99" y="77"/>
                      <a:pt x="99" y="77"/>
                    </a:cubicBezTo>
                    <a:cubicBezTo>
                      <a:pt x="99" y="74"/>
                      <a:pt x="98" y="72"/>
                      <a:pt x="98"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id-ID" sz="1350">
                  <a:solidFill>
                    <a:prstClr val="black"/>
                  </a:solidFill>
                </a:endParaRPr>
              </a:p>
            </p:txBody>
          </p:sp>
        </p:grpSp>
      </p:grpSp>
      <p:sp>
        <p:nvSpPr>
          <p:cNvPr id="25" name="Rectangle 24"/>
          <p:cNvSpPr/>
          <p:nvPr/>
        </p:nvSpPr>
        <p:spPr>
          <a:xfrm>
            <a:off x="378686" y="2678311"/>
            <a:ext cx="2471928" cy="1569660"/>
          </a:xfrm>
          <a:prstGeom prst="rect">
            <a:avLst/>
          </a:prstGeom>
        </p:spPr>
        <p:txBody>
          <a:bodyPr wrap="square">
            <a:spAutoFit/>
          </a:bodyPr>
          <a:lstStyle/>
          <a:p>
            <a:pPr>
              <a:defRPr/>
            </a:pPr>
            <a:r>
              <a:rPr lang="en-US" sz="2400" dirty="0">
                <a:solidFill>
                  <a:prstClr val="white"/>
                </a:solidFill>
              </a:rPr>
              <a:t>Ranking of August-October El Niño episodes (ONI) since 1950</a:t>
            </a:r>
            <a:endParaRPr lang="id-ID" sz="2400" b="1" dirty="0">
              <a:solidFill>
                <a:prstClr val="white"/>
              </a:solidFill>
            </a:endParaRP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7608" y="188640"/>
            <a:ext cx="525826" cy="830652"/>
          </a:xfrm>
          <a:prstGeom prst="rect">
            <a:avLst/>
          </a:prstGeom>
        </p:spPr>
      </p:pic>
      <p:sp>
        <p:nvSpPr>
          <p:cNvPr id="21" name="Title 1"/>
          <p:cNvSpPr>
            <a:spLocks noGrp="1"/>
          </p:cNvSpPr>
          <p:nvPr>
            <p:ph type="title"/>
          </p:nvPr>
        </p:nvSpPr>
        <p:spPr>
          <a:xfrm>
            <a:off x="1228412" y="96895"/>
            <a:ext cx="7286938" cy="922397"/>
          </a:xfrm>
          <a:noFill/>
          <a:ln w="9525">
            <a:noFill/>
            <a:miter lim="800000"/>
            <a:headEnd/>
            <a:tailEnd/>
          </a:ln>
        </p:spPr>
        <p:txBody>
          <a:bodyPr vert="horz" wrap="square" lIns="91440" tIns="18288" rIns="91440" bIns="18288" numCol="1" rtlCol="0" anchor="ctr" anchorCtr="0" compatLnSpc="1">
            <a:prstTxWarp prst="textNoShape">
              <a:avLst/>
            </a:prstTxWarp>
            <a:noAutofit/>
          </a:bodyPr>
          <a:lstStyle/>
          <a:p>
            <a:pPr algn="ctr" defTabSz="914400"/>
            <a:r>
              <a:rPr lang="en-US" sz="2800" b="1" dirty="0">
                <a:solidFill>
                  <a:srgbClr val="000000"/>
                </a:solidFill>
                <a:latin typeface="Arial" pitchFamily="34" charset="0"/>
                <a:cs typeface="Arial" pitchFamily="34" charset="0"/>
              </a:rPr>
              <a:t>El Niño Risks</a:t>
            </a:r>
          </a:p>
        </p:txBody>
      </p:sp>
    </p:spTree>
    <p:extLst>
      <p:ext uri="{BB962C8B-B14F-4D97-AF65-F5344CB8AC3E}">
        <p14:creationId xmlns:p14="http://schemas.microsoft.com/office/powerpoint/2010/main" val="34793437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1200" fill="hold"/>
                                        <p:tgtEl>
                                          <p:spTgt spid="24"/>
                                        </p:tgtEl>
                                        <p:attrNameLst>
                                          <p:attrName>ppt_x</p:attrName>
                                        </p:attrNameLst>
                                      </p:cBhvr>
                                      <p:tavLst>
                                        <p:tav tm="0">
                                          <p:val>
                                            <p:strVal val="0-#ppt_w/2"/>
                                          </p:val>
                                        </p:tav>
                                        <p:tav tm="100000">
                                          <p:val>
                                            <p:strVal val="#ppt_x"/>
                                          </p:val>
                                        </p:tav>
                                      </p:tavLst>
                                    </p:anim>
                                    <p:anim calcmode="lin" valueType="num">
                                      <p:cBhvr additive="base">
                                        <p:cTn id="8" dur="1200" fill="hold"/>
                                        <p:tgtEl>
                                          <p:spTgt spid="24"/>
                                        </p:tgtEl>
                                        <p:attrNameLst>
                                          <p:attrName>ppt_y</p:attrName>
                                        </p:attrNameLst>
                                      </p:cBhvr>
                                      <p:tavLst>
                                        <p:tav tm="0">
                                          <p:val>
                                            <p:strVal val="#ppt_y"/>
                                          </p:val>
                                        </p:tav>
                                        <p:tav tm="100000">
                                          <p:val>
                                            <p:strVal val="#ppt_y"/>
                                          </p:val>
                                        </p:tav>
                                      </p:tavLst>
                                    </p:anim>
                                  </p:childTnLst>
                                </p:cTn>
                              </p:par>
                            </p:childTnLst>
                          </p:cTn>
                        </p:par>
                        <p:par>
                          <p:cTn id="9" fill="hold">
                            <p:stCondLst>
                              <p:cond delay="1200"/>
                            </p:stCondLst>
                            <p:childTnLst>
                              <p:par>
                                <p:cTn id="10" presetID="2" presetClass="entr" presetSubtype="8" fill="hold" grpId="0" nodeType="afterEffect">
                                  <p:stCondLst>
                                    <p:cond delay="0"/>
                                  </p:stCondLst>
                                  <p:childTnLst>
                                    <p:set>
                                      <p:cBhvr>
                                        <p:cTn id="11" dur="1" fill="hold">
                                          <p:stCondLst>
                                            <p:cond delay="0"/>
                                          </p:stCondLst>
                                        </p:cTn>
                                        <p:tgtEl>
                                          <p:spTgt spid="25"/>
                                        </p:tgtEl>
                                        <p:attrNameLst>
                                          <p:attrName>style.visibility</p:attrName>
                                        </p:attrNameLst>
                                      </p:cBhvr>
                                      <p:to>
                                        <p:strVal val="visible"/>
                                      </p:to>
                                    </p:set>
                                    <p:anim calcmode="lin" valueType="num">
                                      <p:cBhvr additive="base">
                                        <p:cTn id="12" dur="500" fill="hold"/>
                                        <p:tgtEl>
                                          <p:spTgt spid="25"/>
                                        </p:tgtEl>
                                        <p:attrNameLst>
                                          <p:attrName>ppt_x</p:attrName>
                                        </p:attrNameLst>
                                      </p:cBhvr>
                                      <p:tavLst>
                                        <p:tav tm="0">
                                          <p:val>
                                            <p:strVal val="0-#ppt_w/2"/>
                                          </p:val>
                                        </p:tav>
                                        <p:tav tm="100000">
                                          <p:val>
                                            <p:strVal val="#ppt_x"/>
                                          </p:val>
                                        </p:tav>
                                      </p:tavLst>
                                    </p:anim>
                                    <p:anim calcmode="lin" valueType="num">
                                      <p:cBhvr additive="base">
                                        <p:cTn id="13" dur="500" fill="hold"/>
                                        <p:tgtEl>
                                          <p:spTgt spid="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64821" y="978426"/>
            <a:ext cx="9679521" cy="4858946"/>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7608" y="188640"/>
            <a:ext cx="525826" cy="830652"/>
          </a:xfrm>
          <a:prstGeom prst="rect">
            <a:avLst/>
          </a:prstGeom>
        </p:spPr>
      </p:pic>
    </p:spTree>
    <p:extLst>
      <p:ext uri="{BB962C8B-B14F-4D97-AF65-F5344CB8AC3E}">
        <p14:creationId xmlns:p14="http://schemas.microsoft.com/office/powerpoint/2010/main" val="116757306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fld id="{379936E7-3DF7-4A44-BD4D-1975B4F3921B}" type="slidenum">
              <a:rPr lang="en-US" smtClean="0">
                <a:solidFill>
                  <a:srgbClr val="0055A4">
                    <a:tint val="75000"/>
                  </a:srgbClr>
                </a:solidFill>
              </a:rPr>
              <a:pPr/>
              <a:t>3</a:t>
            </a:fld>
            <a:endParaRPr lang="en-US">
              <a:solidFill>
                <a:srgbClr val="0055A4">
                  <a:tint val="75000"/>
                </a:srgbClr>
              </a:solidFill>
            </a:endParaRPr>
          </a:p>
        </p:txBody>
      </p:sp>
      <p:pic>
        <p:nvPicPr>
          <p:cNvPr id="60" name="03_United States Technology Position.jpg"/>
          <p:cNvPicPr/>
          <p:nvPr/>
        </p:nvPicPr>
        <p:blipFill>
          <a:blip r:embed="rId3">
            <a:extLst>
              <a:ext uri="{28A0092B-C50C-407E-A947-70E740481C1C}">
                <a14:useLocalDpi xmlns:a14="http://schemas.microsoft.com/office/drawing/2010/main" val="0"/>
              </a:ext>
            </a:extLst>
          </a:blip>
          <a:stretch>
            <a:fillRect/>
          </a:stretch>
        </p:blipFill>
        <p:spPr>
          <a:xfrm>
            <a:off x="5537618" y="-3668"/>
            <a:ext cx="3618197" cy="6865335"/>
          </a:xfrm>
          <a:prstGeom prst="rect">
            <a:avLst/>
          </a:prstGeom>
          <a:ln w="12700">
            <a:miter lim="400000"/>
          </a:ln>
        </p:spPr>
      </p:pic>
      <p:sp>
        <p:nvSpPr>
          <p:cNvPr id="62" name="Shape 6680"/>
          <p:cNvSpPr txBox="1">
            <a:spLocks/>
          </p:cNvSpPr>
          <p:nvPr/>
        </p:nvSpPr>
        <p:spPr>
          <a:xfrm>
            <a:off x="744729" y="1294583"/>
            <a:ext cx="4459514" cy="433068"/>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sz="1800"/>
            </a:pPr>
            <a:r>
              <a:rPr lang="en-US" sz="1600" dirty="0">
                <a:latin typeface="Arial" panose="020B0604020202020204" pitchFamily="34" charset="0"/>
                <a:cs typeface="Arial" panose="020B0604020202020204" pitchFamily="34" charset="0"/>
              </a:rPr>
              <a:t>Bigger population in urban areas will demand more and better food</a:t>
            </a:r>
          </a:p>
        </p:txBody>
      </p:sp>
      <p:sp>
        <p:nvSpPr>
          <p:cNvPr id="69" name="Shape 6687"/>
          <p:cNvSpPr/>
          <p:nvPr/>
        </p:nvSpPr>
        <p:spPr>
          <a:xfrm>
            <a:off x="762833" y="1137546"/>
            <a:ext cx="4340000" cy="94894"/>
          </a:xfrm>
          <a:prstGeom prst="rect">
            <a:avLst/>
          </a:prstGeom>
          <a:solidFill>
            <a:srgbClr val="DCDFE1"/>
          </a:solidFill>
          <a:ln w="12700">
            <a:miter lim="400000"/>
          </a:ln>
        </p:spPr>
        <p:txBody>
          <a:bodyPr lIns="0" tIns="0" rIns="0" bIns="0" anchor="ctr"/>
          <a:lstStyle/>
          <a:p>
            <a:pPr lvl="0">
              <a:defRPr sz="3200"/>
            </a:pPr>
            <a:endParaRPr/>
          </a:p>
        </p:txBody>
      </p:sp>
      <p:sp>
        <p:nvSpPr>
          <p:cNvPr id="95" name="Shape 6713"/>
          <p:cNvSpPr/>
          <p:nvPr/>
        </p:nvSpPr>
        <p:spPr>
          <a:xfrm>
            <a:off x="5542679" y="1928537"/>
            <a:ext cx="71438" cy="754294"/>
          </a:xfrm>
          <a:prstGeom prst="rect">
            <a:avLst/>
          </a:prstGeom>
          <a:solidFill>
            <a:schemeClr val="accent1"/>
          </a:solidFill>
          <a:ln w="12700">
            <a:miter lim="400000"/>
          </a:ln>
        </p:spPr>
        <p:txBody>
          <a:bodyPr lIns="0" tIns="0" rIns="0" bIns="0" anchor="ctr"/>
          <a:lstStyle/>
          <a:p>
            <a:pPr lvl="0">
              <a:defRPr sz="3200"/>
            </a:pPr>
            <a:endParaRPr/>
          </a:p>
        </p:txBody>
      </p:sp>
      <p:sp>
        <p:nvSpPr>
          <p:cNvPr id="96" name="Shape 6714"/>
          <p:cNvSpPr/>
          <p:nvPr/>
        </p:nvSpPr>
        <p:spPr>
          <a:xfrm>
            <a:off x="5542679" y="2682830"/>
            <a:ext cx="71438" cy="754295"/>
          </a:xfrm>
          <a:prstGeom prst="rect">
            <a:avLst/>
          </a:prstGeom>
          <a:solidFill>
            <a:schemeClr val="accent2"/>
          </a:solidFill>
          <a:ln w="12700">
            <a:miter lim="400000"/>
          </a:ln>
        </p:spPr>
        <p:txBody>
          <a:bodyPr lIns="0" tIns="0" rIns="0" bIns="0" anchor="ctr"/>
          <a:lstStyle/>
          <a:p>
            <a:pPr lvl="0">
              <a:defRPr sz="3200"/>
            </a:pPr>
            <a:endParaRPr/>
          </a:p>
        </p:txBody>
      </p:sp>
      <p:sp>
        <p:nvSpPr>
          <p:cNvPr id="97" name="Shape 6715"/>
          <p:cNvSpPr/>
          <p:nvPr/>
        </p:nvSpPr>
        <p:spPr>
          <a:xfrm>
            <a:off x="5542679" y="3437124"/>
            <a:ext cx="71438" cy="754295"/>
          </a:xfrm>
          <a:prstGeom prst="rect">
            <a:avLst/>
          </a:prstGeom>
          <a:solidFill>
            <a:schemeClr val="accent3"/>
          </a:solidFill>
          <a:ln w="12700">
            <a:miter lim="400000"/>
          </a:ln>
        </p:spPr>
        <p:txBody>
          <a:bodyPr lIns="0" tIns="0" rIns="0" bIns="0" anchor="ctr"/>
          <a:lstStyle/>
          <a:p>
            <a:pPr lvl="0">
              <a:defRPr sz="3200"/>
            </a:pPr>
            <a:endParaRPr/>
          </a:p>
        </p:txBody>
      </p:sp>
      <p:sp>
        <p:nvSpPr>
          <p:cNvPr id="98" name="Shape 6716"/>
          <p:cNvSpPr/>
          <p:nvPr/>
        </p:nvSpPr>
        <p:spPr>
          <a:xfrm>
            <a:off x="5542679" y="4182265"/>
            <a:ext cx="71438" cy="754295"/>
          </a:xfrm>
          <a:prstGeom prst="rect">
            <a:avLst/>
          </a:prstGeom>
          <a:solidFill>
            <a:schemeClr val="accent4"/>
          </a:solidFill>
          <a:ln w="12700">
            <a:miter lim="400000"/>
          </a:ln>
        </p:spPr>
        <p:txBody>
          <a:bodyPr lIns="0" tIns="0" rIns="0" bIns="0" anchor="ctr"/>
          <a:lstStyle/>
          <a:p>
            <a:pPr lvl="0">
              <a:defRPr sz="3200"/>
            </a:pPr>
            <a:endParaRPr/>
          </a:p>
        </p:txBody>
      </p:sp>
      <p:sp>
        <p:nvSpPr>
          <p:cNvPr id="99" name="Shape 6717"/>
          <p:cNvSpPr/>
          <p:nvPr/>
        </p:nvSpPr>
        <p:spPr>
          <a:xfrm>
            <a:off x="5542679" y="4934673"/>
            <a:ext cx="71438" cy="754294"/>
          </a:xfrm>
          <a:prstGeom prst="rect">
            <a:avLst/>
          </a:prstGeom>
          <a:solidFill>
            <a:schemeClr val="accent5"/>
          </a:solidFill>
          <a:ln w="12700">
            <a:miter lim="400000"/>
          </a:ln>
        </p:spPr>
        <p:txBody>
          <a:bodyPr lIns="0" tIns="0" rIns="0" bIns="0" anchor="ctr"/>
          <a:lstStyle/>
          <a:p>
            <a:pPr lvl="0">
              <a:defRPr sz="3200"/>
            </a:pPr>
            <a:endParaRPr/>
          </a:p>
        </p:txBody>
      </p:sp>
      <p:sp>
        <p:nvSpPr>
          <p:cNvPr id="102" name="Shape 6720"/>
          <p:cNvSpPr/>
          <p:nvPr/>
        </p:nvSpPr>
        <p:spPr>
          <a:xfrm>
            <a:off x="3284398" y="5150535"/>
            <a:ext cx="1354696" cy="412065"/>
          </a:xfrm>
          <a:prstGeom prst="rect">
            <a:avLst/>
          </a:prstGeom>
          <a:ln w="12700">
            <a:miter lim="400000"/>
          </a:ln>
          <a:extLst>
            <a:ext uri="{C572A759-6A51-4108-AA02-DFA0A04FC94B}">
              <ma14:wrappingTextBoxFlag xmlns="" xmlns:ma14="http://schemas.microsoft.com/office/mac/drawingml/2011/main" val="1"/>
            </a:ext>
          </a:extLst>
        </p:spPr>
        <p:txBody>
          <a:bodyPr lIns="0" tIns="0" rIns="0" bIns="0">
            <a:spAutoFit/>
          </a:bodyPr>
          <a:lstStyle>
            <a:lvl1pPr>
              <a:lnSpc>
                <a:spcPct val="90000"/>
              </a:lnSpc>
              <a:defRPr sz="8500" b="1">
                <a:solidFill>
                  <a:srgbClr val="565F68"/>
                </a:solidFill>
                <a:latin typeface="BebasNeueBold"/>
                <a:ea typeface="BebasNeueBold"/>
                <a:cs typeface="BebasNeueBold"/>
                <a:sym typeface="BebasNeueBold"/>
              </a:defRPr>
            </a:lvl1pPr>
          </a:lstStyle>
          <a:p>
            <a:pPr lvl="0">
              <a:defRPr sz="1800" b="0">
                <a:solidFill>
                  <a:srgbClr val="000000"/>
                </a:solidFill>
              </a:defRPr>
            </a:pPr>
            <a:r>
              <a:rPr sz="3600" dirty="0"/>
              <a:t>36%</a:t>
            </a:r>
          </a:p>
        </p:txBody>
      </p:sp>
      <p:sp>
        <p:nvSpPr>
          <p:cNvPr id="104" name="Rectangle 103"/>
          <p:cNvSpPr/>
          <p:nvPr/>
        </p:nvSpPr>
        <p:spPr>
          <a:xfrm>
            <a:off x="717144" y="491215"/>
            <a:ext cx="4500912" cy="646331"/>
          </a:xfrm>
          <a:prstGeom prst="rect">
            <a:avLst/>
          </a:prstGeom>
        </p:spPr>
        <p:txBody>
          <a:bodyPr wrap="none">
            <a:spAutoFit/>
          </a:bodyPr>
          <a:lstStyle/>
          <a:p>
            <a:r>
              <a:rPr lang="es-ES" sz="3600" dirty="0" smtClean="0">
                <a:solidFill>
                  <a:srgbClr val="000000"/>
                </a:solidFill>
                <a:cs typeface="Arial" pitchFamily="34" charset="0"/>
              </a:rPr>
              <a:t>POPULATION GROWTH</a:t>
            </a:r>
            <a:endParaRPr lang="en-US" sz="3600" dirty="0"/>
          </a:p>
        </p:txBody>
      </p:sp>
      <p:pic>
        <p:nvPicPr>
          <p:cNvPr id="107" name="Picture 10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9270" y="1971887"/>
            <a:ext cx="4351020" cy="4267200"/>
          </a:xfrm>
          <a:prstGeom prst="rect">
            <a:avLst/>
          </a:prstGeom>
        </p:spPr>
      </p:pic>
      <p:sp>
        <p:nvSpPr>
          <p:cNvPr id="108" name="Rectangle 107"/>
          <p:cNvSpPr/>
          <p:nvPr/>
        </p:nvSpPr>
        <p:spPr>
          <a:xfrm>
            <a:off x="5795395" y="1353542"/>
            <a:ext cx="2913326" cy="923330"/>
          </a:xfrm>
          <a:prstGeom prst="rect">
            <a:avLst/>
          </a:prstGeom>
        </p:spPr>
        <p:txBody>
          <a:bodyPr wrap="square">
            <a:spAutoFit/>
          </a:bodyPr>
          <a:lstStyle/>
          <a:p>
            <a:pPr algn="ctr"/>
            <a:r>
              <a:rPr lang="en-US" b="1" dirty="0">
                <a:solidFill>
                  <a:schemeClr val="bg1"/>
                </a:solidFill>
                <a:latin typeface="Arial" panose="020B0604020202020204" pitchFamily="34" charset="0"/>
                <a:cs typeface="Arial" panose="020B0604020202020204" pitchFamily="34" charset="0"/>
              </a:rPr>
              <a:t>Change in population by region  2010-2100 (millions)</a:t>
            </a:r>
          </a:p>
        </p:txBody>
      </p:sp>
      <p:sp>
        <p:nvSpPr>
          <p:cNvPr id="220" name="Shape 5738"/>
          <p:cNvSpPr/>
          <p:nvPr/>
        </p:nvSpPr>
        <p:spPr>
          <a:xfrm>
            <a:off x="5614117" y="2574776"/>
            <a:ext cx="3672408" cy="1945506"/>
          </a:xfrm>
          <a:custGeom>
            <a:avLst/>
            <a:gdLst/>
            <a:ahLst/>
            <a:cxnLst>
              <a:cxn ang="0">
                <a:pos x="wd2" y="hd2"/>
              </a:cxn>
              <a:cxn ang="5400000">
                <a:pos x="wd2" y="hd2"/>
              </a:cxn>
              <a:cxn ang="10800000">
                <a:pos x="wd2" y="hd2"/>
              </a:cxn>
              <a:cxn ang="16200000">
                <a:pos x="wd2" y="hd2"/>
              </a:cxn>
            </a:cxnLst>
            <a:rect l="0" t="0" r="r" b="b"/>
            <a:pathLst>
              <a:path w="21600" h="21600" extrusionOk="0">
                <a:moveTo>
                  <a:pt x="5130" y="21374"/>
                </a:moveTo>
                <a:cubicBezTo>
                  <a:pt x="5100" y="21374"/>
                  <a:pt x="5076" y="21424"/>
                  <a:pt x="5076" y="21487"/>
                </a:cubicBezTo>
                <a:cubicBezTo>
                  <a:pt x="5076" y="21549"/>
                  <a:pt x="5100" y="21600"/>
                  <a:pt x="5130" y="21600"/>
                </a:cubicBezTo>
                <a:cubicBezTo>
                  <a:pt x="5159" y="21600"/>
                  <a:pt x="5183" y="21549"/>
                  <a:pt x="5183" y="21487"/>
                </a:cubicBezTo>
                <a:cubicBezTo>
                  <a:pt x="5183" y="21424"/>
                  <a:pt x="5159" y="21374"/>
                  <a:pt x="5130" y="21374"/>
                </a:cubicBezTo>
                <a:close/>
                <a:moveTo>
                  <a:pt x="4976" y="21374"/>
                </a:moveTo>
                <a:cubicBezTo>
                  <a:pt x="4946" y="21374"/>
                  <a:pt x="4922" y="21424"/>
                  <a:pt x="4922" y="21487"/>
                </a:cubicBezTo>
                <a:cubicBezTo>
                  <a:pt x="4922" y="21549"/>
                  <a:pt x="4946" y="21600"/>
                  <a:pt x="4976" y="21600"/>
                </a:cubicBezTo>
                <a:cubicBezTo>
                  <a:pt x="5005" y="21600"/>
                  <a:pt x="5029" y="21549"/>
                  <a:pt x="5029" y="21487"/>
                </a:cubicBezTo>
                <a:cubicBezTo>
                  <a:pt x="5029" y="21424"/>
                  <a:pt x="5005" y="21374"/>
                  <a:pt x="4976" y="21374"/>
                </a:cubicBezTo>
                <a:close/>
                <a:moveTo>
                  <a:pt x="4976" y="20393"/>
                </a:moveTo>
                <a:cubicBezTo>
                  <a:pt x="4946" y="20393"/>
                  <a:pt x="4922" y="20444"/>
                  <a:pt x="4922" y="20506"/>
                </a:cubicBezTo>
                <a:cubicBezTo>
                  <a:pt x="4922" y="20569"/>
                  <a:pt x="4946" y="20619"/>
                  <a:pt x="4976" y="20619"/>
                </a:cubicBezTo>
                <a:cubicBezTo>
                  <a:pt x="5005" y="20619"/>
                  <a:pt x="5029" y="20569"/>
                  <a:pt x="5029" y="20506"/>
                </a:cubicBezTo>
                <a:cubicBezTo>
                  <a:pt x="5029" y="20444"/>
                  <a:pt x="5005" y="20393"/>
                  <a:pt x="4976" y="20393"/>
                </a:cubicBezTo>
                <a:close/>
                <a:moveTo>
                  <a:pt x="4823" y="20998"/>
                </a:moveTo>
                <a:cubicBezTo>
                  <a:pt x="4793" y="20998"/>
                  <a:pt x="4769" y="21049"/>
                  <a:pt x="4769" y="21111"/>
                </a:cubicBezTo>
                <a:cubicBezTo>
                  <a:pt x="4769" y="21174"/>
                  <a:pt x="4793" y="21224"/>
                  <a:pt x="4823" y="21224"/>
                </a:cubicBezTo>
                <a:cubicBezTo>
                  <a:pt x="4853" y="21224"/>
                  <a:pt x="4877" y="21174"/>
                  <a:pt x="4877" y="21111"/>
                </a:cubicBezTo>
                <a:cubicBezTo>
                  <a:pt x="4877" y="21049"/>
                  <a:pt x="4853" y="20998"/>
                  <a:pt x="4823" y="20998"/>
                </a:cubicBezTo>
                <a:close/>
                <a:moveTo>
                  <a:pt x="4823" y="20694"/>
                </a:moveTo>
                <a:cubicBezTo>
                  <a:pt x="4793" y="20694"/>
                  <a:pt x="4769" y="20745"/>
                  <a:pt x="4769" y="20807"/>
                </a:cubicBezTo>
                <a:cubicBezTo>
                  <a:pt x="4769" y="20870"/>
                  <a:pt x="4793" y="20920"/>
                  <a:pt x="4823" y="20920"/>
                </a:cubicBezTo>
                <a:cubicBezTo>
                  <a:pt x="4853" y="20920"/>
                  <a:pt x="4877" y="20870"/>
                  <a:pt x="4877" y="20807"/>
                </a:cubicBezTo>
                <a:cubicBezTo>
                  <a:pt x="4877" y="20745"/>
                  <a:pt x="4853" y="20694"/>
                  <a:pt x="4823" y="20694"/>
                </a:cubicBezTo>
                <a:close/>
                <a:moveTo>
                  <a:pt x="4668" y="20673"/>
                </a:moveTo>
                <a:cubicBezTo>
                  <a:pt x="4638" y="20673"/>
                  <a:pt x="4614" y="20724"/>
                  <a:pt x="4614" y="20787"/>
                </a:cubicBezTo>
                <a:cubicBezTo>
                  <a:pt x="4614" y="20849"/>
                  <a:pt x="4638" y="20900"/>
                  <a:pt x="4668" y="20900"/>
                </a:cubicBezTo>
                <a:cubicBezTo>
                  <a:pt x="4698" y="20900"/>
                  <a:pt x="4722" y="20849"/>
                  <a:pt x="4722" y="20787"/>
                </a:cubicBezTo>
                <a:cubicBezTo>
                  <a:pt x="4722" y="20724"/>
                  <a:pt x="4698" y="20673"/>
                  <a:pt x="4668" y="20673"/>
                </a:cubicBezTo>
                <a:close/>
                <a:moveTo>
                  <a:pt x="4823" y="20372"/>
                </a:moveTo>
                <a:cubicBezTo>
                  <a:pt x="4793" y="20372"/>
                  <a:pt x="4769" y="20423"/>
                  <a:pt x="4769" y="20485"/>
                </a:cubicBezTo>
                <a:cubicBezTo>
                  <a:pt x="4769" y="20548"/>
                  <a:pt x="4793" y="20599"/>
                  <a:pt x="4823" y="20599"/>
                </a:cubicBezTo>
                <a:cubicBezTo>
                  <a:pt x="4853" y="20599"/>
                  <a:pt x="4877" y="20548"/>
                  <a:pt x="4877" y="20485"/>
                </a:cubicBezTo>
                <a:cubicBezTo>
                  <a:pt x="4877" y="20423"/>
                  <a:pt x="4853" y="20372"/>
                  <a:pt x="4823" y="20372"/>
                </a:cubicBezTo>
                <a:close/>
                <a:moveTo>
                  <a:pt x="4823" y="20068"/>
                </a:moveTo>
                <a:cubicBezTo>
                  <a:pt x="4793" y="20068"/>
                  <a:pt x="4769" y="20119"/>
                  <a:pt x="4769" y="20182"/>
                </a:cubicBezTo>
                <a:cubicBezTo>
                  <a:pt x="4769" y="20244"/>
                  <a:pt x="4793" y="20295"/>
                  <a:pt x="4823" y="20295"/>
                </a:cubicBezTo>
                <a:cubicBezTo>
                  <a:pt x="4853" y="20295"/>
                  <a:pt x="4877" y="20244"/>
                  <a:pt x="4877" y="20182"/>
                </a:cubicBezTo>
                <a:cubicBezTo>
                  <a:pt x="4877" y="20119"/>
                  <a:pt x="4853" y="20068"/>
                  <a:pt x="4823" y="20068"/>
                </a:cubicBezTo>
                <a:close/>
                <a:moveTo>
                  <a:pt x="4823" y="19742"/>
                </a:moveTo>
                <a:cubicBezTo>
                  <a:pt x="4793" y="19742"/>
                  <a:pt x="4769" y="19792"/>
                  <a:pt x="4769" y="19855"/>
                </a:cubicBezTo>
                <a:cubicBezTo>
                  <a:pt x="4769" y="19917"/>
                  <a:pt x="4793" y="19968"/>
                  <a:pt x="4823" y="19968"/>
                </a:cubicBezTo>
                <a:cubicBezTo>
                  <a:pt x="4853" y="19968"/>
                  <a:pt x="4877" y="19917"/>
                  <a:pt x="4877" y="19855"/>
                </a:cubicBezTo>
                <a:cubicBezTo>
                  <a:pt x="4877" y="19792"/>
                  <a:pt x="4853" y="19742"/>
                  <a:pt x="4823" y="19742"/>
                </a:cubicBezTo>
                <a:close/>
                <a:moveTo>
                  <a:pt x="4355" y="18990"/>
                </a:moveTo>
                <a:cubicBezTo>
                  <a:pt x="4385" y="18990"/>
                  <a:pt x="4409" y="18939"/>
                  <a:pt x="4409" y="18877"/>
                </a:cubicBezTo>
                <a:cubicBezTo>
                  <a:pt x="4409" y="18814"/>
                  <a:pt x="4385" y="18764"/>
                  <a:pt x="4355" y="18764"/>
                </a:cubicBezTo>
                <a:cubicBezTo>
                  <a:pt x="4326" y="18764"/>
                  <a:pt x="4302" y="18814"/>
                  <a:pt x="4302" y="18877"/>
                </a:cubicBezTo>
                <a:cubicBezTo>
                  <a:pt x="4302" y="18939"/>
                  <a:pt x="4326" y="18990"/>
                  <a:pt x="4355" y="18990"/>
                </a:cubicBezTo>
                <a:close/>
                <a:moveTo>
                  <a:pt x="4678" y="19415"/>
                </a:moveTo>
                <a:cubicBezTo>
                  <a:pt x="4649" y="19415"/>
                  <a:pt x="4625" y="19465"/>
                  <a:pt x="4625" y="19528"/>
                </a:cubicBezTo>
                <a:cubicBezTo>
                  <a:pt x="4625" y="19590"/>
                  <a:pt x="4649" y="19641"/>
                  <a:pt x="4678" y="19641"/>
                </a:cubicBezTo>
                <a:cubicBezTo>
                  <a:pt x="4708" y="19641"/>
                  <a:pt x="4732" y="19590"/>
                  <a:pt x="4732" y="19528"/>
                </a:cubicBezTo>
                <a:cubicBezTo>
                  <a:pt x="4732" y="19465"/>
                  <a:pt x="4708" y="19415"/>
                  <a:pt x="4678" y="19415"/>
                </a:cubicBezTo>
                <a:close/>
                <a:moveTo>
                  <a:pt x="4823" y="19415"/>
                </a:moveTo>
                <a:cubicBezTo>
                  <a:pt x="4793" y="19415"/>
                  <a:pt x="4769" y="19465"/>
                  <a:pt x="4769" y="19528"/>
                </a:cubicBezTo>
                <a:cubicBezTo>
                  <a:pt x="4769" y="19590"/>
                  <a:pt x="4793" y="19641"/>
                  <a:pt x="4823" y="19641"/>
                </a:cubicBezTo>
                <a:cubicBezTo>
                  <a:pt x="4853" y="19641"/>
                  <a:pt x="4877" y="19590"/>
                  <a:pt x="4877" y="19528"/>
                </a:cubicBezTo>
                <a:cubicBezTo>
                  <a:pt x="4877" y="19465"/>
                  <a:pt x="4853" y="19415"/>
                  <a:pt x="4823" y="19415"/>
                </a:cubicBezTo>
                <a:close/>
                <a:moveTo>
                  <a:pt x="4357" y="19088"/>
                </a:moveTo>
                <a:cubicBezTo>
                  <a:pt x="4328" y="19088"/>
                  <a:pt x="4304" y="19139"/>
                  <a:pt x="4304" y="19201"/>
                </a:cubicBezTo>
                <a:cubicBezTo>
                  <a:pt x="4304" y="19263"/>
                  <a:pt x="4328" y="19314"/>
                  <a:pt x="4357" y="19314"/>
                </a:cubicBezTo>
                <a:cubicBezTo>
                  <a:pt x="4387" y="19314"/>
                  <a:pt x="4411" y="19263"/>
                  <a:pt x="4411" y="19201"/>
                </a:cubicBezTo>
                <a:cubicBezTo>
                  <a:pt x="4411" y="19139"/>
                  <a:pt x="4387" y="19088"/>
                  <a:pt x="4357" y="19088"/>
                </a:cubicBezTo>
                <a:close/>
                <a:moveTo>
                  <a:pt x="4663" y="20584"/>
                </a:moveTo>
                <a:cubicBezTo>
                  <a:pt x="4693" y="20584"/>
                  <a:pt x="4717" y="20533"/>
                  <a:pt x="4717" y="20471"/>
                </a:cubicBezTo>
                <a:cubicBezTo>
                  <a:pt x="4717" y="20408"/>
                  <a:pt x="4693" y="20358"/>
                  <a:pt x="4663" y="20358"/>
                </a:cubicBezTo>
                <a:cubicBezTo>
                  <a:pt x="4633" y="20358"/>
                  <a:pt x="4609" y="20408"/>
                  <a:pt x="4609" y="20471"/>
                </a:cubicBezTo>
                <a:cubicBezTo>
                  <a:pt x="4609" y="20533"/>
                  <a:pt x="4633" y="20584"/>
                  <a:pt x="4663" y="20584"/>
                </a:cubicBezTo>
                <a:close/>
                <a:moveTo>
                  <a:pt x="4510" y="20358"/>
                </a:moveTo>
                <a:cubicBezTo>
                  <a:pt x="4481" y="20358"/>
                  <a:pt x="4457" y="20408"/>
                  <a:pt x="4457" y="20471"/>
                </a:cubicBezTo>
                <a:cubicBezTo>
                  <a:pt x="4457" y="20533"/>
                  <a:pt x="4481" y="20584"/>
                  <a:pt x="4510" y="20584"/>
                </a:cubicBezTo>
                <a:cubicBezTo>
                  <a:pt x="4540" y="20584"/>
                  <a:pt x="4564" y="20533"/>
                  <a:pt x="4564" y="20471"/>
                </a:cubicBezTo>
                <a:cubicBezTo>
                  <a:pt x="4564" y="20408"/>
                  <a:pt x="4540" y="20358"/>
                  <a:pt x="4510" y="20358"/>
                </a:cubicBezTo>
                <a:close/>
                <a:moveTo>
                  <a:pt x="4668" y="20048"/>
                </a:moveTo>
                <a:cubicBezTo>
                  <a:pt x="4638" y="20048"/>
                  <a:pt x="4614" y="20099"/>
                  <a:pt x="4614" y="20161"/>
                </a:cubicBezTo>
                <a:cubicBezTo>
                  <a:pt x="4614" y="20224"/>
                  <a:pt x="4638" y="20274"/>
                  <a:pt x="4668" y="20274"/>
                </a:cubicBezTo>
                <a:cubicBezTo>
                  <a:pt x="4698" y="20274"/>
                  <a:pt x="4722" y="20224"/>
                  <a:pt x="4722" y="20161"/>
                </a:cubicBezTo>
                <a:cubicBezTo>
                  <a:pt x="4722" y="20099"/>
                  <a:pt x="4698" y="20048"/>
                  <a:pt x="4668" y="20048"/>
                </a:cubicBezTo>
                <a:close/>
                <a:moveTo>
                  <a:pt x="4668" y="19947"/>
                </a:moveTo>
                <a:cubicBezTo>
                  <a:pt x="4698" y="19947"/>
                  <a:pt x="4722" y="19897"/>
                  <a:pt x="4722" y="19834"/>
                </a:cubicBezTo>
                <a:cubicBezTo>
                  <a:pt x="4722" y="19772"/>
                  <a:pt x="4698" y="19721"/>
                  <a:pt x="4668" y="19721"/>
                </a:cubicBezTo>
                <a:cubicBezTo>
                  <a:pt x="4638" y="19721"/>
                  <a:pt x="4614" y="19772"/>
                  <a:pt x="4614" y="19834"/>
                </a:cubicBezTo>
                <a:cubicBezTo>
                  <a:pt x="4614" y="19897"/>
                  <a:pt x="4638" y="19947"/>
                  <a:pt x="4668" y="19947"/>
                </a:cubicBezTo>
                <a:close/>
                <a:moveTo>
                  <a:pt x="4510" y="20048"/>
                </a:moveTo>
                <a:cubicBezTo>
                  <a:pt x="4481" y="20048"/>
                  <a:pt x="4457" y="20099"/>
                  <a:pt x="4457" y="20161"/>
                </a:cubicBezTo>
                <a:cubicBezTo>
                  <a:pt x="4457" y="20224"/>
                  <a:pt x="4481" y="20274"/>
                  <a:pt x="4510" y="20274"/>
                </a:cubicBezTo>
                <a:cubicBezTo>
                  <a:pt x="4540" y="20274"/>
                  <a:pt x="4564" y="20224"/>
                  <a:pt x="4564" y="20161"/>
                </a:cubicBezTo>
                <a:cubicBezTo>
                  <a:pt x="4564" y="20099"/>
                  <a:pt x="4540" y="20048"/>
                  <a:pt x="4510" y="20048"/>
                </a:cubicBezTo>
                <a:close/>
                <a:moveTo>
                  <a:pt x="4510" y="19947"/>
                </a:moveTo>
                <a:cubicBezTo>
                  <a:pt x="4540" y="19947"/>
                  <a:pt x="4564" y="19897"/>
                  <a:pt x="4564" y="19834"/>
                </a:cubicBezTo>
                <a:cubicBezTo>
                  <a:pt x="4564" y="19772"/>
                  <a:pt x="4540" y="19721"/>
                  <a:pt x="4510" y="19721"/>
                </a:cubicBezTo>
                <a:cubicBezTo>
                  <a:pt x="4480" y="19721"/>
                  <a:pt x="4456" y="19772"/>
                  <a:pt x="4456" y="19834"/>
                </a:cubicBezTo>
                <a:cubicBezTo>
                  <a:pt x="4456" y="19897"/>
                  <a:pt x="4480" y="19947"/>
                  <a:pt x="4510" y="19947"/>
                </a:cubicBezTo>
                <a:close/>
                <a:moveTo>
                  <a:pt x="4510" y="19620"/>
                </a:moveTo>
                <a:cubicBezTo>
                  <a:pt x="4540" y="19620"/>
                  <a:pt x="4564" y="19570"/>
                  <a:pt x="4564" y="19507"/>
                </a:cubicBezTo>
                <a:cubicBezTo>
                  <a:pt x="4564" y="19445"/>
                  <a:pt x="4540" y="19394"/>
                  <a:pt x="4510" y="19394"/>
                </a:cubicBezTo>
                <a:cubicBezTo>
                  <a:pt x="4480" y="19394"/>
                  <a:pt x="4456" y="19445"/>
                  <a:pt x="4456" y="19507"/>
                </a:cubicBezTo>
                <a:cubicBezTo>
                  <a:pt x="4456" y="19570"/>
                  <a:pt x="4480" y="19620"/>
                  <a:pt x="4510" y="19620"/>
                </a:cubicBezTo>
                <a:close/>
                <a:moveTo>
                  <a:pt x="4510" y="19088"/>
                </a:moveTo>
                <a:cubicBezTo>
                  <a:pt x="4481" y="19088"/>
                  <a:pt x="4457" y="19139"/>
                  <a:pt x="4457" y="19201"/>
                </a:cubicBezTo>
                <a:cubicBezTo>
                  <a:pt x="4457" y="19263"/>
                  <a:pt x="4481" y="19314"/>
                  <a:pt x="4510" y="19314"/>
                </a:cubicBezTo>
                <a:cubicBezTo>
                  <a:pt x="4540" y="19314"/>
                  <a:pt x="4564" y="19263"/>
                  <a:pt x="4564" y="19201"/>
                </a:cubicBezTo>
                <a:cubicBezTo>
                  <a:pt x="4564" y="19139"/>
                  <a:pt x="4540" y="19088"/>
                  <a:pt x="4510" y="19088"/>
                </a:cubicBezTo>
                <a:close/>
                <a:moveTo>
                  <a:pt x="4663" y="19004"/>
                </a:moveTo>
                <a:cubicBezTo>
                  <a:pt x="4693" y="19004"/>
                  <a:pt x="4717" y="18954"/>
                  <a:pt x="4717" y="18891"/>
                </a:cubicBezTo>
                <a:cubicBezTo>
                  <a:pt x="4717" y="18829"/>
                  <a:pt x="4693" y="18778"/>
                  <a:pt x="4663" y="18778"/>
                </a:cubicBezTo>
                <a:cubicBezTo>
                  <a:pt x="4633" y="18778"/>
                  <a:pt x="4609" y="18829"/>
                  <a:pt x="4609" y="18891"/>
                </a:cubicBezTo>
                <a:cubicBezTo>
                  <a:pt x="4609" y="18954"/>
                  <a:pt x="4633" y="19004"/>
                  <a:pt x="4663" y="19004"/>
                </a:cubicBezTo>
                <a:close/>
                <a:moveTo>
                  <a:pt x="4510" y="18778"/>
                </a:moveTo>
                <a:cubicBezTo>
                  <a:pt x="4481" y="18778"/>
                  <a:pt x="4457" y="18829"/>
                  <a:pt x="4457" y="18891"/>
                </a:cubicBezTo>
                <a:cubicBezTo>
                  <a:pt x="4457" y="18954"/>
                  <a:pt x="4481" y="19004"/>
                  <a:pt x="4510" y="19004"/>
                </a:cubicBezTo>
                <a:cubicBezTo>
                  <a:pt x="4540" y="19004"/>
                  <a:pt x="4564" y="18954"/>
                  <a:pt x="4564" y="18891"/>
                </a:cubicBezTo>
                <a:cubicBezTo>
                  <a:pt x="4564" y="18829"/>
                  <a:pt x="4540" y="18778"/>
                  <a:pt x="4510" y="18778"/>
                </a:cubicBezTo>
                <a:close/>
                <a:moveTo>
                  <a:pt x="4668" y="19088"/>
                </a:moveTo>
                <a:cubicBezTo>
                  <a:pt x="4638" y="19088"/>
                  <a:pt x="4614" y="19139"/>
                  <a:pt x="4614" y="19201"/>
                </a:cubicBezTo>
                <a:cubicBezTo>
                  <a:pt x="4614" y="19263"/>
                  <a:pt x="4638" y="19314"/>
                  <a:pt x="4668" y="19314"/>
                </a:cubicBezTo>
                <a:cubicBezTo>
                  <a:pt x="4698" y="19314"/>
                  <a:pt x="4722" y="19263"/>
                  <a:pt x="4722" y="19201"/>
                </a:cubicBezTo>
                <a:cubicBezTo>
                  <a:pt x="4722" y="19139"/>
                  <a:pt x="4698" y="19088"/>
                  <a:pt x="4668" y="19088"/>
                </a:cubicBezTo>
                <a:close/>
                <a:moveTo>
                  <a:pt x="4823" y="19088"/>
                </a:moveTo>
                <a:cubicBezTo>
                  <a:pt x="4793" y="19088"/>
                  <a:pt x="4769" y="19139"/>
                  <a:pt x="4769" y="19201"/>
                </a:cubicBezTo>
                <a:cubicBezTo>
                  <a:pt x="4769" y="19263"/>
                  <a:pt x="4793" y="19314"/>
                  <a:pt x="4823" y="19314"/>
                </a:cubicBezTo>
                <a:cubicBezTo>
                  <a:pt x="4853" y="19314"/>
                  <a:pt x="4877" y="19263"/>
                  <a:pt x="4877" y="19201"/>
                </a:cubicBezTo>
                <a:cubicBezTo>
                  <a:pt x="4877" y="19139"/>
                  <a:pt x="4853" y="19088"/>
                  <a:pt x="4823" y="19088"/>
                </a:cubicBezTo>
                <a:close/>
                <a:moveTo>
                  <a:pt x="5130" y="18778"/>
                </a:moveTo>
                <a:cubicBezTo>
                  <a:pt x="5100" y="18778"/>
                  <a:pt x="5076" y="18829"/>
                  <a:pt x="5076" y="18891"/>
                </a:cubicBezTo>
                <a:cubicBezTo>
                  <a:pt x="5076" y="18954"/>
                  <a:pt x="5100" y="19004"/>
                  <a:pt x="5130" y="19004"/>
                </a:cubicBezTo>
                <a:cubicBezTo>
                  <a:pt x="5159" y="19004"/>
                  <a:pt x="5183" y="18954"/>
                  <a:pt x="5183" y="18891"/>
                </a:cubicBezTo>
                <a:cubicBezTo>
                  <a:pt x="5183" y="18829"/>
                  <a:pt x="5159" y="18778"/>
                  <a:pt x="5130" y="18778"/>
                </a:cubicBezTo>
                <a:close/>
                <a:moveTo>
                  <a:pt x="4664" y="18678"/>
                </a:moveTo>
                <a:cubicBezTo>
                  <a:pt x="4694" y="18678"/>
                  <a:pt x="4718" y="18627"/>
                  <a:pt x="4718" y="18564"/>
                </a:cubicBezTo>
                <a:cubicBezTo>
                  <a:pt x="4718" y="18502"/>
                  <a:pt x="4694" y="18451"/>
                  <a:pt x="4664" y="18451"/>
                </a:cubicBezTo>
                <a:cubicBezTo>
                  <a:pt x="4634" y="18451"/>
                  <a:pt x="4610" y="18502"/>
                  <a:pt x="4610" y="18564"/>
                </a:cubicBezTo>
                <a:cubicBezTo>
                  <a:pt x="4610" y="18627"/>
                  <a:pt x="4634" y="18678"/>
                  <a:pt x="4664" y="18678"/>
                </a:cubicBezTo>
                <a:close/>
                <a:moveTo>
                  <a:pt x="4510" y="18451"/>
                </a:moveTo>
                <a:cubicBezTo>
                  <a:pt x="4480" y="18451"/>
                  <a:pt x="4456" y="18502"/>
                  <a:pt x="4456" y="18564"/>
                </a:cubicBezTo>
                <a:cubicBezTo>
                  <a:pt x="4456" y="18627"/>
                  <a:pt x="4480" y="18678"/>
                  <a:pt x="4510" y="18678"/>
                </a:cubicBezTo>
                <a:cubicBezTo>
                  <a:pt x="4540" y="18678"/>
                  <a:pt x="4564" y="18627"/>
                  <a:pt x="4564" y="18564"/>
                </a:cubicBezTo>
                <a:cubicBezTo>
                  <a:pt x="4564" y="18502"/>
                  <a:pt x="4540" y="18451"/>
                  <a:pt x="4510" y="18451"/>
                </a:cubicBezTo>
                <a:close/>
                <a:moveTo>
                  <a:pt x="4357" y="18451"/>
                </a:moveTo>
                <a:cubicBezTo>
                  <a:pt x="4328" y="18451"/>
                  <a:pt x="4304" y="18502"/>
                  <a:pt x="4304" y="18564"/>
                </a:cubicBezTo>
                <a:cubicBezTo>
                  <a:pt x="4304" y="18627"/>
                  <a:pt x="4328" y="18678"/>
                  <a:pt x="4357" y="18678"/>
                </a:cubicBezTo>
                <a:cubicBezTo>
                  <a:pt x="4387" y="18678"/>
                  <a:pt x="4411" y="18627"/>
                  <a:pt x="4411" y="18564"/>
                </a:cubicBezTo>
                <a:cubicBezTo>
                  <a:pt x="4411" y="18502"/>
                  <a:pt x="4387" y="18451"/>
                  <a:pt x="4357" y="18451"/>
                </a:cubicBezTo>
                <a:close/>
                <a:moveTo>
                  <a:pt x="4610" y="18237"/>
                </a:moveTo>
                <a:cubicBezTo>
                  <a:pt x="4610" y="18300"/>
                  <a:pt x="4634" y="18351"/>
                  <a:pt x="4664" y="18351"/>
                </a:cubicBezTo>
                <a:cubicBezTo>
                  <a:pt x="4694" y="18351"/>
                  <a:pt x="4718" y="18300"/>
                  <a:pt x="4718" y="18237"/>
                </a:cubicBezTo>
                <a:cubicBezTo>
                  <a:pt x="4718" y="18175"/>
                  <a:pt x="4694" y="18124"/>
                  <a:pt x="4664" y="18124"/>
                </a:cubicBezTo>
                <a:cubicBezTo>
                  <a:pt x="4634" y="18124"/>
                  <a:pt x="4610" y="18175"/>
                  <a:pt x="4610" y="18237"/>
                </a:cubicBezTo>
                <a:close/>
                <a:moveTo>
                  <a:pt x="4510" y="18124"/>
                </a:moveTo>
                <a:cubicBezTo>
                  <a:pt x="4480" y="18124"/>
                  <a:pt x="4456" y="18175"/>
                  <a:pt x="4456" y="18237"/>
                </a:cubicBezTo>
                <a:cubicBezTo>
                  <a:pt x="4456" y="18300"/>
                  <a:pt x="4480" y="18351"/>
                  <a:pt x="4510" y="18351"/>
                </a:cubicBezTo>
                <a:cubicBezTo>
                  <a:pt x="4540" y="18351"/>
                  <a:pt x="4564" y="18300"/>
                  <a:pt x="4564" y="18237"/>
                </a:cubicBezTo>
                <a:cubicBezTo>
                  <a:pt x="4564" y="18175"/>
                  <a:pt x="4540" y="18124"/>
                  <a:pt x="4510" y="18124"/>
                </a:cubicBezTo>
                <a:close/>
                <a:moveTo>
                  <a:pt x="4357" y="18124"/>
                </a:moveTo>
                <a:cubicBezTo>
                  <a:pt x="4328" y="18124"/>
                  <a:pt x="4304" y="18175"/>
                  <a:pt x="4304" y="18237"/>
                </a:cubicBezTo>
                <a:cubicBezTo>
                  <a:pt x="4304" y="18300"/>
                  <a:pt x="4328" y="18351"/>
                  <a:pt x="4357" y="18351"/>
                </a:cubicBezTo>
                <a:cubicBezTo>
                  <a:pt x="4387" y="18351"/>
                  <a:pt x="4411" y="18300"/>
                  <a:pt x="4411" y="18237"/>
                </a:cubicBezTo>
                <a:cubicBezTo>
                  <a:pt x="4411" y="18175"/>
                  <a:pt x="4387" y="18124"/>
                  <a:pt x="4357" y="18124"/>
                </a:cubicBezTo>
                <a:close/>
                <a:moveTo>
                  <a:pt x="4664" y="17797"/>
                </a:moveTo>
                <a:cubicBezTo>
                  <a:pt x="4634" y="17797"/>
                  <a:pt x="4610" y="17848"/>
                  <a:pt x="4610" y="17911"/>
                </a:cubicBezTo>
                <a:cubicBezTo>
                  <a:pt x="4610" y="17973"/>
                  <a:pt x="4634" y="18024"/>
                  <a:pt x="4664" y="18024"/>
                </a:cubicBezTo>
                <a:cubicBezTo>
                  <a:pt x="4694" y="18024"/>
                  <a:pt x="4718" y="17973"/>
                  <a:pt x="4718" y="17911"/>
                </a:cubicBezTo>
                <a:cubicBezTo>
                  <a:pt x="4718" y="17848"/>
                  <a:pt x="4694" y="17797"/>
                  <a:pt x="4664" y="17797"/>
                </a:cubicBezTo>
                <a:close/>
                <a:moveTo>
                  <a:pt x="4510" y="18024"/>
                </a:moveTo>
                <a:cubicBezTo>
                  <a:pt x="4540" y="18024"/>
                  <a:pt x="4564" y="17973"/>
                  <a:pt x="4564" y="17911"/>
                </a:cubicBezTo>
                <a:cubicBezTo>
                  <a:pt x="4564" y="17848"/>
                  <a:pt x="4540" y="17797"/>
                  <a:pt x="4510" y="17797"/>
                </a:cubicBezTo>
                <a:cubicBezTo>
                  <a:pt x="4480" y="17797"/>
                  <a:pt x="4456" y="17848"/>
                  <a:pt x="4456" y="17911"/>
                </a:cubicBezTo>
                <a:cubicBezTo>
                  <a:pt x="4456" y="17973"/>
                  <a:pt x="4480" y="18024"/>
                  <a:pt x="4510" y="18024"/>
                </a:cubicBezTo>
                <a:close/>
                <a:moveTo>
                  <a:pt x="4357" y="18024"/>
                </a:moveTo>
                <a:cubicBezTo>
                  <a:pt x="4387" y="18024"/>
                  <a:pt x="4411" y="17973"/>
                  <a:pt x="4411" y="17911"/>
                </a:cubicBezTo>
                <a:cubicBezTo>
                  <a:pt x="4411" y="17848"/>
                  <a:pt x="4387" y="17797"/>
                  <a:pt x="4357" y="17797"/>
                </a:cubicBezTo>
                <a:cubicBezTo>
                  <a:pt x="4328" y="17797"/>
                  <a:pt x="4304" y="17848"/>
                  <a:pt x="4304" y="17911"/>
                </a:cubicBezTo>
                <a:cubicBezTo>
                  <a:pt x="4304" y="17973"/>
                  <a:pt x="4328" y="18024"/>
                  <a:pt x="4357" y="18024"/>
                </a:cubicBezTo>
                <a:close/>
                <a:moveTo>
                  <a:pt x="5130" y="18451"/>
                </a:moveTo>
                <a:cubicBezTo>
                  <a:pt x="5100" y="18451"/>
                  <a:pt x="5076" y="18502"/>
                  <a:pt x="5076" y="18564"/>
                </a:cubicBezTo>
                <a:cubicBezTo>
                  <a:pt x="5076" y="18627"/>
                  <a:pt x="5100" y="18678"/>
                  <a:pt x="5130" y="18678"/>
                </a:cubicBezTo>
                <a:cubicBezTo>
                  <a:pt x="5159" y="18678"/>
                  <a:pt x="5183" y="18627"/>
                  <a:pt x="5183" y="18564"/>
                </a:cubicBezTo>
                <a:cubicBezTo>
                  <a:pt x="5183" y="18502"/>
                  <a:pt x="5159" y="18451"/>
                  <a:pt x="5130" y="18451"/>
                </a:cubicBezTo>
                <a:close/>
                <a:moveTo>
                  <a:pt x="4976" y="18778"/>
                </a:moveTo>
                <a:cubicBezTo>
                  <a:pt x="4946" y="18778"/>
                  <a:pt x="4922" y="18829"/>
                  <a:pt x="4922" y="18891"/>
                </a:cubicBezTo>
                <a:cubicBezTo>
                  <a:pt x="4922" y="18954"/>
                  <a:pt x="4946" y="19004"/>
                  <a:pt x="4976" y="19004"/>
                </a:cubicBezTo>
                <a:cubicBezTo>
                  <a:pt x="5005" y="19004"/>
                  <a:pt x="5029" y="18954"/>
                  <a:pt x="5029" y="18891"/>
                </a:cubicBezTo>
                <a:cubicBezTo>
                  <a:pt x="5029" y="18829"/>
                  <a:pt x="5005" y="18778"/>
                  <a:pt x="4976" y="18778"/>
                </a:cubicBezTo>
                <a:close/>
                <a:moveTo>
                  <a:pt x="4976" y="18451"/>
                </a:moveTo>
                <a:cubicBezTo>
                  <a:pt x="4946" y="18451"/>
                  <a:pt x="4922" y="18502"/>
                  <a:pt x="4922" y="18564"/>
                </a:cubicBezTo>
                <a:cubicBezTo>
                  <a:pt x="4922" y="18627"/>
                  <a:pt x="4946" y="18678"/>
                  <a:pt x="4976" y="18678"/>
                </a:cubicBezTo>
                <a:cubicBezTo>
                  <a:pt x="5005" y="18678"/>
                  <a:pt x="5029" y="18627"/>
                  <a:pt x="5029" y="18564"/>
                </a:cubicBezTo>
                <a:cubicBezTo>
                  <a:pt x="5029" y="18502"/>
                  <a:pt x="5005" y="18451"/>
                  <a:pt x="4976" y="18451"/>
                </a:cubicBezTo>
                <a:close/>
                <a:moveTo>
                  <a:pt x="4823" y="18778"/>
                </a:moveTo>
                <a:cubicBezTo>
                  <a:pt x="4793" y="18778"/>
                  <a:pt x="4769" y="18829"/>
                  <a:pt x="4769" y="18891"/>
                </a:cubicBezTo>
                <a:cubicBezTo>
                  <a:pt x="4769" y="18954"/>
                  <a:pt x="4793" y="19004"/>
                  <a:pt x="4823" y="19004"/>
                </a:cubicBezTo>
                <a:cubicBezTo>
                  <a:pt x="4853" y="19004"/>
                  <a:pt x="4877" y="18954"/>
                  <a:pt x="4877" y="18891"/>
                </a:cubicBezTo>
                <a:cubicBezTo>
                  <a:pt x="4877" y="18829"/>
                  <a:pt x="4853" y="18778"/>
                  <a:pt x="4823" y="18778"/>
                </a:cubicBezTo>
                <a:close/>
                <a:moveTo>
                  <a:pt x="4823" y="18451"/>
                </a:moveTo>
                <a:cubicBezTo>
                  <a:pt x="4793" y="18451"/>
                  <a:pt x="4769" y="18502"/>
                  <a:pt x="4769" y="18564"/>
                </a:cubicBezTo>
                <a:cubicBezTo>
                  <a:pt x="4769" y="18627"/>
                  <a:pt x="4793" y="18678"/>
                  <a:pt x="4823" y="18678"/>
                </a:cubicBezTo>
                <a:cubicBezTo>
                  <a:pt x="4853" y="18678"/>
                  <a:pt x="4877" y="18627"/>
                  <a:pt x="4877" y="18564"/>
                </a:cubicBezTo>
                <a:cubicBezTo>
                  <a:pt x="4877" y="18502"/>
                  <a:pt x="4853" y="18451"/>
                  <a:pt x="4823" y="18451"/>
                </a:cubicBezTo>
                <a:close/>
                <a:moveTo>
                  <a:pt x="5130" y="18124"/>
                </a:moveTo>
                <a:cubicBezTo>
                  <a:pt x="5100" y="18124"/>
                  <a:pt x="5076" y="18175"/>
                  <a:pt x="5076" y="18237"/>
                </a:cubicBezTo>
                <a:cubicBezTo>
                  <a:pt x="5076" y="18300"/>
                  <a:pt x="5100" y="18351"/>
                  <a:pt x="5130" y="18351"/>
                </a:cubicBezTo>
                <a:cubicBezTo>
                  <a:pt x="5159" y="18351"/>
                  <a:pt x="5183" y="18300"/>
                  <a:pt x="5183" y="18237"/>
                </a:cubicBezTo>
                <a:cubicBezTo>
                  <a:pt x="5183" y="18175"/>
                  <a:pt x="5159" y="18124"/>
                  <a:pt x="5130" y="18124"/>
                </a:cubicBezTo>
                <a:close/>
                <a:moveTo>
                  <a:pt x="4976" y="18124"/>
                </a:moveTo>
                <a:cubicBezTo>
                  <a:pt x="4946" y="18124"/>
                  <a:pt x="4922" y="18175"/>
                  <a:pt x="4922" y="18237"/>
                </a:cubicBezTo>
                <a:cubicBezTo>
                  <a:pt x="4922" y="18300"/>
                  <a:pt x="4946" y="18351"/>
                  <a:pt x="4976" y="18351"/>
                </a:cubicBezTo>
                <a:cubicBezTo>
                  <a:pt x="5005" y="18351"/>
                  <a:pt x="5029" y="18300"/>
                  <a:pt x="5029" y="18237"/>
                </a:cubicBezTo>
                <a:cubicBezTo>
                  <a:pt x="5029" y="18175"/>
                  <a:pt x="5005" y="18124"/>
                  <a:pt x="4976" y="18124"/>
                </a:cubicBezTo>
                <a:close/>
                <a:moveTo>
                  <a:pt x="4823" y="18124"/>
                </a:moveTo>
                <a:cubicBezTo>
                  <a:pt x="4793" y="18124"/>
                  <a:pt x="4769" y="18175"/>
                  <a:pt x="4769" y="18237"/>
                </a:cubicBezTo>
                <a:cubicBezTo>
                  <a:pt x="4769" y="18300"/>
                  <a:pt x="4793" y="18351"/>
                  <a:pt x="4823" y="18351"/>
                </a:cubicBezTo>
                <a:cubicBezTo>
                  <a:pt x="4853" y="18351"/>
                  <a:pt x="4877" y="18300"/>
                  <a:pt x="4877" y="18237"/>
                </a:cubicBezTo>
                <a:cubicBezTo>
                  <a:pt x="4877" y="18175"/>
                  <a:pt x="4853" y="18124"/>
                  <a:pt x="4823" y="18124"/>
                </a:cubicBezTo>
                <a:close/>
                <a:moveTo>
                  <a:pt x="5434" y="21047"/>
                </a:moveTo>
                <a:cubicBezTo>
                  <a:pt x="5404" y="21047"/>
                  <a:pt x="5380" y="21098"/>
                  <a:pt x="5380" y="21160"/>
                </a:cubicBezTo>
                <a:cubicBezTo>
                  <a:pt x="5380" y="21222"/>
                  <a:pt x="5404" y="21273"/>
                  <a:pt x="5434" y="21273"/>
                </a:cubicBezTo>
                <a:cubicBezTo>
                  <a:pt x="5463" y="21273"/>
                  <a:pt x="5488" y="21222"/>
                  <a:pt x="5488" y="21160"/>
                </a:cubicBezTo>
                <a:cubicBezTo>
                  <a:pt x="5488" y="21098"/>
                  <a:pt x="5463" y="21047"/>
                  <a:pt x="5434" y="21047"/>
                </a:cubicBezTo>
                <a:close/>
                <a:moveTo>
                  <a:pt x="4981" y="19088"/>
                </a:moveTo>
                <a:cubicBezTo>
                  <a:pt x="4951" y="19088"/>
                  <a:pt x="4927" y="19139"/>
                  <a:pt x="4927" y="19201"/>
                </a:cubicBezTo>
                <a:cubicBezTo>
                  <a:pt x="4927" y="19263"/>
                  <a:pt x="4951" y="19314"/>
                  <a:pt x="4981" y="19314"/>
                </a:cubicBezTo>
                <a:cubicBezTo>
                  <a:pt x="5010" y="19314"/>
                  <a:pt x="5035" y="19263"/>
                  <a:pt x="5035" y="19201"/>
                </a:cubicBezTo>
                <a:cubicBezTo>
                  <a:pt x="5035" y="19139"/>
                  <a:pt x="5010" y="19088"/>
                  <a:pt x="4981" y="19088"/>
                </a:cubicBezTo>
                <a:close/>
                <a:moveTo>
                  <a:pt x="5281" y="18778"/>
                </a:moveTo>
                <a:cubicBezTo>
                  <a:pt x="5251" y="18778"/>
                  <a:pt x="5227" y="18829"/>
                  <a:pt x="5227" y="18891"/>
                </a:cubicBezTo>
                <a:cubicBezTo>
                  <a:pt x="5227" y="18954"/>
                  <a:pt x="5251" y="19004"/>
                  <a:pt x="5281" y="19004"/>
                </a:cubicBezTo>
                <a:cubicBezTo>
                  <a:pt x="5311" y="19004"/>
                  <a:pt x="5335" y="18954"/>
                  <a:pt x="5335" y="18891"/>
                </a:cubicBezTo>
                <a:cubicBezTo>
                  <a:pt x="5335" y="18829"/>
                  <a:pt x="5311" y="18778"/>
                  <a:pt x="5281" y="18778"/>
                </a:cubicBezTo>
                <a:close/>
                <a:moveTo>
                  <a:pt x="5281" y="18451"/>
                </a:moveTo>
                <a:cubicBezTo>
                  <a:pt x="5251" y="18451"/>
                  <a:pt x="5227" y="18502"/>
                  <a:pt x="5227" y="18564"/>
                </a:cubicBezTo>
                <a:cubicBezTo>
                  <a:pt x="5227" y="18627"/>
                  <a:pt x="5251" y="18678"/>
                  <a:pt x="5281" y="18678"/>
                </a:cubicBezTo>
                <a:cubicBezTo>
                  <a:pt x="5311" y="18678"/>
                  <a:pt x="5335" y="18627"/>
                  <a:pt x="5335" y="18564"/>
                </a:cubicBezTo>
                <a:cubicBezTo>
                  <a:pt x="5335" y="18502"/>
                  <a:pt x="5311" y="18451"/>
                  <a:pt x="5281" y="18451"/>
                </a:cubicBezTo>
                <a:close/>
                <a:moveTo>
                  <a:pt x="5130" y="18024"/>
                </a:moveTo>
                <a:cubicBezTo>
                  <a:pt x="5159" y="18024"/>
                  <a:pt x="5183" y="17973"/>
                  <a:pt x="5183" y="17911"/>
                </a:cubicBezTo>
                <a:cubicBezTo>
                  <a:pt x="5183" y="17848"/>
                  <a:pt x="5159" y="17797"/>
                  <a:pt x="5130" y="17797"/>
                </a:cubicBezTo>
                <a:cubicBezTo>
                  <a:pt x="5100" y="17797"/>
                  <a:pt x="5076" y="17848"/>
                  <a:pt x="5076" y="17911"/>
                </a:cubicBezTo>
                <a:cubicBezTo>
                  <a:pt x="5076" y="17973"/>
                  <a:pt x="5100" y="18024"/>
                  <a:pt x="5130" y="18024"/>
                </a:cubicBezTo>
                <a:close/>
                <a:moveTo>
                  <a:pt x="4976" y="18024"/>
                </a:moveTo>
                <a:cubicBezTo>
                  <a:pt x="5005" y="18024"/>
                  <a:pt x="5029" y="17973"/>
                  <a:pt x="5029" y="17911"/>
                </a:cubicBezTo>
                <a:cubicBezTo>
                  <a:pt x="5029" y="17848"/>
                  <a:pt x="5005" y="17797"/>
                  <a:pt x="4976" y="17797"/>
                </a:cubicBezTo>
                <a:cubicBezTo>
                  <a:pt x="4946" y="17797"/>
                  <a:pt x="4922" y="17848"/>
                  <a:pt x="4922" y="17911"/>
                </a:cubicBezTo>
                <a:cubicBezTo>
                  <a:pt x="4922" y="17973"/>
                  <a:pt x="4946" y="18024"/>
                  <a:pt x="4976" y="18024"/>
                </a:cubicBezTo>
                <a:close/>
                <a:moveTo>
                  <a:pt x="4823" y="18024"/>
                </a:moveTo>
                <a:cubicBezTo>
                  <a:pt x="4853" y="18024"/>
                  <a:pt x="4877" y="17973"/>
                  <a:pt x="4877" y="17911"/>
                </a:cubicBezTo>
                <a:cubicBezTo>
                  <a:pt x="4877" y="17848"/>
                  <a:pt x="4853" y="17797"/>
                  <a:pt x="4823" y="17797"/>
                </a:cubicBezTo>
                <a:cubicBezTo>
                  <a:pt x="4793" y="17797"/>
                  <a:pt x="4769" y="17848"/>
                  <a:pt x="4769" y="17911"/>
                </a:cubicBezTo>
                <a:cubicBezTo>
                  <a:pt x="4769" y="17973"/>
                  <a:pt x="4793" y="18024"/>
                  <a:pt x="4823" y="18024"/>
                </a:cubicBezTo>
                <a:close/>
                <a:moveTo>
                  <a:pt x="5588" y="17797"/>
                </a:moveTo>
                <a:cubicBezTo>
                  <a:pt x="5558" y="17797"/>
                  <a:pt x="5534" y="17848"/>
                  <a:pt x="5534" y="17911"/>
                </a:cubicBezTo>
                <a:cubicBezTo>
                  <a:pt x="5534" y="17973"/>
                  <a:pt x="5558" y="18024"/>
                  <a:pt x="5588" y="18024"/>
                </a:cubicBezTo>
                <a:cubicBezTo>
                  <a:pt x="5617" y="18024"/>
                  <a:pt x="5642" y="17973"/>
                  <a:pt x="5642" y="17911"/>
                </a:cubicBezTo>
                <a:cubicBezTo>
                  <a:pt x="5642" y="17848"/>
                  <a:pt x="5617" y="17797"/>
                  <a:pt x="5588" y="17797"/>
                </a:cubicBezTo>
                <a:close/>
                <a:moveTo>
                  <a:pt x="5434" y="18124"/>
                </a:moveTo>
                <a:cubicBezTo>
                  <a:pt x="5404" y="18124"/>
                  <a:pt x="5380" y="18175"/>
                  <a:pt x="5380" y="18237"/>
                </a:cubicBezTo>
                <a:cubicBezTo>
                  <a:pt x="5380" y="18300"/>
                  <a:pt x="5404" y="18351"/>
                  <a:pt x="5434" y="18351"/>
                </a:cubicBezTo>
                <a:cubicBezTo>
                  <a:pt x="5463" y="18351"/>
                  <a:pt x="5488" y="18300"/>
                  <a:pt x="5488" y="18237"/>
                </a:cubicBezTo>
                <a:cubicBezTo>
                  <a:pt x="5488" y="18175"/>
                  <a:pt x="5463" y="18124"/>
                  <a:pt x="5434" y="18124"/>
                </a:cubicBezTo>
                <a:close/>
                <a:moveTo>
                  <a:pt x="5434" y="17797"/>
                </a:moveTo>
                <a:cubicBezTo>
                  <a:pt x="5404" y="17797"/>
                  <a:pt x="5380" y="17848"/>
                  <a:pt x="5380" y="17911"/>
                </a:cubicBezTo>
                <a:cubicBezTo>
                  <a:pt x="5380" y="17973"/>
                  <a:pt x="5404" y="18024"/>
                  <a:pt x="5434" y="18024"/>
                </a:cubicBezTo>
                <a:cubicBezTo>
                  <a:pt x="5463" y="18024"/>
                  <a:pt x="5488" y="17973"/>
                  <a:pt x="5488" y="17911"/>
                </a:cubicBezTo>
                <a:cubicBezTo>
                  <a:pt x="5488" y="17848"/>
                  <a:pt x="5463" y="17797"/>
                  <a:pt x="5434" y="17797"/>
                </a:cubicBezTo>
                <a:close/>
                <a:moveTo>
                  <a:pt x="5281" y="18124"/>
                </a:moveTo>
                <a:cubicBezTo>
                  <a:pt x="5251" y="18124"/>
                  <a:pt x="5227" y="18175"/>
                  <a:pt x="5227" y="18237"/>
                </a:cubicBezTo>
                <a:cubicBezTo>
                  <a:pt x="5227" y="18300"/>
                  <a:pt x="5251" y="18351"/>
                  <a:pt x="5281" y="18351"/>
                </a:cubicBezTo>
                <a:cubicBezTo>
                  <a:pt x="5311" y="18351"/>
                  <a:pt x="5335" y="18300"/>
                  <a:pt x="5335" y="18237"/>
                </a:cubicBezTo>
                <a:cubicBezTo>
                  <a:pt x="5335" y="18175"/>
                  <a:pt x="5311" y="18124"/>
                  <a:pt x="5281" y="18124"/>
                </a:cubicBezTo>
                <a:close/>
                <a:moveTo>
                  <a:pt x="5281" y="17797"/>
                </a:moveTo>
                <a:cubicBezTo>
                  <a:pt x="5251" y="17797"/>
                  <a:pt x="5227" y="17848"/>
                  <a:pt x="5227" y="17911"/>
                </a:cubicBezTo>
                <a:cubicBezTo>
                  <a:pt x="5227" y="17973"/>
                  <a:pt x="5251" y="18024"/>
                  <a:pt x="5281" y="18024"/>
                </a:cubicBezTo>
                <a:cubicBezTo>
                  <a:pt x="5311" y="18024"/>
                  <a:pt x="5335" y="17973"/>
                  <a:pt x="5335" y="17911"/>
                </a:cubicBezTo>
                <a:cubicBezTo>
                  <a:pt x="5335" y="17848"/>
                  <a:pt x="5311" y="17797"/>
                  <a:pt x="5281" y="17797"/>
                </a:cubicBezTo>
                <a:close/>
                <a:moveTo>
                  <a:pt x="5285" y="11622"/>
                </a:moveTo>
                <a:cubicBezTo>
                  <a:pt x="5255" y="11622"/>
                  <a:pt x="5231" y="11672"/>
                  <a:pt x="5231" y="11735"/>
                </a:cubicBezTo>
                <a:cubicBezTo>
                  <a:pt x="5231" y="11797"/>
                  <a:pt x="5255" y="11848"/>
                  <a:pt x="5285" y="11848"/>
                </a:cubicBezTo>
                <a:cubicBezTo>
                  <a:pt x="5314" y="11848"/>
                  <a:pt x="5338" y="11797"/>
                  <a:pt x="5338" y="11735"/>
                </a:cubicBezTo>
                <a:cubicBezTo>
                  <a:pt x="5338" y="11672"/>
                  <a:pt x="5314" y="11622"/>
                  <a:pt x="5285" y="11622"/>
                </a:cubicBezTo>
                <a:close/>
                <a:moveTo>
                  <a:pt x="3292" y="11305"/>
                </a:moveTo>
                <a:cubicBezTo>
                  <a:pt x="3263" y="11305"/>
                  <a:pt x="3239" y="11355"/>
                  <a:pt x="3239" y="11418"/>
                </a:cubicBezTo>
                <a:cubicBezTo>
                  <a:pt x="3239" y="11480"/>
                  <a:pt x="3263" y="11531"/>
                  <a:pt x="3292" y="11531"/>
                </a:cubicBezTo>
                <a:cubicBezTo>
                  <a:pt x="3322" y="11531"/>
                  <a:pt x="3346" y="11480"/>
                  <a:pt x="3346" y="11418"/>
                </a:cubicBezTo>
                <a:cubicBezTo>
                  <a:pt x="3346" y="11355"/>
                  <a:pt x="3322" y="11305"/>
                  <a:pt x="3292" y="11305"/>
                </a:cubicBezTo>
                <a:close/>
                <a:moveTo>
                  <a:pt x="3452" y="11305"/>
                </a:moveTo>
                <a:cubicBezTo>
                  <a:pt x="3422" y="11305"/>
                  <a:pt x="3398" y="11355"/>
                  <a:pt x="3398" y="11418"/>
                </a:cubicBezTo>
                <a:cubicBezTo>
                  <a:pt x="3398" y="11480"/>
                  <a:pt x="3422" y="11531"/>
                  <a:pt x="3452" y="11531"/>
                </a:cubicBezTo>
                <a:cubicBezTo>
                  <a:pt x="3482" y="11531"/>
                  <a:pt x="3506" y="11480"/>
                  <a:pt x="3506" y="11418"/>
                </a:cubicBezTo>
                <a:cubicBezTo>
                  <a:pt x="3506" y="11355"/>
                  <a:pt x="3482" y="11305"/>
                  <a:pt x="3452" y="11305"/>
                </a:cubicBezTo>
                <a:close/>
                <a:moveTo>
                  <a:pt x="3591" y="11305"/>
                </a:moveTo>
                <a:cubicBezTo>
                  <a:pt x="3561" y="11305"/>
                  <a:pt x="3537" y="11355"/>
                  <a:pt x="3537" y="11418"/>
                </a:cubicBezTo>
                <a:cubicBezTo>
                  <a:pt x="3537" y="11480"/>
                  <a:pt x="3561" y="11531"/>
                  <a:pt x="3591" y="11531"/>
                </a:cubicBezTo>
                <a:cubicBezTo>
                  <a:pt x="3621" y="11531"/>
                  <a:pt x="3645" y="11480"/>
                  <a:pt x="3645" y="11418"/>
                </a:cubicBezTo>
                <a:cubicBezTo>
                  <a:pt x="3645" y="11355"/>
                  <a:pt x="3621" y="11305"/>
                  <a:pt x="3591" y="11305"/>
                </a:cubicBezTo>
                <a:close/>
                <a:moveTo>
                  <a:pt x="4051" y="10983"/>
                </a:moveTo>
                <a:cubicBezTo>
                  <a:pt x="4022" y="10983"/>
                  <a:pt x="3998" y="11034"/>
                  <a:pt x="3998" y="11096"/>
                </a:cubicBezTo>
                <a:cubicBezTo>
                  <a:pt x="3998" y="11159"/>
                  <a:pt x="4022" y="11209"/>
                  <a:pt x="4051" y="11209"/>
                </a:cubicBezTo>
                <a:cubicBezTo>
                  <a:pt x="4081" y="11209"/>
                  <a:pt x="4105" y="11159"/>
                  <a:pt x="4105" y="11096"/>
                </a:cubicBezTo>
                <a:cubicBezTo>
                  <a:pt x="4105" y="11034"/>
                  <a:pt x="4081" y="10983"/>
                  <a:pt x="4051" y="10983"/>
                </a:cubicBezTo>
                <a:close/>
                <a:moveTo>
                  <a:pt x="3897" y="10661"/>
                </a:moveTo>
                <a:cubicBezTo>
                  <a:pt x="3868" y="10661"/>
                  <a:pt x="3844" y="10712"/>
                  <a:pt x="3844" y="10774"/>
                </a:cubicBezTo>
                <a:cubicBezTo>
                  <a:pt x="3844" y="10837"/>
                  <a:pt x="3868" y="10888"/>
                  <a:pt x="3897" y="10888"/>
                </a:cubicBezTo>
                <a:cubicBezTo>
                  <a:pt x="3927" y="10888"/>
                  <a:pt x="3951" y="10837"/>
                  <a:pt x="3951" y="10774"/>
                </a:cubicBezTo>
                <a:cubicBezTo>
                  <a:pt x="3951" y="10712"/>
                  <a:pt x="3927" y="10661"/>
                  <a:pt x="3897" y="10661"/>
                </a:cubicBezTo>
                <a:close/>
                <a:moveTo>
                  <a:pt x="3897" y="10983"/>
                </a:moveTo>
                <a:cubicBezTo>
                  <a:pt x="3868" y="10983"/>
                  <a:pt x="3844" y="11034"/>
                  <a:pt x="3844" y="11096"/>
                </a:cubicBezTo>
                <a:cubicBezTo>
                  <a:pt x="3844" y="11159"/>
                  <a:pt x="3868" y="11209"/>
                  <a:pt x="3897" y="11209"/>
                </a:cubicBezTo>
                <a:cubicBezTo>
                  <a:pt x="3927" y="11209"/>
                  <a:pt x="3951" y="11159"/>
                  <a:pt x="3951" y="11096"/>
                </a:cubicBezTo>
                <a:cubicBezTo>
                  <a:pt x="3951" y="11034"/>
                  <a:pt x="3927" y="10983"/>
                  <a:pt x="3897" y="10983"/>
                </a:cubicBezTo>
                <a:close/>
                <a:moveTo>
                  <a:pt x="3745" y="10983"/>
                </a:moveTo>
                <a:cubicBezTo>
                  <a:pt x="3715" y="10983"/>
                  <a:pt x="3691" y="11034"/>
                  <a:pt x="3691" y="11096"/>
                </a:cubicBezTo>
                <a:cubicBezTo>
                  <a:pt x="3691" y="11159"/>
                  <a:pt x="3715" y="11209"/>
                  <a:pt x="3745" y="11209"/>
                </a:cubicBezTo>
                <a:cubicBezTo>
                  <a:pt x="3774" y="11209"/>
                  <a:pt x="3798" y="11159"/>
                  <a:pt x="3798" y="11096"/>
                </a:cubicBezTo>
                <a:cubicBezTo>
                  <a:pt x="3798" y="11034"/>
                  <a:pt x="3774" y="10983"/>
                  <a:pt x="3745" y="10983"/>
                </a:cubicBezTo>
                <a:close/>
                <a:moveTo>
                  <a:pt x="4655" y="11209"/>
                </a:moveTo>
                <a:cubicBezTo>
                  <a:pt x="4685" y="11209"/>
                  <a:pt x="4709" y="11159"/>
                  <a:pt x="4709" y="11096"/>
                </a:cubicBezTo>
                <a:cubicBezTo>
                  <a:pt x="4709" y="11034"/>
                  <a:pt x="4685" y="10983"/>
                  <a:pt x="4655" y="10983"/>
                </a:cubicBezTo>
                <a:cubicBezTo>
                  <a:pt x="4626" y="10983"/>
                  <a:pt x="4602" y="11034"/>
                  <a:pt x="4602" y="11096"/>
                </a:cubicBezTo>
                <a:cubicBezTo>
                  <a:pt x="4602" y="11159"/>
                  <a:pt x="4626" y="11209"/>
                  <a:pt x="4655" y="11209"/>
                </a:cubicBezTo>
                <a:close/>
                <a:moveTo>
                  <a:pt x="4516" y="10983"/>
                </a:moveTo>
                <a:cubicBezTo>
                  <a:pt x="4487" y="10983"/>
                  <a:pt x="4463" y="11034"/>
                  <a:pt x="4463" y="11096"/>
                </a:cubicBezTo>
                <a:cubicBezTo>
                  <a:pt x="4463" y="11159"/>
                  <a:pt x="4487" y="11209"/>
                  <a:pt x="4516" y="11209"/>
                </a:cubicBezTo>
                <a:cubicBezTo>
                  <a:pt x="4546" y="11209"/>
                  <a:pt x="4570" y="11159"/>
                  <a:pt x="4570" y="11096"/>
                </a:cubicBezTo>
                <a:cubicBezTo>
                  <a:pt x="4570" y="11034"/>
                  <a:pt x="4546" y="10983"/>
                  <a:pt x="4516" y="10983"/>
                </a:cubicBezTo>
                <a:close/>
                <a:moveTo>
                  <a:pt x="4362" y="10983"/>
                </a:moveTo>
                <a:cubicBezTo>
                  <a:pt x="4333" y="10983"/>
                  <a:pt x="4309" y="11034"/>
                  <a:pt x="4309" y="11096"/>
                </a:cubicBezTo>
                <a:cubicBezTo>
                  <a:pt x="4309" y="11159"/>
                  <a:pt x="4333" y="11209"/>
                  <a:pt x="4362" y="11209"/>
                </a:cubicBezTo>
                <a:cubicBezTo>
                  <a:pt x="4392" y="11209"/>
                  <a:pt x="4416" y="11159"/>
                  <a:pt x="4416" y="11096"/>
                </a:cubicBezTo>
                <a:cubicBezTo>
                  <a:pt x="4416" y="11034"/>
                  <a:pt x="4392" y="10983"/>
                  <a:pt x="4362" y="10983"/>
                </a:cubicBezTo>
                <a:close/>
                <a:moveTo>
                  <a:pt x="4210" y="10661"/>
                </a:moveTo>
                <a:cubicBezTo>
                  <a:pt x="4180" y="10661"/>
                  <a:pt x="4156" y="10712"/>
                  <a:pt x="4156" y="10774"/>
                </a:cubicBezTo>
                <a:cubicBezTo>
                  <a:pt x="4156" y="10837"/>
                  <a:pt x="4180" y="10888"/>
                  <a:pt x="4210" y="10888"/>
                </a:cubicBezTo>
                <a:cubicBezTo>
                  <a:pt x="4240" y="10888"/>
                  <a:pt x="4264" y="10837"/>
                  <a:pt x="4264" y="10774"/>
                </a:cubicBezTo>
                <a:cubicBezTo>
                  <a:pt x="4264" y="10712"/>
                  <a:pt x="4240" y="10661"/>
                  <a:pt x="4210" y="10661"/>
                </a:cubicBezTo>
                <a:close/>
                <a:moveTo>
                  <a:pt x="4210" y="10983"/>
                </a:moveTo>
                <a:cubicBezTo>
                  <a:pt x="4180" y="10983"/>
                  <a:pt x="4156" y="11034"/>
                  <a:pt x="4156" y="11096"/>
                </a:cubicBezTo>
                <a:cubicBezTo>
                  <a:pt x="4156" y="11159"/>
                  <a:pt x="4180" y="11209"/>
                  <a:pt x="4210" y="11209"/>
                </a:cubicBezTo>
                <a:cubicBezTo>
                  <a:pt x="4240" y="11209"/>
                  <a:pt x="4264" y="11159"/>
                  <a:pt x="4264" y="11096"/>
                </a:cubicBezTo>
                <a:cubicBezTo>
                  <a:pt x="4264" y="11034"/>
                  <a:pt x="4240" y="10983"/>
                  <a:pt x="4210" y="10983"/>
                </a:cubicBezTo>
                <a:close/>
                <a:moveTo>
                  <a:pt x="4051" y="11305"/>
                </a:moveTo>
                <a:cubicBezTo>
                  <a:pt x="4022" y="11305"/>
                  <a:pt x="3998" y="11355"/>
                  <a:pt x="3998" y="11418"/>
                </a:cubicBezTo>
                <a:cubicBezTo>
                  <a:pt x="3998" y="11480"/>
                  <a:pt x="4022" y="11531"/>
                  <a:pt x="4051" y="11531"/>
                </a:cubicBezTo>
                <a:cubicBezTo>
                  <a:pt x="4081" y="11531"/>
                  <a:pt x="4105" y="11480"/>
                  <a:pt x="4105" y="11418"/>
                </a:cubicBezTo>
                <a:cubicBezTo>
                  <a:pt x="4105" y="11355"/>
                  <a:pt x="4081" y="11305"/>
                  <a:pt x="4051" y="11305"/>
                </a:cubicBezTo>
                <a:close/>
                <a:moveTo>
                  <a:pt x="3897" y="11305"/>
                </a:moveTo>
                <a:cubicBezTo>
                  <a:pt x="3868" y="11305"/>
                  <a:pt x="3844" y="11355"/>
                  <a:pt x="3844" y="11418"/>
                </a:cubicBezTo>
                <a:cubicBezTo>
                  <a:pt x="3844" y="11480"/>
                  <a:pt x="3868" y="11531"/>
                  <a:pt x="3897" y="11531"/>
                </a:cubicBezTo>
                <a:cubicBezTo>
                  <a:pt x="3927" y="11531"/>
                  <a:pt x="3951" y="11480"/>
                  <a:pt x="3951" y="11418"/>
                </a:cubicBezTo>
                <a:cubicBezTo>
                  <a:pt x="3951" y="11355"/>
                  <a:pt x="3927" y="11305"/>
                  <a:pt x="3897" y="11305"/>
                </a:cubicBezTo>
                <a:close/>
                <a:moveTo>
                  <a:pt x="3745" y="11305"/>
                </a:moveTo>
                <a:cubicBezTo>
                  <a:pt x="3715" y="11305"/>
                  <a:pt x="3691" y="11355"/>
                  <a:pt x="3691" y="11418"/>
                </a:cubicBezTo>
                <a:cubicBezTo>
                  <a:pt x="3691" y="11480"/>
                  <a:pt x="3715" y="11531"/>
                  <a:pt x="3745" y="11531"/>
                </a:cubicBezTo>
                <a:cubicBezTo>
                  <a:pt x="3774" y="11531"/>
                  <a:pt x="3798" y="11480"/>
                  <a:pt x="3798" y="11418"/>
                </a:cubicBezTo>
                <a:cubicBezTo>
                  <a:pt x="3798" y="11355"/>
                  <a:pt x="3774" y="11305"/>
                  <a:pt x="3745" y="11305"/>
                </a:cubicBezTo>
                <a:close/>
                <a:moveTo>
                  <a:pt x="4516" y="11305"/>
                </a:moveTo>
                <a:cubicBezTo>
                  <a:pt x="4487" y="11305"/>
                  <a:pt x="4463" y="11355"/>
                  <a:pt x="4463" y="11418"/>
                </a:cubicBezTo>
                <a:cubicBezTo>
                  <a:pt x="4463" y="11480"/>
                  <a:pt x="4487" y="11531"/>
                  <a:pt x="4516" y="11531"/>
                </a:cubicBezTo>
                <a:cubicBezTo>
                  <a:pt x="4546" y="11531"/>
                  <a:pt x="4570" y="11480"/>
                  <a:pt x="4570" y="11418"/>
                </a:cubicBezTo>
                <a:cubicBezTo>
                  <a:pt x="4570" y="11355"/>
                  <a:pt x="4546" y="11305"/>
                  <a:pt x="4516" y="11305"/>
                </a:cubicBezTo>
                <a:close/>
                <a:moveTo>
                  <a:pt x="4362" y="11531"/>
                </a:moveTo>
                <a:cubicBezTo>
                  <a:pt x="4392" y="11531"/>
                  <a:pt x="4416" y="11480"/>
                  <a:pt x="4416" y="11418"/>
                </a:cubicBezTo>
                <a:cubicBezTo>
                  <a:pt x="4416" y="11355"/>
                  <a:pt x="4392" y="11305"/>
                  <a:pt x="4362" y="11305"/>
                </a:cubicBezTo>
                <a:cubicBezTo>
                  <a:pt x="4333" y="11305"/>
                  <a:pt x="4309" y="11355"/>
                  <a:pt x="4309" y="11418"/>
                </a:cubicBezTo>
                <a:cubicBezTo>
                  <a:pt x="4309" y="11480"/>
                  <a:pt x="4333" y="11531"/>
                  <a:pt x="4362" y="11531"/>
                </a:cubicBezTo>
                <a:close/>
                <a:moveTo>
                  <a:pt x="4210" y="11305"/>
                </a:moveTo>
                <a:cubicBezTo>
                  <a:pt x="4180" y="11305"/>
                  <a:pt x="4156" y="11355"/>
                  <a:pt x="4156" y="11418"/>
                </a:cubicBezTo>
                <a:cubicBezTo>
                  <a:pt x="4156" y="11480"/>
                  <a:pt x="4180" y="11531"/>
                  <a:pt x="4210" y="11531"/>
                </a:cubicBezTo>
                <a:cubicBezTo>
                  <a:pt x="4240" y="11531"/>
                  <a:pt x="4264" y="11480"/>
                  <a:pt x="4264" y="11418"/>
                </a:cubicBezTo>
                <a:cubicBezTo>
                  <a:pt x="4264" y="11355"/>
                  <a:pt x="4240" y="11305"/>
                  <a:pt x="4210" y="11305"/>
                </a:cubicBezTo>
                <a:close/>
                <a:moveTo>
                  <a:pt x="3591" y="11646"/>
                </a:moveTo>
                <a:cubicBezTo>
                  <a:pt x="3561" y="11646"/>
                  <a:pt x="3537" y="11697"/>
                  <a:pt x="3537" y="11759"/>
                </a:cubicBezTo>
                <a:cubicBezTo>
                  <a:pt x="3537" y="11821"/>
                  <a:pt x="3561" y="11872"/>
                  <a:pt x="3591" y="11872"/>
                </a:cubicBezTo>
                <a:cubicBezTo>
                  <a:pt x="3621" y="11872"/>
                  <a:pt x="3645" y="11821"/>
                  <a:pt x="3645" y="11759"/>
                </a:cubicBezTo>
                <a:cubicBezTo>
                  <a:pt x="3645" y="11697"/>
                  <a:pt x="3621" y="11646"/>
                  <a:pt x="3591" y="11646"/>
                </a:cubicBezTo>
                <a:close/>
                <a:moveTo>
                  <a:pt x="4051" y="11646"/>
                </a:moveTo>
                <a:cubicBezTo>
                  <a:pt x="4022" y="11646"/>
                  <a:pt x="3998" y="11697"/>
                  <a:pt x="3998" y="11759"/>
                </a:cubicBezTo>
                <a:cubicBezTo>
                  <a:pt x="3998" y="11821"/>
                  <a:pt x="4022" y="11872"/>
                  <a:pt x="4051" y="11872"/>
                </a:cubicBezTo>
                <a:cubicBezTo>
                  <a:pt x="4081" y="11872"/>
                  <a:pt x="4105" y="11821"/>
                  <a:pt x="4105" y="11759"/>
                </a:cubicBezTo>
                <a:cubicBezTo>
                  <a:pt x="4105" y="11697"/>
                  <a:pt x="4081" y="11646"/>
                  <a:pt x="4051" y="11646"/>
                </a:cubicBezTo>
                <a:close/>
                <a:moveTo>
                  <a:pt x="3897" y="11646"/>
                </a:moveTo>
                <a:cubicBezTo>
                  <a:pt x="3868" y="11646"/>
                  <a:pt x="3844" y="11697"/>
                  <a:pt x="3844" y="11759"/>
                </a:cubicBezTo>
                <a:cubicBezTo>
                  <a:pt x="3844" y="11821"/>
                  <a:pt x="3868" y="11872"/>
                  <a:pt x="3897" y="11872"/>
                </a:cubicBezTo>
                <a:cubicBezTo>
                  <a:pt x="3927" y="11872"/>
                  <a:pt x="3951" y="11821"/>
                  <a:pt x="3951" y="11759"/>
                </a:cubicBezTo>
                <a:cubicBezTo>
                  <a:pt x="3951" y="11697"/>
                  <a:pt x="3927" y="11646"/>
                  <a:pt x="3897" y="11646"/>
                </a:cubicBezTo>
                <a:close/>
                <a:moveTo>
                  <a:pt x="3745" y="11646"/>
                </a:moveTo>
                <a:cubicBezTo>
                  <a:pt x="3715" y="11646"/>
                  <a:pt x="3691" y="11697"/>
                  <a:pt x="3691" y="11759"/>
                </a:cubicBezTo>
                <a:cubicBezTo>
                  <a:pt x="3691" y="11821"/>
                  <a:pt x="3715" y="11872"/>
                  <a:pt x="3745" y="11872"/>
                </a:cubicBezTo>
                <a:cubicBezTo>
                  <a:pt x="3774" y="11872"/>
                  <a:pt x="3798" y="11821"/>
                  <a:pt x="3798" y="11759"/>
                </a:cubicBezTo>
                <a:cubicBezTo>
                  <a:pt x="3798" y="11697"/>
                  <a:pt x="3774" y="11646"/>
                  <a:pt x="3745" y="11646"/>
                </a:cubicBezTo>
                <a:close/>
                <a:moveTo>
                  <a:pt x="4824" y="11321"/>
                </a:moveTo>
                <a:cubicBezTo>
                  <a:pt x="4795" y="11321"/>
                  <a:pt x="4771" y="11371"/>
                  <a:pt x="4771" y="11434"/>
                </a:cubicBezTo>
                <a:cubicBezTo>
                  <a:pt x="4771" y="11496"/>
                  <a:pt x="4795" y="11547"/>
                  <a:pt x="4824" y="11547"/>
                </a:cubicBezTo>
                <a:cubicBezTo>
                  <a:pt x="4854" y="11547"/>
                  <a:pt x="4878" y="11496"/>
                  <a:pt x="4878" y="11434"/>
                </a:cubicBezTo>
                <a:cubicBezTo>
                  <a:pt x="4878" y="11371"/>
                  <a:pt x="4854" y="11321"/>
                  <a:pt x="4824" y="11321"/>
                </a:cubicBezTo>
                <a:close/>
                <a:moveTo>
                  <a:pt x="4672" y="11321"/>
                </a:moveTo>
                <a:cubicBezTo>
                  <a:pt x="4642" y="11321"/>
                  <a:pt x="4618" y="11371"/>
                  <a:pt x="4618" y="11434"/>
                </a:cubicBezTo>
                <a:cubicBezTo>
                  <a:pt x="4618" y="11496"/>
                  <a:pt x="4642" y="11547"/>
                  <a:pt x="4672" y="11547"/>
                </a:cubicBezTo>
                <a:cubicBezTo>
                  <a:pt x="4701" y="11547"/>
                  <a:pt x="4726" y="11496"/>
                  <a:pt x="4726" y="11434"/>
                </a:cubicBezTo>
                <a:cubicBezTo>
                  <a:pt x="4726" y="11371"/>
                  <a:pt x="4701" y="11321"/>
                  <a:pt x="4672" y="11321"/>
                </a:cubicBezTo>
                <a:close/>
                <a:moveTo>
                  <a:pt x="4824" y="11646"/>
                </a:moveTo>
                <a:cubicBezTo>
                  <a:pt x="4795" y="11646"/>
                  <a:pt x="4771" y="11697"/>
                  <a:pt x="4771" y="11759"/>
                </a:cubicBezTo>
                <a:cubicBezTo>
                  <a:pt x="4771" y="11821"/>
                  <a:pt x="4795" y="11872"/>
                  <a:pt x="4824" y="11872"/>
                </a:cubicBezTo>
                <a:cubicBezTo>
                  <a:pt x="4854" y="11872"/>
                  <a:pt x="4878" y="11821"/>
                  <a:pt x="4878" y="11759"/>
                </a:cubicBezTo>
                <a:cubicBezTo>
                  <a:pt x="4878" y="11697"/>
                  <a:pt x="4854" y="11646"/>
                  <a:pt x="4824" y="11646"/>
                </a:cubicBezTo>
                <a:close/>
                <a:moveTo>
                  <a:pt x="4672" y="11646"/>
                </a:moveTo>
                <a:cubicBezTo>
                  <a:pt x="4642" y="11646"/>
                  <a:pt x="4618" y="11697"/>
                  <a:pt x="4618" y="11759"/>
                </a:cubicBezTo>
                <a:cubicBezTo>
                  <a:pt x="4618" y="11821"/>
                  <a:pt x="4642" y="11872"/>
                  <a:pt x="4672" y="11872"/>
                </a:cubicBezTo>
                <a:cubicBezTo>
                  <a:pt x="4701" y="11872"/>
                  <a:pt x="4726" y="11821"/>
                  <a:pt x="4726" y="11759"/>
                </a:cubicBezTo>
                <a:cubicBezTo>
                  <a:pt x="4726" y="11697"/>
                  <a:pt x="4701" y="11646"/>
                  <a:pt x="4672" y="11646"/>
                </a:cubicBezTo>
                <a:close/>
                <a:moveTo>
                  <a:pt x="4516" y="11646"/>
                </a:moveTo>
                <a:cubicBezTo>
                  <a:pt x="4487" y="11646"/>
                  <a:pt x="4463" y="11697"/>
                  <a:pt x="4463" y="11759"/>
                </a:cubicBezTo>
                <a:cubicBezTo>
                  <a:pt x="4463" y="11821"/>
                  <a:pt x="4487" y="11872"/>
                  <a:pt x="4516" y="11872"/>
                </a:cubicBezTo>
                <a:cubicBezTo>
                  <a:pt x="4546" y="11872"/>
                  <a:pt x="4570" y="11821"/>
                  <a:pt x="4570" y="11759"/>
                </a:cubicBezTo>
                <a:cubicBezTo>
                  <a:pt x="4570" y="11697"/>
                  <a:pt x="4546" y="11646"/>
                  <a:pt x="4516" y="11646"/>
                </a:cubicBezTo>
                <a:close/>
                <a:moveTo>
                  <a:pt x="4362" y="11872"/>
                </a:moveTo>
                <a:cubicBezTo>
                  <a:pt x="4392" y="11872"/>
                  <a:pt x="4416" y="11821"/>
                  <a:pt x="4416" y="11759"/>
                </a:cubicBezTo>
                <a:cubicBezTo>
                  <a:pt x="4416" y="11697"/>
                  <a:pt x="4392" y="11646"/>
                  <a:pt x="4362" y="11646"/>
                </a:cubicBezTo>
                <a:cubicBezTo>
                  <a:pt x="4333" y="11646"/>
                  <a:pt x="4309" y="11697"/>
                  <a:pt x="4309" y="11759"/>
                </a:cubicBezTo>
                <a:cubicBezTo>
                  <a:pt x="4309" y="11821"/>
                  <a:pt x="4333" y="11872"/>
                  <a:pt x="4362" y="11872"/>
                </a:cubicBezTo>
                <a:close/>
                <a:moveTo>
                  <a:pt x="4210" y="11646"/>
                </a:moveTo>
                <a:cubicBezTo>
                  <a:pt x="4180" y="11646"/>
                  <a:pt x="4156" y="11697"/>
                  <a:pt x="4156" y="11759"/>
                </a:cubicBezTo>
                <a:cubicBezTo>
                  <a:pt x="4156" y="11821"/>
                  <a:pt x="4180" y="11872"/>
                  <a:pt x="4210" y="11872"/>
                </a:cubicBezTo>
                <a:cubicBezTo>
                  <a:pt x="4240" y="11872"/>
                  <a:pt x="4264" y="11821"/>
                  <a:pt x="4264" y="11759"/>
                </a:cubicBezTo>
                <a:cubicBezTo>
                  <a:pt x="4264" y="11697"/>
                  <a:pt x="4240" y="11646"/>
                  <a:pt x="4210" y="11646"/>
                </a:cubicBezTo>
                <a:close/>
                <a:moveTo>
                  <a:pt x="3591" y="11957"/>
                </a:moveTo>
                <a:cubicBezTo>
                  <a:pt x="3561" y="11957"/>
                  <a:pt x="3537" y="12008"/>
                  <a:pt x="3537" y="12070"/>
                </a:cubicBezTo>
                <a:cubicBezTo>
                  <a:pt x="3537" y="12133"/>
                  <a:pt x="3561" y="12184"/>
                  <a:pt x="3591" y="12184"/>
                </a:cubicBezTo>
                <a:cubicBezTo>
                  <a:pt x="3621" y="12184"/>
                  <a:pt x="3645" y="12133"/>
                  <a:pt x="3645" y="12070"/>
                </a:cubicBezTo>
                <a:cubicBezTo>
                  <a:pt x="3645" y="12008"/>
                  <a:pt x="3621" y="11957"/>
                  <a:pt x="3591" y="11957"/>
                </a:cubicBezTo>
                <a:close/>
                <a:moveTo>
                  <a:pt x="4051" y="11957"/>
                </a:moveTo>
                <a:cubicBezTo>
                  <a:pt x="4022" y="11957"/>
                  <a:pt x="3998" y="12008"/>
                  <a:pt x="3998" y="12070"/>
                </a:cubicBezTo>
                <a:cubicBezTo>
                  <a:pt x="3998" y="12133"/>
                  <a:pt x="4022" y="12184"/>
                  <a:pt x="4051" y="12184"/>
                </a:cubicBezTo>
                <a:cubicBezTo>
                  <a:pt x="4081" y="12184"/>
                  <a:pt x="4105" y="12133"/>
                  <a:pt x="4105" y="12070"/>
                </a:cubicBezTo>
                <a:cubicBezTo>
                  <a:pt x="4105" y="12008"/>
                  <a:pt x="4081" y="11957"/>
                  <a:pt x="4051" y="11957"/>
                </a:cubicBezTo>
                <a:close/>
                <a:moveTo>
                  <a:pt x="3897" y="11957"/>
                </a:moveTo>
                <a:cubicBezTo>
                  <a:pt x="3868" y="11957"/>
                  <a:pt x="3844" y="12008"/>
                  <a:pt x="3844" y="12070"/>
                </a:cubicBezTo>
                <a:cubicBezTo>
                  <a:pt x="3844" y="12133"/>
                  <a:pt x="3868" y="12184"/>
                  <a:pt x="3897" y="12184"/>
                </a:cubicBezTo>
                <a:cubicBezTo>
                  <a:pt x="3927" y="12184"/>
                  <a:pt x="3951" y="12133"/>
                  <a:pt x="3951" y="12070"/>
                </a:cubicBezTo>
                <a:cubicBezTo>
                  <a:pt x="3951" y="12008"/>
                  <a:pt x="3927" y="11957"/>
                  <a:pt x="3897" y="11957"/>
                </a:cubicBezTo>
                <a:close/>
                <a:moveTo>
                  <a:pt x="3745" y="11957"/>
                </a:moveTo>
                <a:cubicBezTo>
                  <a:pt x="3715" y="11957"/>
                  <a:pt x="3691" y="12008"/>
                  <a:pt x="3691" y="12070"/>
                </a:cubicBezTo>
                <a:cubicBezTo>
                  <a:pt x="3691" y="12133"/>
                  <a:pt x="3715" y="12184"/>
                  <a:pt x="3745" y="12184"/>
                </a:cubicBezTo>
                <a:cubicBezTo>
                  <a:pt x="3774" y="12184"/>
                  <a:pt x="3798" y="12133"/>
                  <a:pt x="3798" y="12070"/>
                </a:cubicBezTo>
                <a:cubicBezTo>
                  <a:pt x="3798" y="12008"/>
                  <a:pt x="3774" y="11957"/>
                  <a:pt x="3745" y="11957"/>
                </a:cubicBezTo>
                <a:close/>
                <a:moveTo>
                  <a:pt x="4824" y="11957"/>
                </a:moveTo>
                <a:cubicBezTo>
                  <a:pt x="4795" y="11957"/>
                  <a:pt x="4771" y="12008"/>
                  <a:pt x="4771" y="12070"/>
                </a:cubicBezTo>
                <a:cubicBezTo>
                  <a:pt x="4771" y="12133"/>
                  <a:pt x="4795" y="12184"/>
                  <a:pt x="4824" y="12184"/>
                </a:cubicBezTo>
                <a:cubicBezTo>
                  <a:pt x="4854" y="12184"/>
                  <a:pt x="4878" y="12133"/>
                  <a:pt x="4878" y="12070"/>
                </a:cubicBezTo>
                <a:cubicBezTo>
                  <a:pt x="4878" y="12008"/>
                  <a:pt x="4854" y="11957"/>
                  <a:pt x="4824" y="11957"/>
                </a:cubicBezTo>
                <a:close/>
                <a:moveTo>
                  <a:pt x="4672" y="11957"/>
                </a:moveTo>
                <a:cubicBezTo>
                  <a:pt x="4642" y="11957"/>
                  <a:pt x="4618" y="12008"/>
                  <a:pt x="4618" y="12070"/>
                </a:cubicBezTo>
                <a:cubicBezTo>
                  <a:pt x="4618" y="12133"/>
                  <a:pt x="4642" y="12184"/>
                  <a:pt x="4672" y="12184"/>
                </a:cubicBezTo>
                <a:cubicBezTo>
                  <a:pt x="4701" y="12184"/>
                  <a:pt x="4726" y="12133"/>
                  <a:pt x="4726" y="12070"/>
                </a:cubicBezTo>
                <a:cubicBezTo>
                  <a:pt x="4726" y="12008"/>
                  <a:pt x="4701" y="11957"/>
                  <a:pt x="4672" y="11957"/>
                </a:cubicBezTo>
                <a:close/>
                <a:moveTo>
                  <a:pt x="4516" y="11957"/>
                </a:moveTo>
                <a:cubicBezTo>
                  <a:pt x="4487" y="11957"/>
                  <a:pt x="4463" y="12008"/>
                  <a:pt x="4463" y="12070"/>
                </a:cubicBezTo>
                <a:cubicBezTo>
                  <a:pt x="4463" y="12133"/>
                  <a:pt x="4487" y="12184"/>
                  <a:pt x="4516" y="12184"/>
                </a:cubicBezTo>
                <a:cubicBezTo>
                  <a:pt x="4546" y="12184"/>
                  <a:pt x="4570" y="12133"/>
                  <a:pt x="4570" y="12070"/>
                </a:cubicBezTo>
                <a:cubicBezTo>
                  <a:pt x="4570" y="12008"/>
                  <a:pt x="4546" y="11957"/>
                  <a:pt x="4516" y="11957"/>
                </a:cubicBezTo>
                <a:close/>
                <a:moveTo>
                  <a:pt x="4362" y="12184"/>
                </a:moveTo>
                <a:cubicBezTo>
                  <a:pt x="4392" y="12184"/>
                  <a:pt x="4416" y="12133"/>
                  <a:pt x="4416" y="12070"/>
                </a:cubicBezTo>
                <a:cubicBezTo>
                  <a:pt x="4416" y="12008"/>
                  <a:pt x="4392" y="11957"/>
                  <a:pt x="4362" y="11957"/>
                </a:cubicBezTo>
                <a:cubicBezTo>
                  <a:pt x="4333" y="11957"/>
                  <a:pt x="4309" y="12008"/>
                  <a:pt x="4309" y="12070"/>
                </a:cubicBezTo>
                <a:cubicBezTo>
                  <a:pt x="4309" y="12133"/>
                  <a:pt x="4333" y="12184"/>
                  <a:pt x="4362" y="12184"/>
                </a:cubicBezTo>
                <a:close/>
                <a:moveTo>
                  <a:pt x="4210" y="11957"/>
                </a:moveTo>
                <a:cubicBezTo>
                  <a:pt x="4180" y="11957"/>
                  <a:pt x="4156" y="12008"/>
                  <a:pt x="4156" y="12070"/>
                </a:cubicBezTo>
                <a:cubicBezTo>
                  <a:pt x="4156" y="12133"/>
                  <a:pt x="4180" y="12184"/>
                  <a:pt x="4210" y="12184"/>
                </a:cubicBezTo>
                <a:cubicBezTo>
                  <a:pt x="4240" y="12184"/>
                  <a:pt x="4264" y="12133"/>
                  <a:pt x="4264" y="12070"/>
                </a:cubicBezTo>
                <a:cubicBezTo>
                  <a:pt x="4264" y="12008"/>
                  <a:pt x="4240" y="11957"/>
                  <a:pt x="4210" y="11957"/>
                </a:cubicBezTo>
                <a:close/>
                <a:moveTo>
                  <a:pt x="5440" y="11957"/>
                </a:moveTo>
                <a:cubicBezTo>
                  <a:pt x="5410" y="11957"/>
                  <a:pt x="5386" y="12008"/>
                  <a:pt x="5386" y="12070"/>
                </a:cubicBezTo>
                <a:cubicBezTo>
                  <a:pt x="5386" y="12133"/>
                  <a:pt x="5410" y="12184"/>
                  <a:pt x="5440" y="12184"/>
                </a:cubicBezTo>
                <a:cubicBezTo>
                  <a:pt x="5470" y="12184"/>
                  <a:pt x="5494" y="12133"/>
                  <a:pt x="5494" y="12070"/>
                </a:cubicBezTo>
                <a:cubicBezTo>
                  <a:pt x="5494" y="12008"/>
                  <a:pt x="5470" y="11957"/>
                  <a:pt x="5440" y="11957"/>
                </a:cubicBezTo>
                <a:close/>
                <a:moveTo>
                  <a:pt x="5285" y="11957"/>
                </a:moveTo>
                <a:cubicBezTo>
                  <a:pt x="5255" y="11957"/>
                  <a:pt x="5231" y="12008"/>
                  <a:pt x="5231" y="12070"/>
                </a:cubicBezTo>
                <a:cubicBezTo>
                  <a:pt x="5231" y="12133"/>
                  <a:pt x="5255" y="12184"/>
                  <a:pt x="5285" y="12184"/>
                </a:cubicBezTo>
                <a:cubicBezTo>
                  <a:pt x="5314" y="12184"/>
                  <a:pt x="5338" y="12133"/>
                  <a:pt x="5338" y="12070"/>
                </a:cubicBezTo>
                <a:cubicBezTo>
                  <a:pt x="5338" y="12008"/>
                  <a:pt x="5314" y="11957"/>
                  <a:pt x="5285" y="11957"/>
                </a:cubicBezTo>
                <a:close/>
                <a:moveTo>
                  <a:pt x="5131" y="11642"/>
                </a:moveTo>
                <a:cubicBezTo>
                  <a:pt x="5101" y="11642"/>
                  <a:pt x="5077" y="11693"/>
                  <a:pt x="5077" y="11755"/>
                </a:cubicBezTo>
                <a:cubicBezTo>
                  <a:pt x="5077" y="11818"/>
                  <a:pt x="5101" y="11869"/>
                  <a:pt x="5131" y="11869"/>
                </a:cubicBezTo>
                <a:cubicBezTo>
                  <a:pt x="5160" y="11869"/>
                  <a:pt x="5184" y="11818"/>
                  <a:pt x="5184" y="11755"/>
                </a:cubicBezTo>
                <a:cubicBezTo>
                  <a:pt x="5184" y="11693"/>
                  <a:pt x="5160" y="11642"/>
                  <a:pt x="5131" y="11642"/>
                </a:cubicBezTo>
                <a:close/>
                <a:moveTo>
                  <a:pt x="4978" y="11642"/>
                </a:moveTo>
                <a:cubicBezTo>
                  <a:pt x="4948" y="11642"/>
                  <a:pt x="4924" y="11693"/>
                  <a:pt x="4924" y="11755"/>
                </a:cubicBezTo>
                <a:cubicBezTo>
                  <a:pt x="4924" y="11818"/>
                  <a:pt x="4948" y="11869"/>
                  <a:pt x="4978" y="11869"/>
                </a:cubicBezTo>
                <a:cubicBezTo>
                  <a:pt x="5008" y="11869"/>
                  <a:pt x="5032" y="11818"/>
                  <a:pt x="5032" y="11755"/>
                </a:cubicBezTo>
                <a:cubicBezTo>
                  <a:pt x="5032" y="11693"/>
                  <a:pt x="5008" y="11642"/>
                  <a:pt x="4978" y="11642"/>
                </a:cubicBezTo>
                <a:close/>
                <a:moveTo>
                  <a:pt x="5131" y="11957"/>
                </a:moveTo>
                <a:cubicBezTo>
                  <a:pt x="5101" y="11957"/>
                  <a:pt x="5077" y="12008"/>
                  <a:pt x="5077" y="12070"/>
                </a:cubicBezTo>
                <a:cubicBezTo>
                  <a:pt x="5077" y="12133"/>
                  <a:pt x="5101" y="12184"/>
                  <a:pt x="5131" y="12184"/>
                </a:cubicBezTo>
                <a:cubicBezTo>
                  <a:pt x="5160" y="12184"/>
                  <a:pt x="5184" y="12133"/>
                  <a:pt x="5184" y="12070"/>
                </a:cubicBezTo>
                <a:cubicBezTo>
                  <a:pt x="5184" y="12008"/>
                  <a:pt x="5160" y="11957"/>
                  <a:pt x="5131" y="11957"/>
                </a:cubicBezTo>
                <a:close/>
                <a:moveTo>
                  <a:pt x="4978" y="11957"/>
                </a:moveTo>
                <a:cubicBezTo>
                  <a:pt x="4948" y="11957"/>
                  <a:pt x="4924" y="12008"/>
                  <a:pt x="4924" y="12070"/>
                </a:cubicBezTo>
                <a:cubicBezTo>
                  <a:pt x="4924" y="12133"/>
                  <a:pt x="4948" y="12184"/>
                  <a:pt x="4978" y="12184"/>
                </a:cubicBezTo>
                <a:cubicBezTo>
                  <a:pt x="5008" y="12184"/>
                  <a:pt x="5032" y="12133"/>
                  <a:pt x="5032" y="12070"/>
                </a:cubicBezTo>
                <a:cubicBezTo>
                  <a:pt x="5032" y="12008"/>
                  <a:pt x="5008" y="11957"/>
                  <a:pt x="4978" y="11957"/>
                </a:cubicBezTo>
                <a:close/>
                <a:moveTo>
                  <a:pt x="3591" y="12284"/>
                </a:moveTo>
                <a:cubicBezTo>
                  <a:pt x="3561" y="12284"/>
                  <a:pt x="3537" y="12334"/>
                  <a:pt x="3537" y="12397"/>
                </a:cubicBezTo>
                <a:cubicBezTo>
                  <a:pt x="3537" y="12459"/>
                  <a:pt x="3561" y="12510"/>
                  <a:pt x="3591" y="12510"/>
                </a:cubicBezTo>
                <a:cubicBezTo>
                  <a:pt x="3621" y="12510"/>
                  <a:pt x="3645" y="12459"/>
                  <a:pt x="3645" y="12397"/>
                </a:cubicBezTo>
                <a:cubicBezTo>
                  <a:pt x="3645" y="12334"/>
                  <a:pt x="3621" y="12284"/>
                  <a:pt x="3591" y="12284"/>
                </a:cubicBezTo>
                <a:close/>
                <a:moveTo>
                  <a:pt x="3438" y="12284"/>
                </a:moveTo>
                <a:cubicBezTo>
                  <a:pt x="3409" y="12284"/>
                  <a:pt x="3385" y="12334"/>
                  <a:pt x="3385" y="12397"/>
                </a:cubicBezTo>
                <a:cubicBezTo>
                  <a:pt x="3385" y="12459"/>
                  <a:pt x="3409" y="12510"/>
                  <a:pt x="3438" y="12510"/>
                </a:cubicBezTo>
                <a:cubicBezTo>
                  <a:pt x="3468" y="12510"/>
                  <a:pt x="3492" y="12459"/>
                  <a:pt x="3492" y="12397"/>
                </a:cubicBezTo>
                <a:cubicBezTo>
                  <a:pt x="3492" y="12334"/>
                  <a:pt x="3468" y="12284"/>
                  <a:pt x="3438" y="12284"/>
                </a:cubicBezTo>
                <a:close/>
                <a:moveTo>
                  <a:pt x="4051" y="12284"/>
                </a:moveTo>
                <a:cubicBezTo>
                  <a:pt x="4022" y="12284"/>
                  <a:pt x="3998" y="12334"/>
                  <a:pt x="3998" y="12397"/>
                </a:cubicBezTo>
                <a:cubicBezTo>
                  <a:pt x="3998" y="12459"/>
                  <a:pt x="4022" y="12510"/>
                  <a:pt x="4051" y="12510"/>
                </a:cubicBezTo>
                <a:cubicBezTo>
                  <a:pt x="4081" y="12510"/>
                  <a:pt x="4105" y="12459"/>
                  <a:pt x="4105" y="12397"/>
                </a:cubicBezTo>
                <a:cubicBezTo>
                  <a:pt x="4105" y="12334"/>
                  <a:pt x="4081" y="12284"/>
                  <a:pt x="4051" y="12284"/>
                </a:cubicBezTo>
                <a:close/>
                <a:moveTo>
                  <a:pt x="3897" y="12284"/>
                </a:moveTo>
                <a:cubicBezTo>
                  <a:pt x="3868" y="12284"/>
                  <a:pt x="3844" y="12334"/>
                  <a:pt x="3844" y="12397"/>
                </a:cubicBezTo>
                <a:cubicBezTo>
                  <a:pt x="3844" y="12459"/>
                  <a:pt x="3868" y="12510"/>
                  <a:pt x="3897" y="12510"/>
                </a:cubicBezTo>
                <a:cubicBezTo>
                  <a:pt x="3927" y="12510"/>
                  <a:pt x="3951" y="12459"/>
                  <a:pt x="3951" y="12397"/>
                </a:cubicBezTo>
                <a:cubicBezTo>
                  <a:pt x="3951" y="12334"/>
                  <a:pt x="3927" y="12284"/>
                  <a:pt x="3897" y="12284"/>
                </a:cubicBezTo>
                <a:close/>
                <a:moveTo>
                  <a:pt x="3745" y="12284"/>
                </a:moveTo>
                <a:cubicBezTo>
                  <a:pt x="3715" y="12284"/>
                  <a:pt x="3691" y="12334"/>
                  <a:pt x="3691" y="12397"/>
                </a:cubicBezTo>
                <a:cubicBezTo>
                  <a:pt x="3691" y="12459"/>
                  <a:pt x="3715" y="12510"/>
                  <a:pt x="3745" y="12510"/>
                </a:cubicBezTo>
                <a:cubicBezTo>
                  <a:pt x="3774" y="12510"/>
                  <a:pt x="3798" y="12459"/>
                  <a:pt x="3798" y="12397"/>
                </a:cubicBezTo>
                <a:cubicBezTo>
                  <a:pt x="3798" y="12334"/>
                  <a:pt x="3774" y="12284"/>
                  <a:pt x="3745" y="12284"/>
                </a:cubicBezTo>
                <a:close/>
                <a:moveTo>
                  <a:pt x="4824" y="12284"/>
                </a:moveTo>
                <a:cubicBezTo>
                  <a:pt x="4795" y="12284"/>
                  <a:pt x="4771" y="12334"/>
                  <a:pt x="4771" y="12397"/>
                </a:cubicBezTo>
                <a:cubicBezTo>
                  <a:pt x="4771" y="12459"/>
                  <a:pt x="4795" y="12510"/>
                  <a:pt x="4824" y="12510"/>
                </a:cubicBezTo>
                <a:cubicBezTo>
                  <a:pt x="4854" y="12510"/>
                  <a:pt x="4878" y="12459"/>
                  <a:pt x="4878" y="12397"/>
                </a:cubicBezTo>
                <a:cubicBezTo>
                  <a:pt x="4878" y="12334"/>
                  <a:pt x="4854" y="12284"/>
                  <a:pt x="4824" y="12284"/>
                </a:cubicBezTo>
                <a:close/>
                <a:moveTo>
                  <a:pt x="4672" y="12284"/>
                </a:moveTo>
                <a:cubicBezTo>
                  <a:pt x="4642" y="12284"/>
                  <a:pt x="4618" y="12334"/>
                  <a:pt x="4618" y="12397"/>
                </a:cubicBezTo>
                <a:cubicBezTo>
                  <a:pt x="4618" y="12459"/>
                  <a:pt x="4642" y="12510"/>
                  <a:pt x="4672" y="12510"/>
                </a:cubicBezTo>
                <a:cubicBezTo>
                  <a:pt x="4701" y="12510"/>
                  <a:pt x="4726" y="12459"/>
                  <a:pt x="4726" y="12397"/>
                </a:cubicBezTo>
                <a:cubicBezTo>
                  <a:pt x="4726" y="12334"/>
                  <a:pt x="4701" y="12284"/>
                  <a:pt x="4672" y="12284"/>
                </a:cubicBezTo>
                <a:close/>
                <a:moveTo>
                  <a:pt x="4516" y="12284"/>
                </a:moveTo>
                <a:cubicBezTo>
                  <a:pt x="4487" y="12284"/>
                  <a:pt x="4463" y="12334"/>
                  <a:pt x="4463" y="12397"/>
                </a:cubicBezTo>
                <a:cubicBezTo>
                  <a:pt x="4463" y="12459"/>
                  <a:pt x="4487" y="12510"/>
                  <a:pt x="4516" y="12510"/>
                </a:cubicBezTo>
                <a:cubicBezTo>
                  <a:pt x="4546" y="12510"/>
                  <a:pt x="4570" y="12459"/>
                  <a:pt x="4570" y="12397"/>
                </a:cubicBezTo>
                <a:cubicBezTo>
                  <a:pt x="4570" y="12334"/>
                  <a:pt x="4546" y="12284"/>
                  <a:pt x="4516" y="12284"/>
                </a:cubicBezTo>
                <a:close/>
                <a:moveTo>
                  <a:pt x="4362" y="12510"/>
                </a:moveTo>
                <a:cubicBezTo>
                  <a:pt x="4392" y="12510"/>
                  <a:pt x="4416" y="12459"/>
                  <a:pt x="4416" y="12397"/>
                </a:cubicBezTo>
                <a:cubicBezTo>
                  <a:pt x="4416" y="12334"/>
                  <a:pt x="4392" y="12284"/>
                  <a:pt x="4362" y="12284"/>
                </a:cubicBezTo>
                <a:cubicBezTo>
                  <a:pt x="4333" y="12284"/>
                  <a:pt x="4309" y="12334"/>
                  <a:pt x="4309" y="12397"/>
                </a:cubicBezTo>
                <a:cubicBezTo>
                  <a:pt x="4309" y="12459"/>
                  <a:pt x="4333" y="12510"/>
                  <a:pt x="4362" y="12510"/>
                </a:cubicBezTo>
                <a:close/>
                <a:moveTo>
                  <a:pt x="4210" y="12284"/>
                </a:moveTo>
                <a:cubicBezTo>
                  <a:pt x="4180" y="12284"/>
                  <a:pt x="4156" y="12334"/>
                  <a:pt x="4156" y="12397"/>
                </a:cubicBezTo>
                <a:cubicBezTo>
                  <a:pt x="4156" y="12459"/>
                  <a:pt x="4180" y="12510"/>
                  <a:pt x="4210" y="12510"/>
                </a:cubicBezTo>
                <a:cubicBezTo>
                  <a:pt x="4240" y="12510"/>
                  <a:pt x="4264" y="12459"/>
                  <a:pt x="4264" y="12397"/>
                </a:cubicBezTo>
                <a:cubicBezTo>
                  <a:pt x="4264" y="12334"/>
                  <a:pt x="4240" y="12284"/>
                  <a:pt x="4210" y="12284"/>
                </a:cubicBezTo>
                <a:close/>
                <a:moveTo>
                  <a:pt x="5440" y="12284"/>
                </a:moveTo>
                <a:cubicBezTo>
                  <a:pt x="5410" y="12284"/>
                  <a:pt x="5386" y="12334"/>
                  <a:pt x="5386" y="12397"/>
                </a:cubicBezTo>
                <a:cubicBezTo>
                  <a:pt x="5386" y="12459"/>
                  <a:pt x="5410" y="12510"/>
                  <a:pt x="5440" y="12510"/>
                </a:cubicBezTo>
                <a:cubicBezTo>
                  <a:pt x="5470" y="12510"/>
                  <a:pt x="5494" y="12459"/>
                  <a:pt x="5494" y="12397"/>
                </a:cubicBezTo>
                <a:cubicBezTo>
                  <a:pt x="5494" y="12334"/>
                  <a:pt x="5470" y="12284"/>
                  <a:pt x="5440" y="12284"/>
                </a:cubicBezTo>
                <a:close/>
                <a:moveTo>
                  <a:pt x="5285" y="12284"/>
                </a:moveTo>
                <a:cubicBezTo>
                  <a:pt x="5255" y="12284"/>
                  <a:pt x="5231" y="12334"/>
                  <a:pt x="5231" y="12397"/>
                </a:cubicBezTo>
                <a:cubicBezTo>
                  <a:pt x="5231" y="12459"/>
                  <a:pt x="5255" y="12510"/>
                  <a:pt x="5285" y="12510"/>
                </a:cubicBezTo>
                <a:cubicBezTo>
                  <a:pt x="5314" y="12510"/>
                  <a:pt x="5338" y="12459"/>
                  <a:pt x="5338" y="12397"/>
                </a:cubicBezTo>
                <a:cubicBezTo>
                  <a:pt x="5338" y="12334"/>
                  <a:pt x="5314" y="12284"/>
                  <a:pt x="5285" y="12284"/>
                </a:cubicBezTo>
                <a:close/>
                <a:moveTo>
                  <a:pt x="5131" y="12284"/>
                </a:moveTo>
                <a:cubicBezTo>
                  <a:pt x="5101" y="12284"/>
                  <a:pt x="5077" y="12334"/>
                  <a:pt x="5077" y="12397"/>
                </a:cubicBezTo>
                <a:cubicBezTo>
                  <a:pt x="5077" y="12459"/>
                  <a:pt x="5101" y="12510"/>
                  <a:pt x="5131" y="12510"/>
                </a:cubicBezTo>
                <a:cubicBezTo>
                  <a:pt x="5160" y="12510"/>
                  <a:pt x="5184" y="12459"/>
                  <a:pt x="5184" y="12397"/>
                </a:cubicBezTo>
                <a:cubicBezTo>
                  <a:pt x="5184" y="12334"/>
                  <a:pt x="5160" y="12284"/>
                  <a:pt x="5131" y="12284"/>
                </a:cubicBezTo>
                <a:close/>
                <a:moveTo>
                  <a:pt x="4978" y="12284"/>
                </a:moveTo>
                <a:cubicBezTo>
                  <a:pt x="4948" y="12284"/>
                  <a:pt x="4924" y="12334"/>
                  <a:pt x="4924" y="12397"/>
                </a:cubicBezTo>
                <a:cubicBezTo>
                  <a:pt x="4924" y="12459"/>
                  <a:pt x="4948" y="12510"/>
                  <a:pt x="4978" y="12510"/>
                </a:cubicBezTo>
                <a:cubicBezTo>
                  <a:pt x="5008" y="12510"/>
                  <a:pt x="5032" y="12459"/>
                  <a:pt x="5032" y="12397"/>
                </a:cubicBezTo>
                <a:cubicBezTo>
                  <a:pt x="5032" y="12334"/>
                  <a:pt x="5008" y="12284"/>
                  <a:pt x="4978" y="12284"/>
                </a:cubicBezTo>
                <a:close/>
                <a:moveTo>
                  <a:pt x="5899" y="12918"/>
                </a:moveTo>
                <a:cubicBezTo>
                  <a:pt x="5869" y="12918"/>
                  <a:pt x="5845" y="12969"/>
                  <a:pt x="5845" y="13031"/>
                </a:cubicBezTo>
                <a:cubicBezTo>
                  <a:pt x="5845" y="13094"/>
                  <a:pt x="5869" y="13145"/>
                  <a:pt x="5899" y="13145"/>
                </a:cubicBezTo>
                <a:cubicBezTo>
                  <a:pt x="5929" y="13145"/>
                  <a:pt x="5953" y="13094"/>
                  <a:pt x="5953" y="13031"/>
                </a:cubicBezTo>
                <a:cubicBezTo>
                  <a:pt x="5953" y="12969"/>
                  <a:pt x="5929" y="12918"/>
                  <a:pt x="5899" y="12918"/>
                </a:cubicBezTo>
                <a:close/>
                <a:moveTo>
                  <a:pt x="3752" y="6148"/>
                </a:moveTo>
                <a:cubicBezTo>
                  <a:pt x="3722" y="6148"/>
                  <a:pt x="3698" y="6198"/>
                  <a:pt x="3698" y="6261"/>
                </a:cubicBezTo>
                <a:cubicBezTo>
                  <a:pt x="3698" y="6323"/>
                  <a:pt x="3722" y="6374"/>
                  <a:pt x="3752" y="6374"/>
                </a:cubicBezTo>
                <a:cubicBezTo>
                  <a:pt x="3782" y="6374"/>
                  <a:pt x="3806" y="6323"/>
                  <a:pt x="3806" y="6261"/>
                </a:cubicBezTo>
                <a:cubicBezTo>
                  <a:pt x="3806" y="6198"/>
                  <a:pt x="3782" y="6148"/>
                  <a:pt x="3752" y="6148"/>
                </a:cubicBezTo>
                <a:close/>
                <a:moveTo>
                  <a:pt x="2667" y="9944"/>
                </a:moveTo>
                <a:cubicBezTo>
                  <a:pt x="2697" y="9944"/>
                  <a:pt x="2721" y="9893"/>
                  <a:pt x="2721" y="9831"/>
                </a:cubicBezTo>
                <a:cubicBezTo>
                  <a:pt x="2721" y="9768"/>
                  <a:pt x="2697" y="9717"/>
                  <a:pt x="2667" y="9717"/>
                </a:cubicBezTo>
                <a:cubicBezTo>
                  <a:pt x="2637" y="9717"/>
                  <a:pt x="2613" y="9768"/>
                  <a:pt x="2613" y="9831"/>
                </a:cubicBezTo>
                <a:cubicBezTo>
                  <a:pt x="2613" y="9893"/>
                  <a:pt x="2637" y="9944"/>
                  <a:pt x="2667" y="9944"/>
                </a:cubicBezTo>
                <a:close/>
                <a:moveTo>
                  <a:pt x="2513" y="9944"/>
                </a:moveTo>
                <a:cubicBezTo>
                  <a:pt x="2543" y="9944"/>
                  <a:pt x="2567" y="9893"/>
                  <a:pt x="2567" y="9831"/>
                </a:cubicBezTo>
                <a:cubicBezTo>
                  <a:pt x="2567" y="9768"/>
                  <a:pt x="2543" y="9717"/>
                  <a:pt x="2513" y="9717"/>
                </a:cubicBezTo>
                <a:cubicBezTo>
                  <a:pt x="2483" y="9717"/>
                  <a:pt x="2459" y="9768"/>
                  <a:pt x="2459" y="9831"/>
                </a:cubicBezTo>
                <a:cubicBezTo>
                  <a:pt x="2459" y="9893"/>
                  <a:pt x="2483" y="9944"/>
                  <a:pt x="2513" y="9944"/>
                </a:cubicBezTo>
                <a:close/>
                <a:moveTo>
                  <a:pt x="2360" y="9717"/>
                </a:moveTo>
                <a:cubicBezTo>
                  <a:pt x="2331" y="9717"/>
                  <a:pt x="2307" y="9768"/>
                  <a:pt x="2307" y="9831"/>
                </a:cubicBezTo>
                <a:cubicBezTo>
                  <a:pt x="2307" y="9893"/>
                  <a:pt x="2331" y="9944"/>
                  <a:pt x="2360" y="9944"/>
                </a:cubicBezTo>
                <a:cubicBezTo>
                  <a:pt x="2390" y="9944"/>
                  <a:pt x="2414" y="9893"/>
                  <a:pt x="2414" y="9831"/>
                </a:cubicBezTo>
                <a:cubicBezTo>
                  <a:pt x="2414" y="9768"/>
                  <a:pt x="2390" y="9717"/>
                  <a:pt x="2360" y="9717"/>
                </a:cubicBezTo>
                <a:close/>
                <a:moveTo>
                  <a:pt x="2360" y="9390"/>
                </a:moveTo>
                <a:cubicBezTo>
                  <a:pt x="2331" y="9390"/>
                  <a:pt x="2307" y="9441"/>
                  <a:pt x="2307" y="9504"/>
                </a:cubicBezTo>
                <a:cubicBezTo>
                  <a:pt x="2307" y="9566"/>
                  <a:pt x="2331" y="9617"/>
                  <a:pt x="2360" y="9617"/>
                </a:cubicBezTo>
                <a:cubicBezTo>
                  <a:pt x="2390" y="9617"/>
                  <a:pt x="2414" y="9566"/>
                  <a:pt x="2414" y="9504"/>
                </a:cubicBezTo>
                <a:cubicBezTo>
                  <a:pt x="2414" y="9441"/>
                  <a:pt x="2390" y="9390"/>
                  <a:pt x="2360" y="9390"/>
                </a:cubicBezTo>
                <a:close/>
                <a:moveTo>
                  <a:pt x="2982" y="10674"/>
                </a:moveTo>
                <a:cubicBezTo>
                  <a:pt x="2952" y="10674"/>
                  <a:pt x="2928" y="10725"/>
                  <a:pt x="2928" y="10787"/>
                </a:cubicBezTo>
                <a:cubicBezTo>
                  <a:pt x="2928" y="10850"/>
                  <a:pt x="2952" y="10900"/>
                  <a:pt x="2982" y="10900"/>
                </a:cubicBezTo>
                <a:cubicBezTo>
                  <a:pt x="3012" y="10900"/>
                  <a:pt x="3036" y="10850"/>
                  <a:pt x="3036" y="10787"/>
                </a:cubicBezTo>
                <a:cubicBezTo>
                  <a:pt x="3036" y="10725"/>
                  <a:pt x="3012" y="10674"/>
                  <a:pt x="2982" y="10674"/>
                </a:cubicBezTo>
                <a:close/>
                <a:moveTo>
                  <a:pt x="3134" y="11001"/>
                </a:moveTo>
                <a:cubicBezTo>
                  <a:pt x="3105" y="11001"/>
                  <a:pt x="3081" y="11052"/>
                  <a:pt x="3081" y="11114"/>
                </a:cubicBezTo>
                <a:cubicBezTo>
                  <a:pt x="3081" y="11177"/>
                  <a:pt x="3105" y="11227"/>
                  <a:pt x="3134" y="11227"/>
                </a:cubicBezTo>
                <a:cubicBezTo>
                  <a:pt x="3164" y="11227"/>
                  <a:pt x="3188" y="11177"/>
                  <a:pt x="3188" y="11114"/>
                </a:cubicBezTo>
                <a:cubicBezTo>
                  <a:pt x="3188" y="11052"/>
                  <a:pt x="3164" y="11001"/>
                  <a:pt x="3134" y="11001"/>
                </a:cubicBezTo>
                <a:close/>
                <a:moveTo>
                  <a:pt x="3134" y="10674"/>
                </a:moveTo>
                <a:cubicBezTo>
                  <a:pt x="3105" y="10674"/>
                  <a:pt x="3081" y="10725"/>
                  <a:pt x="3081" y="10787"/>
                </a:cubicBezTo>
                <a:cubicBezTo>
                  <a:pt x="3081" y="10850"/>
                  <a:pt x="3105" y="10900"/>
                  <a:pt x="3134" y="10900"/>
                </a:cubicBezTo>
                <a:cubicBezTo>
                  <a:pt x="3164" y="10900"/>
                  <a:pt x="3188" y="10850"/>
                  <a:pt x="3188" y="10787"/>
                </a:cubicBezTo>
                <a:cubicBezTo>
                  <a:pt x="3188" y="10725"/>
                  <a:pt x="3164" y="10674"/>
                  <a:pt x="3134" y="10674"/>
                </a:cubicBezTo>
                <a:close/>
                <a:moveTo>
                  <a:pt x="2982" y="10367"/>
                </a:moveTo>
                <a:cubicBezTo>
                  <a:pt x="2952" y="10367"/>
                  <a:pt x="2928" y="10418"/>
                  <a:pt x="2928" y="10481"/>
                </a:cubicBezTo>
                <a:cubicBezTo>
                  <a:pt x="2928" y="10543"/>
                  <a:pt x="2952" y="10594"/>
                  <a:pt x="2982" y="10594"/>
                </a:cubicBezTo>
                <a:cubicBezTo>
                  <a:pt x="3012" y="10594"/>
                  <a:pt x="3036" y="10543"/>
                  <a:pt x="3036" y="10481"/>
                </a:cubicBezTo>
                <a:cubicBezTo>
                  <a:pt x="3036" y="10418"/>
                  <a:pt x="3012" y="10367"/>
                  <a:pt x="2982" y="10367"/>
                </a:cubicBezTo>
                <a:close/>
                <a:moveTo>
                  <a:pt x="2982" y="10040"/>
                </a:moveTo>
                <a:cubicBezTo>
                  <a:pt x="2952" y="10040"/>
                  <a:pt x="2928" y="10091"/>
                  <a:pt x="2928" y="10154"/>
                </a:cubicBezTo>
                <a:cubicBezTo>
                  <a:pt x="2928" y="10216"/>
                  <a:pt x="2952" y="10267"/>
                  <a:pt x="2982" y="10267"/>
                </a:cubicBezTo>
                <a:cubicBezTo>
                  <a:pt x="3012" y="10267"/>
                  <a:pt x="3036" y="10216"/>
                  <a:pt x="3036" y="10154"/>
                </a:cubicBezTo>
                <a:cubicBezTo>
                  <a:pt x="3036" y="10091"/>
                  <a:pt x="3012" y="10040"/>
                  <a:pt x="2982" y="10040"/>
                </a:cubicBezTo>
                <a:close/>
                <a:moveTo>
                  <a:pt x="3134" y="10367"/>
                </a:moveTo>
                <a:cubicBezTo>
                  <a:pt x="3105" y="10367"/>
                  <a:pt x="3081" y="10418"/>
                  <a:pt x="3081" y="10481"/>
                </a:cubicBezTo>
                <a:cubicBezTo>
                  <a:pt x="3081" y="10543"/>
                  <a:pt x="3105" y="10594"/>
                  <a:pt x="3134" y="10594"/>
                </a:cubicBezTo>
                <a:cubicBezTo>
                  <a:pt x="3164" y="10594"/>
                  <a:pt x="3188" y="10543"/>
                  <a:pt x="3188" y="10481"/>
                </a:cubicBezTo>
                <a:cubicBezTo>
                  <a:pt x="3188" y="10418"/>
                  <a:pt x="3164" y="10367"/>
                  <a:pt x="3134" y="10367"/>
                </a:cubicBezTo>
                <a:close/>
                <a:moveTo>
                  <a:pt x="3134" y="10040"/>
                </a:moveTo>
                <a:cubicBezTo>
                  <a:pt x="3105" y="10040"/>
                  <a:pt x="3081" y="10091"/>
                  <a:pt x="3081" y="10154"/>
                </a:cubicBezTo>
                <a:cubicBezTo>
                  <a:pt x="3081" y="10216"/>
                  <a:pt x="3105" y="10267"/>
                  <a:pt x="3134" y="10267"/>
                </a:cubicBezTo>
                <a:cubicBezTo>
                  <a:pt x="3164" y="10267"/>
                  <a:pt x="3188" y="10216"/>
                  <a:pt x="3188" y="10154"/>
                </a:cubicBezTo>
                <a:cubicBezTo>
                  <a:pt x="3188" y="10091"/>
                  <a:pt x="3164" y="10040"/>
                  <a:pt x="3134" y="10040"/>
                </a:cubicBezTo>
                <a:close/>
                <a:moveTo>
                  <a:pt x="2673" y="10367"/>
                </a:moveTo>
                <a:cubicBezTo>
                  <a:pt x="2643" y="10367"/>
                  <a:pt x="2619" y="10418"/>
                  <a:pt x="2619" y="10481"/>
                </a:cubicBezTo>
                <a:cubicBezTo>
                  <a:pt x="2619" y="10543"/>
                  <a:pt x="2643" y="10594"/>
                  <a:pt x="2673" y="10594"/>
                </a:cubicBezTo>
                <a:cubicBezTo>
                  <a:pt x="2703" y="10594"/>
                  <a:pt x="2727" y="10543"/>
                  <a:pt x="2727" y="10481"/>
                </a:cubicBezTo>
                <a:cubicBezTo>
                  <a:pt x="2727" y="10418"/>
                  <a:pt x="2703" y="10367"/>
                  <a:pt x="2673" y="10367"/>
                </a:cubicBezTo>
                <a:close/>
                <a:moveTo>
                  <a:pt x="2517" y="10040"/>
                </a:moveTo>
                <a:cubicBezTo>
                  <a:pt x="2487" y="10040"/>
                  <a:pt x="2463" y="10091"/>
                  <a:pt x="2463" y="10154"/>
                </a:cubicBezTo>
                <a:cubicBezTo>
                  <a:pt x="2463" y="10216"/>
                  <a:pt x="2487" y="10267"/>
                  <a:pt x="2517" y="10267"/>
                </a:cubicBezTo>
                <a:cubicBezTo>
                  <a:pt x="2546" y="10267"/>
                  <a:pt x="2570" y="10216"/>
                  <a:pt x="2570" y="10154"/>
                </a:cubicBezTo>
                <a:cubicBezTo>
                  <a:pt x="2570" y="10091"/>
                  <a:pt x="2546" y="10040"/>
                  <a:pt x="2517" y="10040"/>
                </a:cubicBezTo>
                <a:close/>
                <a:moveTo>
                  <a:pt x="2673" y="10040"/>
                </a:moveTo>
                <a:cubicBezTo>
                  <a:pt x="2643" y="10040"/>
                  <a:pt x="2619" y="10091"/>
                  <a:pt x="2619" y="10154"/>
                </a:cubicBezTo>
                <a:cubicBezTo>
                  <a:pt x="2619" y="10216"/>
                  <a:pt x="2643" y="10267"/>
                  <a:pt x="2673" y="10267"/>
                </a:cubicBezTo>
                <a:cubicBezTo>
                  <a:pt x="2703" y="10267"/>
                  <a:pt x="2727" y="10216"/>
                  <a:pt x="2727" y="10154"/>
                </a:cubicBezTo>
                <a:cubicBezTo>
                  <a:pt x="2727" y="10091"/>
                  <a:pt x="2703" y="10040"/>
                  <a:pt x="2673" y="10040"/>
                </a:cubicBezTo>
                <a:close/>
                <a:moveTo>
                  <a:pt x="2826" y="10367"/>
                </a:moveTo>
                <a:cubicBezTo>
                  <a:pt x="2796" y="10367"/>
                  <a:pt x="2772" y="10418"/>
                  <a:pt x="2772" y="10481"/>
                </a:cubicBezTo>
                <a:cubicBezTo>
                  <a:pt x="2772" y="10543"/>
                  <a:pt x="2796" y="10594"/>
                  <a:pt x="2826" y="10594"/>
                </a:cubicBezTo>
                <a:cubicBezTo>
                  <a:pt x="2855" y="10594"/>
                  <a:pt x="2879" y="10543"/>
                  <a:pt x="2879" y="10481"/>
                </a:cubicBezTo>
                <a:cubicBezTo>
                  <a:pt x="2879" y="10418"/>
                  <a:pt x="2855" y="10367"/>
                  <a:pt x="2826" y="10367"/>
                </a:cubicBezTo>
                <a:close/>
                <a:moveTo>
                  <a:pt x="2826" y="10040"/>
                </a:moveTo>
                <a:cubicBezTo>
                  <a:pt x="2796" y="10040"/>
                  <a:pt x="2772" y="10091"/>
                  <a:pt x="2772" y="10154"/>
                </a:cubicBezTo>
                <a:cubicBezTo>
                  <a:pt x="2772" y="10216"/>
                  <a:pt x="2796" y="10267"/>
                  <a:pt x="2826" y="10267"/>
                </a:cubicBezTo>
                <a:cubicBezTo>
                  <a:pt x="2855" y="10267"/>
                  <a:pt x="2879" y="10216"/>
                  <a:pt x="2879" y="10154"/>
                </a:cubicBezTo>
                <a:cubicBezTo>
                  <a:pt x="2879" y="10091"/>
                  <a:pt x="2855" y="10040"/>
                  <a:pt x="2826" y="10040"/>
                </a:cubicBezTo>
                <a:close/>
                <a:moveTo>
                  <a:pt x="2826" y="9717"/>
                </a:moveTo>
                <a:cubicBezTo>
                  <a:pt x="2796" y="9717"/>
                  <a:pt x="2772" y="9768"/>
                  <a:pt x="2772" y="9831"/>
                </a:cubicBezTo>
                <a:cubicBezTo>
                  <a:pt x="2772" y="9893"/>
                  <a:pt x="2796" y="9944"/>
                  <a:pt x="2826" y="9944"/>
                </a:cubicBezTo>
                <a:cubicBezTo>
                  <a:pt x="2855" y="9944"/>
                  <a:pt x="2879" y="9893"/>
                  <a:pt x="2879" y="9831"/>
                </a:cubicBezTo>
                <a:cubicBezTo>
                  <a:pt x="2879" y="9768"/>
                  <a:pt x="2855" y="9717"/>
                  <a:pt x="2826" y="9717"/>
                </a:cubicBezTo>
                <a:close/>
                <a:moveTo>
                  <a:pt x="2958" y="9288"/>
                </a:moveTo>
                <a:cubicBezTo>
                  <a:pt x="2988" y="9288"/>
                  <a:pt x="3012" y="9237"/>
                  <a:pt x="3012" y="9174"/>
                </a:cubicBezTo>
                <a:cubicBezTo>
                  <a:pt x="3012" y="9112"/>
                  <a:pt x="2988" y="9061"/>
                  <a:pt x="2958" y="9061"/>
                </a:cubicBezTo>
                <a:cubicBezTo>
                  <a:pt x="2929" y="9061"/>
                  <a:pt x="2905" y="9112"/>
                  <a:pt x="2905" y="9174"/>
                </a:cubicBezTo>
                <a:cubicBezTo>
                  <a:pt x="2905" y="9237"/>
                  <a:pt x="2929" y="9288"/>
                  <a:pt x="2958" y="9288"/>
                </a:cubicBezTo>
                <a:close/>
                <a:moveTo>
                  <a:pt x="3012" y="9504"/>
                </a:moveTo>
                <a:cubicBezTo>
                  <a:pt x="3012" y="9441"/>
                  <a:pt x="2988" y="9390"/>
                  <a:pt x="2958" y="9390"/>
                </a:cubicBezTo>
                <a:cubicBezTo>
                  <a:pt x="2929" y="9390"/>
                  <a:pt x="2905" y="9441"/>
                  <a:pt x="2905" y="9504"/>
                </a:cubicBezTo>
                <a:cubicBezTo>
                  <a:pt x="2905" y="9566"/>
                  <a:pt x="2929" y="9617"/>
                  <a:pt x="2958" y="9617"/>
                </a:cubicBezTo>
                <a:cubicBezTo>
                  <a:pt x="2988" y="9617"/>
                  <a:pt x="3012" y="9566"/>
                  <a:pt x="3012" y="9504"/>
                </a:cubicBezTo>
                <a:close/>
                <a:moveTo>
                  <a:pt x="2826" y="9390"/>
                </a:moveTo>
                <a:cubicBezTo>
                  <a:pt x="2796" y="9390"/>
                  <a:pt x="2772" y="9441"/>
                  <a:pt x="2772" y="9504"/>
                </a:cubicBezTo>
                <a:cubicBezTo>
                  <a:pt x="2772" y="9566"/>
                  <a:pt x="2796" y="9617"/>
                  <a:pt x="2826" y="9617"/>
                </a:cubicBezTo>
                <a:cubicBezTo>
                  <a:pt x="2855" y="9617"/>
                  <a:pt x="2879" y="9566"/>
                  <a:pt x="2879" y="9504"/>
                </a:cubicBezTo>
                <a:cubicBezTo>
                  <a:pt x="2879" y="9441"/>
                  <a:pt x="2855" y="9390"/>
                  <a:pt x="2826" y="9390"/>
                </a:cubicBezTo>
                <a:close/>
                <a:moveTo>
                  <a:pt x="2057" y="9388"/>
                </a:moveTo>
                <a:cubicBezTo>
                  <a:pt x="2027" y="9388"/>
                  <a:pt x="2003" y="9439"/>
                  <a:pt x="2003" y="9501"/>
                </a:cubicBezTo>
                <a:cubicBezTo>
                  <a:pt x="2003" y="9564"/>
                  <a:pt x="2027" y="9614"/>
                  <a:pt x="2057" y="9614"/>
                </a:cubicBezTo>
                <a:cubicBezTo>
                  <a:pt x="2087" y="9614"/>
                  <a:pt x="2111" y="9564"/>
                  <a:pt x="2111" y="9501"/>
                </a:cubicBezTo>
                <a:cubicBezTo>
                  <a:pt x="2111" y="9439"/>
                  <a:pt x="2087" y="9388"/>
                  <a:pt x="2057" y="9388"/>
                </a:cubicBezTo>
                <a:close/>
                <a:moveTo>
                  <a:pt x="2057" y="8118"/>
                </a:moveTo>
                <a:cubicBezTo>
                  <a:pt x="2027" y="8118"/>
                  <a:pt x="2003" y="8169"/>
                  <a:pt x="2003" y="8231"/>
                </a:cubicBezTo>
                <a:cubicBezTo>
                  <a:pt x="2003" y="8294"/>
                  <a:pt x="2027" y="8344"/>
                  <a:pt x="2057" y="8344"/>
                </a:cubicBezTo>
                <a:cubicBezTo>
                  <a:pt x="2087" y="8344"/>
                  <a:pt x="2111" y="8294"/>
                  <a:pt x="2111" y="8231"/>
                </a:cubicBezTo>
                <a:cubicBezTo>
                  <a:pt x="2111" y="8169"/>
                  <a:pt x="2087" y="8118"/>
                  <a:pt x="2057" y="8118"/>
                </a:cubicBezTo>
                <a:close/>
                <a:moveTo>
                  <a:pt x="2057" y="7773"/>
                </a:moveTo>
                <a:cubicBezTo>
                  <a:pt x="2027" y="7773"/>
                  <a:pt x="2003" y="7824"/>
                  <a:pt x="2003" y="7886"/>
                </a:cubicBezTo>
                <a:cubicBezTo>
                  <a:pt x="2003" y="7949"/>
                  <a:pt x="2027" y="7999"/>
                  <a:pt x="2057" y="7999"/>
                </a:cubicBezTo>
                <a:cubicBezTo>
                  <a:pt x="2087" y="7999"/>
                  <a:pt x="2111" y="7949"/>
                  <a:pt x="2111" y="7886"/>
                </a:cubicBezTo>
                <a:cubicBezTo>
                  <a:pt x="2111" y="7824"/>
                  <a:pt x="2087" y="7773"/>
                  <a:pt x="2057" y="7773"/>
                </a:cubicBezTo>
                <a:close/>
                <a:moveTo>
                  <a:pt x="2216" y="8100"/>
                </a:moveTo>
                <a:cubicBezTo>
                  <a:pt x="2186" y="8100"/>
                  <a:pt x="2162" y="8151"/>
                  <a:pt x="2162" y="8213"/>
                </a:cubicBezTo>
                <a:cubicBezTo>
                  <a:pt x="2162" y="8276"/>
                  <a:pt x="2186" y="8326"/>
                  <a:pt x="2216" y="8326"/>
                </a:cubicBezTo>
                <a:cubicBezTo>
                  <a:pt x="2245" y="8326"/>
                  <a:pt x="2269" y="8276"/>
                  <a:pt x="2269" y="8213"/>
                </a:cubicBezTo>
                <a:cubicBezTo>
                  <a:pt x="2269" y="8151"/>
                  <a:pt x="2245" y="8100"/>
                  <a:pt x="2216" y="8100"/>
                </a:cubicBezTo>
                <a:close/>
                <a:moveTo>
                  <a:pt x="2216" y="7773"/>
                </a:moveTo>
                <a:cubicBezTo>
                  <a:pt x="2186" y="7773"/>
                  <a:pt x="2162" y="7824"/>
                  <a:pt x="2162" y="7886"/>
                </a:cubicBezTo>
                <a:cubicBezTo>
                  <a:pt x="2162" y="7949"/>
                  <a:pt x="2186" y="7999"/>
                  <a:pt x="2216" y="7999"/>
                </a:cubicBezTo>
                <a:cubicBezTo>
                  <a:pt x="2245" y="7999"/>
                  <a:pt x="2269" y="7949"/>
                  <a:pt x="2269" y="7886"/>
                </a:cubicBezTo>
                <a:cubicBezTo>
                  <a:pt x="2269" y="7824"/>
                  <a:pt x="2245" y="7773"/>
                  <a:pt x="2216" y="7773"/>
                </a:cubicBezTo>
                <a:close/>
                <a:moveTo>
                  <a:pt x="2057" y="8762"/>
                </a:moveTo>
                <a:cubicBezTo>
                  <a:pt x="2027" y="8762"/>
                  <a:pt x="2003" y="8812"/>
                  <a:pt x="2003" y="8875"/>
                </a:cubicBezTo>
                <a:cubicBezTo>
                  <a:pt x="2003" y="8937"/>
                  <a:pt x="2027" y="8988"/>
                  <a:pt x="2057" y="8988"/>
                </a:cubicBezTo>
                <a:cubicBezTo>
                  <a:pt x="2087" y="8988"/>
                  <a:pt x="2111" y="8937"/>
                  <a:pt x="2111" y="8875"/>
                </a:cubicBezTo>
                <a:cubicBezTo>
                  <a:pt x="2111" y="8812"/>
                  <a:pt x="2087" y="8762"/>
                  <a:pt x="2057" y="8762"/>
                </a:cubicBezTo>
                <a:close/>
                <a:moveTo>
                  <a:pt x="1438" y="8762"/>
                </a:moveTo>
                <a:cubicBezTo>
                  <a:pt x="1408" y="8762"/>
                  <a:pt x="1384" y="8812"/>
                  <a:pt x="1384" y="8875"/>
                </a:cubicBezTo>
                <a:cubicBezTo>
                  <a:pt x="1384" y="8937"/>
                  <a:pt x="1408" y="8988"/>
                  <a:pt x="1438" y="8988"/>
                </a:cubicBezTo>
                <a:cubicBezTo>
                  <a:pt x="1467" y="8988"/>
                  <a:pt x="1492" y="8937"/>
                  <a:pt x="1492" y="8875"/>
                </a:cubicBezTo>
                <a:cubicBezTo>
                  <a:pt x="1492" y="8812"/>
                  <a:pt x="1467" y="8762"/>
                  <a:pt x="1438" y="8762"/>
                </a:cubicBezTo>
                <a:close/>
                <a:moveTo>
                  <a:pt x="2057" y="9061"/>
                </a:moveTo>
                <a:cubicBezTo>
                  <a:pt x="2027" y="9061"/>
                  <a:pt x="2003" y="9112"/>
                  <a:pt x="2003" y="9174"/>
                </a:cubicBezTo>
                <a:cubicBezTo>
                  <a:pt x="2003" y="9237"/>
                  <a:pt x="2027" y="9288"/>
                  <a:pt x="2057" y="9288"/>
                </a:cubicBezTo>
                <a:cubicBezTo>
                  <a:pt x="2087" y="9288"/>
                  <a:pt x="2111" y="9237"/>
                  <a:pt x="2111" y="9174"/>
                </a:cubicBezTo>
                <a:cubicBezTo>
                  <a:pt x="2111" y="9112"/>
                  <a:pt x="2087" y="9061"/>
                  <a:pt x="2057" y="9061"/>
                </a:cubicBezTo>
                <a:close/>
                <a:moveTo>
                  <a:pt x="1903" y="9388"/>
                </a:moveTo>
                <a:cubicBezTo>
                  <a:pt x="1873" y="9388"/>
                  <a:pt x="1849" y="9439"/>
                  <a:pt x="1849" y="9501"/>
                </a:cubicBezTo>
                <a:cubicBezTo>
                  <a:pt x="1849" y="9564"/>
                  <a:pt x="1873" y="9614"/>
                  <a:pt x="1903" y="9614"/>
                </a:cubicBezTo>
                <a:cubicBezTo>
                  <a:pt x="1933" y="9614"/>
                  <a:pt x="1957" y="9564"/>
                  <a:pt x="1957" y="9501"/>
                </a:cubicBezTo>
                <a:cubicBezTo>
                  <a:pt x="1957" y="9439"/>
                  <a:pt x="1933" y="9388"/>
                  <a:pt x="1903" y="9388"/>
                </a:cubicBezTo>
                <a:close/>
                <a:moveTo>
                  <a:pt x="1903" y="9061"/>
                </a:moveTo>
                <a:cubicBezTo>
                  <a:pt x="1873" y="9061"/>
                  <a:pt x="1849" y="9112"/>
                  <a:pt x="1849" y="9174"/>
                </a:cubicBezTo>
                <a:cubicBezTo>
                  <a:pt x="1849" y="9237"/>
                  <a:pt x="1873" y="9288"/>
                  <a:pt x="1903" y="9288"/>
                </a:cubicBezTo>
                <a:cubicBezTo>
                  <a:pt x="1933" y="9288"/>
                  <a:pt x="1957" y="9237"/>
                  <a:pt x="1957" y="9174"/>
                </a:cubicBezTo>
                <a:cubicBezTo>
                  <a:pt x="1957" y="9112"/>
                  <a:pt x="1933" y="9061"/>
                  <a:pt x="1903" y="9061"/>
                </a:cubicBezTo>
                <a:close/>
                <a:moveTo>
                  <a:pt x="1750" y="9388"/>
                </a:moveTo>
                <a:cubicBezTo>
                  <a:pt x="1721" y="9388"/>
                  <a:pt x="1697" y="9439"/>
                  <a:pt x="1697" y="9501"/>
                </a:cubicBezTo>
                <a:cubicBezTo>
                  <a:pt x="1697" y="9564"/>
                  <a:pt x="1721" y="9614"/>
                  <a:pt x="1750" y="9614"/>
                </a:cubicBezTo>
                <a:cubicBezTo>
                  <a:pt x="1780" y="9614"/>
                  <a:pt x="1804" y="9564"/>
                  <a:pt x="1804" y="9501"/>
                </a:cubicBezTo>
                <a:cubicBezTo>
                  <a:pt x="1804" y="9439"/>
                  <a:pt x="1780" y="9388"/>
                  <a:pt x="1750" y="9388"/>
                </a:cubicBezTo>
                <a:close/>
                <a:moveTo>
                  <a:pt x="1750" y="9061"/>
                </a:moveTo>
                <a:cubicBezTo>
                  <a:pt x="1721" y="9061"/>
                  <a:pt x="1697" y="9112"/>
                  <a:pt x="1697" y="9174"/>
                </a:cubicBezTo>
                <a:cubicBezTo>
                  <a:pt x="1697" y="9237"/>
                  <a:pt x="1721" y="9288"/>
                  <a:pt x="1750" y="9288"/>
                </a:cubicBezTo>
                <a:cubicBezTo>
                  <a:pt x="1780" y="9288"/>
                  <a:pt x="1804" y="9237"/>
                  <a:pt x="1804" y="9174"/>
                </a:cubicBezTo>
                <a:cubicBezTo>
                  <a:pt x="1804" y="9112"/>
                  <a:pt x="1780" y="9061"/>
                  <a:pt x="1750" y="9061"/>
                </a:cubicBezTo>
                <a:close/>
                <a:moveTo>
                  <a:pt x="2216" y="9388"/>
                </a:moveTo>
                <a:cubicBezTo>
                  <a:pt x="2186" y="9388"/>
                  <a:pt x="2162" y="9439"/>
                  <a:pt x="2162" y="9501"/>
                </a:cubicBezTo>
                <a:cubicBezTo>
                  <a:pt x="2162" y="9564"/>
                  <a:pt x="2186" y="9614"/>
                  <a:pt x="2216" y="9614"/>
                </a:cubicBezTo>
                <a:cubicBezTo>
                  <a:pt x="2245" y="9614"/>
                  <a:pt x="2269" y="9564"/>
                  <a:pt x="2269" y="9501"/>
                </a:cubicBezTo>
                <a:cubicBezTo>
                  <a:pt x="2269" y="9439"/>
                  <a:pt x="2245" y="9388"/>
                  <a:pt x="2216" y="9388"/>
                </a:cubicBezTo>
                <a:close/>
                <a:moveTo>
                  <a:pt x="2216" y="9061"/>
                </a:moveTo>
                <a:cubicBezTo>
                  <a:pt x="2186" y="9061"/>
                  <a:pt x="2162" y="9112"/>
                  <a:pt x="2162" y="9174"/>
                </a:cubicBezTo>
                <a:cubicBezTo>
                  <a:pt x="2162" y="9237"/>
                  <a:pt x="2186" y="9288"/>
                  <a:pt x="2216" y="9288"/>
                </a:cubicBezTo>
                <a:cubicBezTo>
                  <a:pt x="2245" y="9288"/>
                  <a:pt x="2269" y="9237"/>
                  <a:pt x="2269" y="9174"/>
                </a:cubicBezTo>
                <a:cubicBezTo>
                  <a:pt x="2269" y="9112"/>
                  <a:pt x="2245" y="9061"/>
                  <a:pt x="2216" y="9061"/>
                </a:cubicBezTo>
                <a:close/>
                <a:moveTo>
                  <a:pt x="2057" y="9729"/>
                </a:moveTo>
                <a:cubicBezTo>
                  <a:pt x="2027" y="9729"/>
                  <a:pt x="2003" y="9779"/>
                  <a:pt x="2003" y="9842"/>
                </a:cubicBezTo>
                <a:cubicBezTo>
                  <a:pt x="2003" y="9904"/>
                  <a:pt x="2027" y="9955"/>
                  <a:pt x="2057" y="9955"/>
                </a:cubicBezTo>
                <a:cubicBezTo>
                  <a:pt x="2087" y="9955"/>
                  <a:pt x="2111" y="9904"/>
                  <a:pt x="2111" y="9842"/>
                </a:cubicBezTo>
                <a:cubicBezTo>
                  <a:pt x="2111" y="9779"/>
                  <a:pt x="2087" y="9729"/>
                  <a:pt x="2057" y="9729"/>
                </a:cubicBezTo>
                <a:close/>
                <a:moveTo>
                  <a:pt x="2216" y="9729"/>
                </a:moveTo>
                <a:cubicBezTo>
                  <a:pt x="2186" y="9729"/>
                  <a:pt x="2162" y="9779"/>
                  <a:pt x="2162" y="9842"/>
                </a:cubicBezTo>
                <a:cubicBezTo>
                  <a:pt x="2162" y="9904"/>
                  <a:pt x="2186" y="9955"/>
                  <a:pt x="2216" y="9955"/>
                </a:cubicBezTo>
                <a:cubicBezTo>
                  <a:pt x="2245" y="9955"/>
                  <a:pt x="2269" y="9904"/>
                  <a:pt x="2269" y="9842"/>
                </a:cubicBezTo>
                <a:cubicBezTo>
                  <a:pt x="2269" y="9779"/>
                  <a:pt x="2245" y="9729"/>
                  <a:pt x="2216" y="9729"/>
                </a:cubicBezTo>
                <a:close/>
                <a:moveTo>
                  <a:pt x="1284" y="6374"/>
                </a:moveTo>
                <a:cubicBezTo>
                  <a:pt x="1314" y="6374"/>
                  <a:pt x="1338" y="6323"/>
                  <a:pt x="1338" y="6261"/>
                </a:cubicBezTo>
                <a:cubicBezTo>
                  <a:pt x="1338" y="6198"/>
                  <a:pt x="1314" y="6148"/>
                  <a:pt x="1284" y="6148"/>
                </a:cubicBezTo>
                <a:cubicBezTo>
                  <a:pt x="1254" y="6148"/>
                  <a:pt x="1230" y="6198"/>
                  <a:pt x="1230" y="6261"/>
                </a:cubicBezTo>
                <a:cubicBezTo>
                  <a:pt x="1230" y="6323"/>
                  <a:pt x="1254" y="6374"/>
                  <a:pt x="1284" y="6374"/>
                </a:cubicBezTo>
                <a:close/>
                <a:moveTo>
                  <a:pt x="1284" y="6047"/>
                </a:moveTo>
                <a:cubicBezTo>
                  <a:pt x="1314" y="6047"/>
                  <a:pt x="1338" y="5996"/>
                  <a:pt x="1338" y="5934"/>
                </a:cubicBezTo>
                <a:cubicBezTo>
                  <a:pt x="1338" y="5872"/>
                  <a:pt x="1314" y="5821"/>
                  <a:pt x="1284" y="5821"/>
                </a:cubicBezTo>
                <a:cubicBezTo>
                  <a:pt x="1254" y="5821"/>
                  <a:pt x="1230" y="5872"/>
                  <a:pt x="1230" y="5934"/>
                </a:cubicBezTo>
                <a:cubicBezTo>
                  <a:pt x="1230" y="5996"/>
                  <a:pt x="1254" y="6047"/>
                  <a:pt x="1284" y="6047"/>
                </a:cubicBezTo>
                <a:close/>
                <a:moveTo>
                  <a:pt x="986" y="6148"/>
                </a:moveTo>
                <a:cubicBezTo>
                  <a:pt x="956" y="6148"/>
                  <a:pt x="932" y="6198"/>
                  <a:pt x="932" y="6261"/>
                </a:cubicBezTo>
                <a:cubicBezTo>
                  <a:pt x="932" y="6323"/>
                  <a:pt x="956" y="6374"/>
                  <a:pt x="986" y="6374"/>
                </a:cubicBezTo>
                <a:cubicBezTo>
                  <a:pt x="1015" y="6374"/>
                  <a:pt x="1039" y="6323"/>
                  <a:pt x="1039" y="6261"/>
                </a:cubicBezTo>
                <a:cubicBezTo>
                  <a:pt x="1039" y="6198"/>
                  <a:pt x="1015" y="6148"/>
                  <a:pt x="986" y="6148"/>
                </a:cubicBezTo>
                <a:close/>
                <a:moveTo>
                  <a:pt x="1132" y="6148"/>
                </a:moveTo>
                <a:cubicBezTo>
                  <a:pt x="1102" y="6148"/>
                  <a:pt x="1078" y="6198"/>
                  <a:pt x="1078" y="6261"/>
                </a:cubicBezTo>
                <a:cubicBezTo>
                  <a:pt x="1078" y="6323"/>
                  <a:pt x="1102" y="6374"/>
                  <a:pt x="1132" y="6374"/>
                </a:cubicBezTo>
                <a:cubicBezTo>
                  <a:pt x="1161" y="6374"/>
                  <a:pt x="1185" y="6323"/>
                  <a:pt x="1185" y="6261"/>
                </a:cubicBezTo>
                <a:cubicBezTo>
                  <a:pt x="1185" y="6198"/>
                  <a:pt x="1161" y="6148"/>
                  <a:pt x="1132" y="6148"/>
                </a:cubicBezTo>
                <a:close/>
                <a:moveTo>
                  <a:pt x="1132" y="5821"/>
                </a:moveTo>
                <a:cubicBezTo>
                  <a:pt x="1102" y="5821"/>
                  <a:pt x="1078" y="5872"/>
                  <a:pt x="1078" y="5934"/>
                </a:cubicBezTo>
                <a:cubicBezTo>
                  <a:pt x="1078" y="5996"/>
                  <a:pt x="1102" y="6047"/>
                  <a:pt x="1132" y="6047"/>
                </a:cubicBezTo>
                <a:cubicBezTo>
                  <a:pt x="1161" y="6047"/>
                  <a:pt x="1185" y="5996"/>
                  <a:pt x="1185" y="5934"/>
                </a:cubicBezTo>
                <a:cubicBezTo>
                  <a:pt x="1185" y="5872"/>
                  <a:pt x="1161" y="5821"/>
                  <a:pt x="1132" y="5821"/>
                </a:cubicBezTo>
                <a:close/>
                <a:moveTo>
                  <a:pt x="1284" y="7041"/>
                </a:moveTo>
                <a:cubicBezTo>
                  <a:pt x="1314" y="7041"/>
                  <a:pt x="1338" y="6991"/>
                  <a:pt x="1338" y="6928"/>
                </a:cubicBezTo>
                <a:cubicBezTo>
                  <a:pt x="1338" y="6866"/>
                  <a:pt x="1314" y="6815"/>
                  <a:pt x="1284" y="6815"/>
                </a:cubicBezTo>
                <a:cubicBezTo>
                  <a:pt x="1254" y="6815"/>
                  <a:pt x="1230" y="6866"/>
                  <a:pt x="1230" y="6928"/>
                </a:cubicBezTo>
                <a:cubicBezTo>
                  <a:pt x="1230" y="6991"/>
                  <a:pt x="1254" y="7041"/>
                  <a:pt x="1284" y="7041"/>
                </a:cubicBezTo>
                <a:close/>
                <a:moveTo>
                  <a:pt x="1284" y="6715"/>
                </a:moveTo>
                <a:cubicBezTo>
                  <a:pt x="1314" y="6715"/>
                  <a:pt x="1338" y="6664"/>
                  <a:pt x="1338" y="6601"/>
                </a:cubicBezTo>
                <a:cubicBezTo>
                  <a:pt x="1338" y="6539"/>
                  <a:pt x="1314" y="6488"/>
                  <a:pt x="1284" y="6488"/>
                </a:cubicBezTo>
                <a:cubicBezTo>
                  <a:pt x="1254" y="6488"/>
                  <a:pt x="1230" y="6539"/>
                  <a:pt x="1230" y="6601"/>
                </a:cubicBezTo>
                <a:cubicBezTo>
                  <a:pt x="1230" y="6664"/>
                  <a:pt x="1254" y="6715"/>
                  <a:pt x="1284" y="6715"/>
                </a:cubicBezTo>
                <a:close/>
                <a:moveTo>
                  <a:pt x="1132" y="6815"/>
                </a:moveTo>
                <a:cubicBezTo>
                  <a:pt x="1102" y="6815"/>
                  <a:pt x="1078" y="6866"/>
                  <a:pt x="1078" y="6928"/>
                </a:cubicBezTo>
                <a:cubicBezTo>
                  <a:pt x="1078" y="6991"/>
                  <a:pt x="1102" y="7041"/>
                  <a:pt x="1132" y="7041"/>
                </a:cubicBezTo>
                <a:cubicBezTo>
                  <a:pt x="1161" y="7041"/>
                  <a:pt x="1185" y="6991"/>
                  <a:pt x="1185" y="6928"/>
                </a:cubicBezTo>
                <a:cubicBezTo>
                  <a:pt x="1185" y="6866"/>
                  <a:pt x="1161" y="6815"/>
                  <a:pt x="1132" y="6815"/>
                </a:cubicBezTo>
                <a:close/>
                <a:moveTo>
                  <a:pt x="1132" y="6488"/>
                </a:moveTo>
                <a:cubicBezTo>
                  <a:pt x="1102" y="6488"/>
                  <a:pt x="1078" y="6539"/>
                  <a:pt x="1078" y="6601"/>
                </a:cubicBezTo>
                <a:cubicBezTo>
                  <a:pt x="1078" y="6664"/>
                  <a:pt x="1102" y="6715"/>
                  <a:pt x="1132" y="6715"/>
                </a:cubicBezTo>
                <a:cubicBezTo>
                  <a:pt x="1161" y="6715"/>
                  <a:pt x="1185" y="6664"/>
                  <a:pt x="1185" y="6601"/>
                </a:cubicBezTo>
                <a:cubicBezTo>
                  <a:pt x="1185" y="6539"/>
                  <a:pt x="1161" y="6488"/>
                  <a:pt x="1132" y="6488"/>
                </a:cubicBezTo>
                <a:close/>
                <a:moveTo>
                  <a:pt x="55" y="2921"/>
                </a:moveTo>
                <a:cubicBezTo>
                  <a:pt x="25" y="2921"/>
                  <a:pt x="1" y="2972"/>
                  <a:pt x="1" y="3034"/>
                </a:cubicBezTo>
                <a:cubicBezTo>
                  <a:pt x="1" y="3097"/>
                  <a:pt x="25" y="3148"/>
                  <a:pt x="55" y="3148"/>
                </a:cubicBezTo>
                <a:cubicBezTo>
                  <a:pt x="84" y="3148"/>
                  <a:pt x="109" y="3097"/>
                  <a:pt x="109" y="3034"/>
                </a:cubicBezTo>
                <a:cubicBezTo>
                  <a:pt x="109" y="2972"/>
                  <a:pt x="84" y="2921"/>
                  <a:pt x="55" y="2921"/>
                </a:cubicBezTo>
                <a:close/>
                <a:moveTo>
                  <a:pt x="207" y="2921"/>
                </a:moveTo>
                <a:cubicBezTo>
                  <a:pt x="177" y="2921"/>
                  <a:pt x="153" y="2972"/>
                  <a:pt x="153" y="3034"/>
                </a:cubicBezTo>
                <a:cubicBezTo>
                  <a:pt x="153" y="3097"/>
                  <a:pt x="177" y="3148"/>
                  <a:pt x="207" y="3148"/>
                </a:cubicBezTo>
                <a:cubicBezTo>
                  <a:pt x="237" y="3148"/>
                  <a:pt x="261" y="3097"/>
                  <a:pt x="261" y="3034"/>
                </a:cubicBezTo>
                <a:cubicBezTo>
                  <a:pt x="261" y="2972"/>
                  <a:pt x="237" y="2921"/>
                  <a:pt x="207" y="2921"/>
                </a:cubicBezTo>
                <a:close/>
                <a:moveTo>
                  <a:pt x="360" y="2921"/>
                </a:moveTo>
                <a:cubicBezTo>
                  <a:pt x="330" y="2921"/>
                  <a:pt x="306" y="2972"/>
                  <a:pt x="306" y="3034"/>
                </a:cubicBezTo>
                <a:cubicBezTo>
                  <a:pt x="306" y="3097"/>
                  <a:pt x="330" y="3148"/>
                  <a:pt x="360" y="3148"/>
                </a:cubicBezTo>
                <a:cubicBezTo>
                  <a:pt x="390" y="3148"/>
                  <a:pt x="414" y="3097"/>
                  <a:pt x="414" y="3034"/>
                </a:cubicBezTo>
                <a:cubicBezTo>
                  <a:pt x="414" y="2972"/>
                  <a:pt x="390" y="2921"/>
                  <a:pt x="360" y="2921"/>
                </a:cubicBezTo>
                <a:close/>
                <a:moveTo>
                  <a:pt x="206" y="3262"/>
                </a:moveTo>
                <a:cubicBezTo>
                  <a:pt x="177" y="3262"/>
                  <a:pt x="153" y="3313"/>
                  <a:pt x="153" y="3375"/>
                </a:cubicBezTo>
                <a:cubicBezTo>
                  <a:pt x="153" y="3438"/>
                  <a:pt x="177" y="3488"/>
                  <a:pt x="206" y="3488"/>
                </a:cubicBezTo>
                <a:cubicBezTo>
                  <a:pt x="236" y="3488"/>
                  <a:pt x="260" y="3438"/>
                  <a:pt x="260" y="3375"/>
                </a:cubicBezTo>
                <a:cubicBezTo>
                  <a:pt x="260" y="3313"/>
                  <a:pt x="236" y="3262"/>
                  <a:pt x="206" y="3262"/>
                </a:cubicBezTo>
                <a:close/>
                <a:moveTo>
                  <a:pt x="54" y="3262"/>
                </a:moveTo>
                <a:cubicBezTo>
                  <a:pt x="24" y="3262"/>
                  <a:pt x="0" y="3313"/>
                  <a:pt x="0" y="3375"/>
                </a:cubicBezTo>
                <a:cubicBezTo>
                  <a:pt x="0" y="3438"/>
                  <a:pt x="24" y="3488"/>
                  <a:pt x="54" y="3488"/>
                </a:cubicBezTo>
                <a:cubicBezTo>
                  <a:pt x="83" y="3488"/>
                  <a:pt x="108" y="3438"/>
                  <a:pt x="108" y="3375"/>
                </a:cubicBezTo>
                <a:cubicBezTo>
                  <a:pt x="108" y="3313"/>
                  <a:pt x="83" y="3262"/>
                  <a:pt x="54" y="3262"/>
                </a:cubicBezTo>
                <a:close/>
                <a:moveTo>
                  <a:pt x="665" y="2921"/>
                </a:moveTo>
                <a:cubicBezTo>
                  <a:pt x="635" y="2921"/>
                  <a:pt x="611" y="2972"/>
                  <a:pt x="611" y="3034"/>
                </a:cubicBezTo>
                <a:cubicBezTo>
                  <a:pt x="611" y="3097"/>
                  <a:pt x="635" y="3148"/>
                  <a:pt x="665" y="3148"/>
                </a:cubicBezTo>
                <a:cubicBezTo>
                  <a:pt x="695" y="3148"/>
                  <a:pt x="719" y="3097"/>
                  <a:pt x="719" y="3034"/>
                </a:cubicBezTo>
                <a:cubicBezTo>
                  <a:pt x="719" y="2972"/>
                  <a:pt x="695" y="2921"/>
                  <a:pt x="665" y="2921"/>
                </a:cubicBezTo>
                <a:close/>
                <a:moveTo>
                  <a:pt x="512" y="2921"/>
                </a:moveTo>
                <a:cubicBezTo>
                  <a:pt x="483" y="2921"/>
                  <a:pt x="459" y="2972"/>
                  <a:pt x="459" y="3034"/>
                </a:cubicBezTo>
                <a:cubicBezTo>
                  <a:pt x="459" y="3097"/>
                  <a:pt x="483" y="3148"/>
                  <a:pt x="512" y="3148"/>
                </a:cubicBezTo>
                <a:cubicBezTo>
                  <a:pt x="542" y="3148"/>
                  <a:pt x="566" y="3097"/>
                  <a:pt x="566" y="3034"/>
                </a:cubicBezTo>
                <a:cubicBezTo>
                  <a:pt x="566" y="2972"/>
                  <a:pt x="542" y="2921"/>
                  <a:pt x="512" y="2921"/>
                </a:cubicBezTo>
                <a:close/>
                <a:moveTo>
                  <a:pt x="360" y="2263"/>
                </a:moveTo>
                <a:cubicBezTo>
                  <a:pt x="330" y="2263"/>
                  <a:pt x="306" y="2314"/>
                  <a:pt x="306" y="2376"/>
                </a:cubicBezTo>
                <a:cubicBezTo>
                  <a:pt x="306" y="2439"/>
                  <a:pt x="330" y="2490"/>
                  <a:pt x="360" y="2490"/>
                </a:cubicBezTo>
                <a:cubicBezTo>
                  <a:pt x="390" y="2490"/>
                  <a:pt x="414" y="2439"/>
                  <a:pt x="414" y="2376"/>
                </a:cubicBezTo>
                <a:cubicBezTo>
                  <a:pt x="414" y="2314"/>
                  <a:pt x="390" y="2263"/>
                  <a:pt x="360" y="2263"/>
                </a:cubicBezTo>
                <a:close/>
                <a:moveTo>
                  <a:pt x="206" y="2830"/>
                </a:moveTo>
                <a:cubicBezTo>
                  <a:pt x="236" y="2830"/>
                  <a:pt x="260" y="2780"/>
                  <a:pt x="260" y="2717"/>
                </a:cubicBezTo>
                <a:cubicBezTo>
                  <a:pt x="260" y="2655"/>
                  <a:pt x="236" y="2604"/>
                  <a:pt x="206" y="2604"/>
                </a:cubicBezTo>
                <a:cubicBezTo>
                  <a:pt x="177" y="2604"/>
                  <a:pt x="153" y="2655"/>
                  <a:pt x="153" y="2717"/>
                </a:cubicBezTo>
                <a:cubicBezTo>
                  <a:pt x="153" y="2780"/>
                  <a:pt x="177" y="2830"/>
                  <a:pt x="206" y="2830"/>
                </a:cubicBezTo>
                <a:close/>
                <a:moveTo>
                  <a:pt x="54" y="2830"/>
                </a:moveTo>
                <a:cubicBezTo>
                  <a:pt x="83" y="2830"/>
                  <a:pt x="108" y="2780"/>
                  <a:pt x="108" y="2717"/>
                </a:cubicBezTo>
                <a:cubicBezTo>
                  <a:pt x="108" y="2655"/>
                  <a:pt x="83" y="2604"/>
                  <a:pt x="54" y="2604"/>
                </a:cubicBezTo>
                <a:cubicBezTo>
                  <a:pt x="24" y="2604"/>
                  <a:pt x="0" y="2655"/>
                  <a:pt x="0" y="2717"/>
                </a:cubicBezTo>
                <a:cubicBezTo>
                  <a:pt x="0" y="2780"/>
                  <a:pt x="24" y="2830"/>
                  <a:pt x="54" y="2830"/>
                </a:cubicBezTo>
                <a:close/>
                <a:moveTo>
                  <a:pt x="360" y="2604"/>
                </a:moveTo>
                <a:cubicBezTo>
                  <a:pt x="330" y="2604"/>
                  <a:pt x="306" y="2655"/>
                  <a:pt x="306" y="2717"/>
                </a:cubicBezTo>
                <a:cubicBezTo>
                  <a:pt x="306" y="2780"/>
                  <a:pt x="330" y="2830"/>
                  <a:pt x="360" y="2830"/>
                </a:cubicBezTo>
                <a:cubicBezTo>
                  <a:pt x="390" y="2830"/>
                  <a:pt x="414" y="2780"/>
                  <a:pt x="414" y="2717"/>
                </a:cubicBezTo>
                <a:cubicBezTo>
                  <a:pt x="414" y="2655"/>
                  <a:pt x="390" y="2604"/>
                  <a:pt x="360" y="2604"/>
                </a:cubicBezTo>
                <a:close/>
                <a:moveTo>
                  <a:pt x="665" y="2263"/>
                </a:moveTo>
                <a:cubicBezTo>
                  <a:pt x="635" y="2263"/>
                  <a:pt x="611" y="2314"/>
                  <a:pt x="611" y="2376"/>
                </a:cubicBezTo>
                <a:cubicBezTo>
                  <a:pt x="611" y="2439"/>
                  <a:pt x="635" y="2490"/>
                  <a:pt x="665" y="2490"/>
                </a:cubicBezTo>
                <a:cubicBezTo>
                  <a:pt x="695" y="2490"/>
                  <a:pt x="719" y="2439"/>
                  <a:pt x="719" y="2376"/>
                </a:cubicBezTo>
                <a:cubicBezTo>
                  <a:pt x="719" y="2314"/>
                  <a:pt x="695" y="2263"/>
                  <a:pt x="665" y="2263"/>
                </a:cubicBezTo>
                <a:close/>
                <a:moveTo>
                  <a:pt x="819" y="1611"/>
                </a:moveTo>
                <a:cubicBezTo>
                  <a:pt x="789" y="1611"/>
                  <a:pt x="765" y="1662"/>
                  <a:pt x="765" y="1724"/>
                </a:cubicBezTo>
                <a:cubicBezTo>
                  <a:pt x="765" y="1787"/>
                  <a:pt x="789" y="1837"/>
                  <a:pt x="819" y="1837"/>
                </a:cubicBezTo>
                <a:cubicBezTo>
                  <a:pt x="848" y="1837"/>
                  <a:pt x="872" y="1787"/>
                  <a:pt x="872" y="1724"/>
                </a:cubicBezTo>
                <a:cubicBezTo>
                  <a:pt x="872" y="1662"/>
                  <a:pt x="848" y="1611"/>
                  <a:pt x="819" y="1611"/>
                </a:cubicBezTo>
                <a:close/>
                <a:moveTo>
                  <a:pt x="1131" y="1837"/>
                </a:moveTo>
                <a:cubicBezTo>
                  <a:pt x="1161" y="1837"/>
                  <a:pt x="1185" y="1787"/>
                  <a:pt x="1185" y="1724"/>
                </a:cubicBezTo>
                <a:cubicBezTo>
                  <a:pt x="1185" y="1662"/>
                  <a:pt x="1161" y="1611"/>
                  <a:pt x="1131" y="1611"/>
                </a:cubicBezTo>
                <a:cubicBezTo>
                  <a:pt x="1102" y="1611"/>
                  <a:pt x="1078" y="1662"/>
                  <a:pt x="1078" y="1724"/>
                </a:cubicBezTo>
                <a:cubicBezTo>
                  <a:pt x="1078" y="1787"/>
                  <a:pt x="1102" y="1837"/>
                  <a:pt x="1131" y="1837"/>
                </a:cubicBezTo>
                <a:close/>
                <a:moveTo>
                  <a:pt x="979" y="1837"/>
                </a:moveTo>
                <a:cubicBezTo>
                  <a:pt x="1008" y="1837"/>
                  <a:pt x="1032" y="1787"/>
                  <a:pt x="1032" y="1724"/>
                </a:cubicBezTo>
                <a:cubicBezTo>
                  <a:pt x="1032" y="1662"/>
                  <a:pt x="1008" y="1611"/>
                  <a:pt x="979" y="1611"/>
                </a:cubicBezTo>
                <a:cubicBezTo>
                  <a:pt x="949" y="1611"/>
                  <a:pt x="925" y="1662"/>
                  <a:pt x="925" y="1724"/>
                </a:cubicBezTo>
                <a:cubicBezTo>
                  <a:pt x="925" y="1787"/>
                  <a:pt x="949" y="1837"/>
                  <a:pt x="979" y="1837"/>
                </a:cubicBezTo>
                <a:close/>
                <a:moveTo>
                  <a:pt x="1285" y="1837"/>
                </a:moveTo>
                <a:cubicBezTo>
                  <a:pt x="1315" y="1837"/>
                  <a:pt x="1339" y="1787"/>
                  <a:pt x="1339" y="1724"/>
                </a:cubicBezTo>
                <a:cubicBezTo>
                  <a:pt x="1339" y="1662"/>
                  <a:pt x="1315" y="1611"/>
                  <a:pt x="1285" y="1611"/>
                </a:cubicBezTo>
                <a:cubicBezTo>
                  <a:pt x="1255" y="1611"/>
                  <a:pt x="1231" y="1662"/>
                  <a:pt x="1231" y="1724"/>
                </a:cubicBezTo>
                <a:cubicBezTo>
                  <a:pt x="1231" y="1787"/>
                  <a:pt x="1255" y="1837"/>
                  <a:pt x="1285" y="1837"/>
                </a:cubicBezTo>
                <a:close/>
                <a:moveTo>
                  <a:pt x="1597" y="1611"/>
                </a:moveTo>
                <a:cubicBezTo>
                  <a:pt x="1567" y="1611"/>
                  <a:pt x="1543" y="1662"/>
                  <a:pt x="1543" y="1724"/>
                </a:cubicBezTo>
                <a:cubicBezTo>
                  <a:pt x="1543" y="1787"/>
                  <a:pt x="1567" y="1837"/>
                  <a:pt x="1597" y="1837"/>
                </a:cubicBezTo>
                <a:cubicBezTo>
                  <a:pt x="1627" y="1837"/>
                  <a:pt x="1651" y="1787"/>
                  <a:pt x="1651" y="1724"/>
                </a:cubicBezTo>
                <a:cubicBezTo>
                  <a:pt x="1651" y="1662"/>
                  <a:pt x="1627" y="1611"/>
                  <a:pt x="1597" y="1611"/>
                </a:cubicBezTo>
                <a:close/>
                <a:moveTo>
                  <a:pt x="1444" y="1837"/>
                </a:moveTo>
                <a:cubicBezTo>
                  <a:pt x="1474" y="1837"/>
                  <a:pt x="1498" y="1787"/>
                  <a:pt x="1498" y="1724"/>
                </a:cubicBezTo>
                <a:cubicBezTo>
                  <a:pt x="1498" y="1662"/>
                  <a:pt x="1474" y="1611"/>
                  <a:pt x="1444" y="1611"/>
                </a:cubicBezTo>
                <a:cubicBezTo>
                  <a:pt x="1415" y="1611"/>
                  <a:pt x="1390" y="1662"/>
                  <a:pt x="1390" y="1724"/>
                </a:cubicBezTo>
                <a:cubicBezTo>
                  <a:pt x="1390" y="1787"/>
                  <a:pt x="1415" y="1837"/>
                  <a:pt x="1444" y="1837"/>
                </a:cubicBezTo>
                <a:close/>
                <a:moveTo>
                  <a:pt x="2057" y="1611"/>
                </a:moveTo>
                <a:cubicBezTo>
                  <a:pt x="2027" y="1611"/>
                  <a:pt x="2003" y="1662"/>
                  <a:pt x="2003" y="1724"/>
                </a:cubicBezTo>
                <a:cubicBezTo>
                  <a:pt x="2003" y="1787"/>
                  <a:pt x="2027" y="1837"/>
                  <a:pt x="2057" y="1837"/>
                </a:cubicBezTo>
                <a:cubicBezTo>
                  <a:pt x="2087" y="1837"/>
                  <a:pt x="2111" y="1787"/>
                  <a:pt x="2111" y="1724"/>
                </a:cubicBezTo>
                <a:cubicBezTo>
                  <a:pt x="2111" y="1662"/>
                  <a:pt x="2087" y="1611"/>
                  <a:pt x="2057" y="1611"/>
                </a:cubicBezTo>
                <a:close/>
                <a:moveTo>
                  <a:pt x="1903" y="1611"/>
                </a:moveTo>
                <a:cubicBezTo>
                  <a:pt x="1873" y="1611"/>
                  <a:pt x="1849" y="1662"/>
                  <a:pt x="1849" y="1724"/>
                </a:cubicBezTo>
                <a:cubicBezTo>
                  <a:pt x="1849" y="1787"/>
                  <a:pt x="1873" y="1837"/>
                  <a:pt x="1903" y="1837"/>
                </a:cubicBezTo>
                <a:cubicBezTo>
                  <a:pt x="1933" y="1837"/>
                  <a:pt x="1957" y="1787"/>
                  <a:pt x="1957" y="1724"/>
                </a:cubicBezTo>
                <a:cubicBezTo>
                  <a:pt x="1957" y="1662"/>
                  <a:pt x="1933" y="1611"/>
                  <a:pt x="1903" y="1611"/>
                </a:cubicBezTo>
                <a:close/>
                <a:moveTo>
                  <a:pt x="1750" y="1611"/>
                </a:moveTo>
                <a:cubicBezTo>
                  <a:pt x="1721" y="1611"/>
                  <a:pt x="1697" y="1662"/>
                  <a:pt x="1697" y="1724"/>
                </a:cubicBezTo>
                <a:cubicBezTo>
                  <a:pt x="1697" y="1787"/>
                  <a:pt x="1721" y="1837"/>
                  <a:pt x="1750" y="1837"/>
                </a:cubicBezTo>
                <a:cubicBezTo>
                  <a:pt x="1780" y="1837"/>
                  <a:pt x="1804" y="1787"/>
                  <a:pt x="1804" y="1724"/>
                </a:cubicBezTo>
                <a:cubicBezTo>
                  <a:pt x="1804" y="1662"/>
                  <a:pt x="1780" y="1611"/>
                  <a:pt x="1750" y="1611"/>
                </a:cubicBezTo>
                <a:close/>
                <a:moveTo>
                  <a:pt x="665" y="1936"/>
                </a:moveTo>
                <a:cubicBezTo>
                  <a:pt x="635" y="1936"/>
                  <a:pt x="611" y="1987"/>
                  <a:pt x="611" y="2050"/>
                </a:cubicBezTo>
                <a:cubicBezTo>
                  <a:pt x="611" y="2112"/>
                  <a:pt x="635" y="2163"/>
                  <a:pt x="665" y="2163"/>
                </a:cubicBezTo>
                <a:cubicBezTo>
                  <a:pt x="695" y="2163"/>
                  <a:pt x="719" y="2112"/>
                  <a:pt x="719" y="2050"/>
                </a:cubicBezTo>
                <a:cubicBezTo>
                  <a:pt x="719" y="1987"/>
                  <a:pt x="695" y="1936"/>
                  <a:pt x="665" y="1936"/>
                </a:cubicBezTo>
                <a:close/>
                <a:moveTo>
                  <a:pt x="512" y="2263"/>
                </a:moveTo>
                <a:cubicBezTo>
                  <a:pt x="483" y="2263"/>
                  <a:pt x="459" y="2314"/>
                  <a:pt x="459" y="2376"/>
                </a:cubicBezTo>
                <a:cubicBezTo>
                  <a:pt x="459" y="2439"/>
                  <a:pt x="483" y="2490"/>
                  <a:pt x="512" y="2490"/>
                </a:cubicBezTo>
                <a:cubicBezTo>
                  <a:pt x="542" y="2490"/>
                  <a:pt x="566" y="2439"/>
                  <a:pt x="566" y="2376"/>
                </a:cubicBezTo>
                <a:cubicBezTo>
                  <a:pt x="566" y="2314"/>
                  <a:pt x="542" y="2263"/>
                  <a:pt x="512" y="2263"/>
                </a:cubicBezTo>
                <a:close/>
                <a:moveTo>
                  <a:pt x="819" y="2263"/>
                </a:moveTo>
                <a:cubicBezTo>
                  <a:pt x="789" y="2263"/>
                  <a:pt x="765" y="2314"/>
                  <a:pt x="765" y="2376"/>
                </a:cubicBezTo>
                <a:cubicBezTo>
                  <a:pt x="765" y="2439"/>
                  <a:pt x="789" y="2490"/>
                  <a:pt x="819" y="2490"/>
                </a:cubicBezTo>
                <a:cubicBezTo>
                  <a:pt x="848" y="2490"/>
                  <a:pt x="872" y="2439"/>
                  <a:pt x="872" y="2376"/>
                </a:cubicBezTo>
                <a:cubicBezTo>
                  <a:pt x="872" y="2314"/>
                  <a:pt x="848" y="2263"/>
                  <a:pt x="819" y="2263"/>
                </a:cubicBezTo>
                <a:close/>
                <a:moveTo>
                  <a:pt x="819" y="1936"/>
                </a:moveTo>
                <a:cubicBezTo>
                  <a:pt x="789" y="1936"/>
                  <a:pt x="765" y="1987"/>
                  <a:pt x="765" y="2050"/>
                </a:cubicBezTo>
                <a:cubicBezTo>
                  <a:pt x="765" y="2112"/>
                  <a:pt x="789" y="2163"/>
                  <a:pt x="819" y="2163"/>
                </a:cubicBezTo>
                <a:cubicBezTo>
                  <a:pt x="848" y="2163"/>
                  <a:pt x="872" y="2112"/>
                  <a:pt x="872" y="2050"/>
                </a:cubicBezTo>
                <a:cubicBezTo>
                  <a:pt x="872" y="1987"/>
                  <a:pt x="848" y="1936"/>
                  <a:pt x="819" y="1936"/>
                </a:cubicBezTo>
                <a:close/>
                <a:moveTo>
                  <a:pt x="665" y="2604"/>
                </a:moveTo>
                <a:cubicBezTo>
                  <a:pt x="635" y="2604"/>
                  <a:pt x="611" y="2655"/>
                  <a:pt x="611" y="2717"/>
                </a:cubicBezTo>
                <a:cubicBezTo>
                  <a:pt x="611" y="2780"/>
                  <a:pt x="635" y="2830"/>
                  <a:pt x="665" y="2830"/>
                </a:cubicBezTo>
                <a:cubicBezTo>
                  <a:pt x="695" y="2830"/>
                  <a:pt x="719" y="2780"/>
                  <a:pt x="719" y="2717"/>
                </a:cubicBezTo>
                <a:cubicBezTo>
                  <a:pt x="719" y="2655"/>
                  <a:pt x="695" y="2604"/>
                  <a:pt x="665" y="2604"/>
                </a:cubicBezTo>
                <a:close/>
                <a:moveTo>
                  <a:pt x="512" y="2604"/>
                </a:moveTo>
                <a:cubicBezTo>
                  <a:pt x="483" y="2604"/>
                  <a:pt x="459" y="2655"/>
                  <a:pt x="459" y="2717"/>
                </a:cubicBezTo>
                <a:cubicBezTo>
                  <a:pt x="459" y="2780"/>
                  <a:pt x="483" y="2830"/>
                  <a:pt x="512" y="2830"/>
                </a:cubicBezTo>
                <a:cubicBezTo>
                  <a:pt x="542" y="2830"/>
                  <a:pt x="566" y="2780"/>
                  <a:pt x="566" y="2717"/>
                </a:cubicBezTo>
                <a:cubicBezTo>
                  <a:pt x="566" y="2655"/>
                  <a:pt x="542" y="2604"/>
                  <a:pt x="512" y="2604"/>
                </a:cubicBezTo>
                <a:close/>
                <a:moveTo>
                  <a:pt x="819" y="2604"/>
                </a:moveTo>
                <a:cubicBezTo>
                  <a:pt x="789" y="2604"/>
                  <a:pt x="765" y="2655"/>
                  <a:pt x="765" y="2717"/>
                </a:cubicBezTo>
                <a:cubicBezTo>
                  <a:pt x="765" y="2780"/>
                  <a:pt x="789" y="2830"/>
                  <a:pt x="819" y="2830"/>
                </a:cubicBezTo>
                <a:cubicBezTo>
                  <a:pt x="848" y="2830"/>
                  <a:pt x="872" y="2780"/>
                  <a:pt x="872" y="2717"/>
                </a:cubicBezTo>
                <a:cubicBezTo>
                  <a:pt x="872" y="2655"/>
                  <a:pt x="848" y="2604"/>
                  <a:pt x="819" y="2604"/>
                </a:cubicBezTo>
                <a:close/>
                <a:moveTo>
                  <a:pt x="1131" y="2490"/>
                </a:moveTo>
                <a:cubicBezTo>
                  <a:pt x="1161" y="2490"/>
                  <a:pt x="1185" y="2439"/>
                  <a:pt x="1185" y="2376"/>
                </a:cubicBezTo>
                <a:cubicBezTo>
                  <a:pt x="1185" y="2314"/>
                  <a:pt x="1161" y="2263"/>
                  <a:pt x="1131" y="2263"/>
                </a:cubicBezTo>
                <a:cubicBezTo>
                  <a:pt x="1102" y="2263"/>
                  <a:pt x="1078" y="2314"/>
                  <a:pt x="1078" y="2376"/>
                </a:cubicBezTo>
                <a:cubicBezTo>
                  <a:pt x="1078" y="2439"/>
                  <a:pt x="1102" y="2490"/>
                  <a:pt x="1131" y="2490"/>
                </a:cubicBezTo>
                <a:close/>
                <a:moveTo>
                  <a:pt x="1131" y="2163"/>
                </a:moveTo>
                <a:cubicBezTo>
                  <a:pt x="1161" y="2163"/>
                  <a:pt x="1185" y="2112"/>
                  <a:pt x="1185" y="2050"/>
                </a:cubicBezTo>
                <a:cubicBezTo>
                  <a:pt x="1185" y="1987"/>
                  <a:pt x="1161" y="1936"/>
                  <a:pt x="1131" y="1936"/>
                </a:cubicBezTo>
                <a:cubicBezTo>
                  <a:pt x="1102" y="1936"/>
                  <a:pt x="1078" y="1987"/>
                  <a:pt x="1078" y="2050"/>
                </a:cubicBezTo>
                <a:cubicBezTo>
                  <a:pt x="1078" y="2112"/>
                  <a:pt x="1102" y="2163"/>
                  <a:pt x="1131" y="2163"/>
                </a:cubicBezTo>
                <a:close/>
                <a:moveTo>
                  <a:pt x="979" y="2490"/>
                </a:moveTo>
                <a:cubicBezTo>
                  <a:pt x="1008" y="2490"/>
                  <a:pt x="1032" y="2439"/>
                  <a:pt x="1032" y="2376"/>
                </a:cubicBezTo>
                <a:cubicBezTo>
                  <a:pt x="1032" y="2314"/>
                  <a:pt x="1008" y="2263"/>
                  <a:pt x="979" y="2263"/>
                </a:cubicBezTo>
                <a:cubicBezTo>
                  <a:pt x="949" y="2263"/>
                  <a:pt x="925" y="2314"/>
                  <a:pt x="925" y="2376"/>
                </a:cubicBezTo>
                <a:cubicBezTo>
                  <a:pt x="925" y="2439"/>
                  <a:pt x="949" y="2490"/>
                  <a:pt x="979" y="2490"/>
                </a:cubicBezTo>
                <a:close/>
                <a:moveTo>
                  <a:pt x="979" y="2163"/>
                </a:moveTo>
                <a:cubicBezTo>
                  <a:pt x="1008" y="2163"/>
                  <a:pt x="1032" y="2112"/>
                  <a:pt x="1032" y="2050"/>
                </a:cubicBezTo>
                <a:cubicBezTo>
                  <a:pt x="1032" y="1987"/>
                  <a:pt x="1008" y="1936"/>
                  <a:pt x="979" y="1936"/>
                </a:cubicBezTo>
                <a:cubicBezTo>
                  <a:pt x="949" y="1936"/>
                  <a:pt x="925" y="1987"/>
                  <a:pt x="925" y="2050"/>
                </a:cubicBezTo>
                <a:cubicBezTo>
                  <a:pt x="925" y="2112"/>
                  <a:pt x="949" y="2163"/>
                  <a:pt x="979" y="2163"/>
                </a:cubicBezTo>
                <a:close/>
                <a:moveTo>
                  <a:pt x="1285" y="2490"/>
                </a:moveTo>
                <a:cubicBezTo>
                  <a:pt x="1315" y="2490"/>
                  <a:pt x="1339" y="2439"/>
                  <a:pt x="1339" y="2376"/>
                </a:cubicBezTo>
                <a:cubicBezTo>
                  <a:pt x="1339" y="2314"/>
                  <a:pt x="1315" y="2263"/>
                  <a:pt x="1285" y="2263"/>
                </a:cubicBezTo>
                <a:cubicBezTo>
                  <a:pt x="1255" y="2263"/>
                  <a:pt x="1231" y="2314"/>
                  <a:pt x="1231" y="2376"/>
                </a:cubicBezTo>
                <a:cubicBezTo>
                  <a:pt x="1231" y="2439"/>
                  <a:pt x="1255" y="2490"/>
                  <a:pt x="1285" y="2490"/>
                </a:cubicBezTo>
                <a:close/>
                <a:moveTo>
                  <a:pt x="1285" y="2163"/>
                </a:moveTo>
                <a:cubicBezTo>
                  <a:pt x="1315" y="2163"/>
                  <a:pt x="1339" y="2112"/>
                  <a:pt x="1339" y="2050"/>
                </a:cubicBezTo>
                <a:cubicBezTo>
                  <a:pt x="1339" y="1987"/>
                  <a:pt x="1315" y="1936"/>
                  <a:pt x="1285" y="1936"/>
                </a:cubicBezTo>
                <a:cubicBezTo>
                  <a:pt x="1255" y="1936"/>
                  <a:pt x="1231" y="1987"/>
                  <a:pt x="1231" y="2050"/>
                </a:cubicBezTo>
                <a:cubicBezTo>
                  <a:pt x="1231" y="2112"/>
                  <a:pt x="1255" y="2163"/>
                  <a:pt x="1285" y="2163"/>
                </a:cubicBezTo>
                <a:close/>
                <a:moveTo>
                  <a:pt x="1131" y="3157"/>
                </a:moveTo>
                <a:cubicBezTo>
                  <a:pt x="1161" y="3157"/>
                  <a:pt x="1185" y="3106"/>
                  <a:pt x="1185" y="3044"/>
                </a:cubicBezTo>
                <a:cubicBezTo>
                  <a:pt x="1185" y="2981"/>
                  <a:pt x="1161" y="2931"/>
                  <a:pt x="1131" y="2931"/>
                </a:cubicBezTo>
                <a:cubicBezTo>
                  <a:pt x="1102" y="2931"/>
                  <a:pt x="1078" y="2981"/>
                  <a:pt x="1078" y="3044"/>
                </a:cubicBezTo>
                <a:cubicBezTo>
                  <a:pt x="1078" y="3106"/>
                  <a:pt x="1102" y="3157"/>
                  <a:pt x="1131" y="3157"/>
                </a:cubicBezTo>
                <a:close/>
                <a:moveTo>
                  <a:pt x="1131" y="2830"/>
                </a:moveTo>
                <a:cubicBezTo>
                  <a:pt x="1161" y="2830"/>
                  <a:pt x="1185" y="2780"/>
                  <a:pt x="1185" y="2717"/>
                </a:cubicBezTo>
                <a:cubicBezTo>
                  <a:pt x="1185" y="2655"/>
                  <a:pt x="1161" y="2604"/>
                  <a:pt x="1131" y="2604"/>
                </a:cubicBezTo>
                <a:cubicBezTo>
                  <a:pt x="1102" y="2604"/>
                  <a:pt x="1078" y="2655"/>
                  <a:pt x="1078" y="2717"/>
                </a:cubicBezTo>
                <a:cubicBezTo>
                  <a:pt x="1078" y="2780"/>
                  <a:pt x="1102" y="2830"/>
                  <a:pt x="1131" y="2830"/>
                </a:cubicBezTo>
                <a:close/>
                <a:moveTo>
                  <a:pt x="979" y="2830"/>
                </a:moveTo>
                <a:cubicBezTo>
                  <a:pt x="1008" y="2830"/>
                  <a:pt x="1032" y="2780"/>
                  <a:pt x="1032" y="2717"/>
                </a:cubicBezTo>
                <a:cubicBezTo>
                  <a:pt x="1032" y="2655"/>
                  <a:pt x="1008" y="2604"/>
                  <a:pt x="979" y="2604"/>
                </a:cubicBezTo>
                <a:cubicBezTo>
                  <a:pt x="949" y="2604"/>
                  <a:pt x="925" y="2655"/>
                  <a:pt x="925" y="2717"/>
                </a:cubicBezTo>
                <a:cubicBezTo>
                  <a:pt x="925" y="2780"/>
                  <a:pt x="949" y="2830"/>
                  <a:pt x="979" y="2830"/>
                </a:cubicBezTo>
                <a:close/>
                <a:moveTo>
                  <a:pt x="1285" y="3157"/>
                </a:moveTo>
                <a:cubicBezTo>
                  <a:pt x="1315" y="3157"/>
                  <a:pt x="1339" y="3106"/>
                  <a:pt x="1339" y="3044"/>
                </a:cubicBezTo>
                <a:cubicBezTo>
                  <a:pt x="1339" y="2981"/>
                  <a:pt x="1315" y="2931"/>
                  <a:pt x="1285" y="2931"/>
                </a:cubicBezTo>
                <a:cubicBezTo>
                  <a:pt x="1255" y="2931"/>
                  <a:pt x="1231" y="2981"/>
                  <a:pt x="1231" y="3044"/>
                </a:cubicBezTo>
                <a:cubicBezTo>
                  <a:pt x="1231" y="3106"/>
                  <a:pt x="1255" y="3157"/>
                  <a:pt x="1285" y="3157"/>
                </a:cubicBezTo>
                <a:close/>
                <a:moveTo>
                  <a:pt x="1285" y="2830"/>
                </a:moveTo>
                <a:cubicBezTo>
                  <a:pt x="1315" y="2830"/>
                  <a:pt x="1339" y="2780"/>
                  <a:pt x="1339" y="2717"/>
                </a:cubicBezTo>
                <a:cubicBezTo>
                  <a:pt x="1339" y="2655"/>
                  <a:pt x="1315" y="2604"/>
                  <a:pt x="1285" y="2604"/>
                </a:cubicBezTo>
                <a:cubicBezTo>
                  <a:pt x="1255" y="2604"/>
                  <a:pt x="1231" y="2655"/>
                  <a:pt x="1231" y="2717"/>
                </a:cubicBezTo>
                <a:cubicBezTo>
                  <a:pt x="1231" y="2780"/>
                  <a:pt x="1255" y="2830"/>
                  <a:pt x="1285" y="2830"/>
                </a:cubicBezTo>
                <a:close/>
                <a:moveTo>
                  <a:pt x="1597" y="2263"/>
                </a:moveTo>
                <a:cubicBezTo>
                  <a:pt x="1567" y="2263"/>
                  <a:pt x="1543" y="2314"/>
                  <a:pt x="1543" y="2376"/>
                </a:cubicBezTo>
                <a:cubicBezTo>
                  <a:pt x="1543" y="2439"/>
                  <a:pt x="1567" y="2490"/>
                  <a:pt x="1597" y="2490"/>
                </a:cubicBezTo>
                <a:cubicBezTo>
                  <a:pt x="1627" y="2490"/>
                  <a:pt x="1651" y="2439"/>
                  <a:pt x="1651" y="2376"/>
                </a:cubicBezTo>
                <a:cubicBezTo>
                  <a:pt x="1651" y="2314"/>
                  <a:pt x="1627" y="2263"/>
                  <a:pt x="1597" y="2263"/>
                </a:cubicBezTo>
                <a:close/>
                <a:moveTo>
                  <a:pt x="1597" y="1936"/>
                </a:moveTo>
                <a:cubicBezTo>
                  <a:pt x="1567" y="1936"/>
                  <a:pt x="1543" y="1987"/>
                  <a:pt x="1543" y="2050"/>
                </a:cubicBezTo>
                <a:cubicBezTo>
                  <a:pt x="1543" y="2112"/>
                  <a:pt x="1567" y="2163"/>
                  <a:pt x="1597" y="2163"/>
                </a:cubicBezTo>
                <a:cubicBezTo>
                  <a:pt x="1627" y="2163"/>
                  <a:pt x="1651" y="2112"/>
                  <a:pt x="1651" y="2050"/>
                </a:cubicBezTo>
                <a:cubicBezTo>
                  <a:pt x="1651" y="1987"/>
                  <a:pt x="1627" y="1936"/>
                  <a:pt x="1597" y="1936"/>
                </a:cubicBezTo>
                <a:close/>
                <a:moveTo>
                  <a:pt x="1444" y="2490"/>
                </a:moveTo>
                <a:cubicBezTo>
                  <a:pt x="1474" y="2490"/>
                  <a:pt x="1498" y="2439"/>
                  <a:pt x="1498" y="2376"/>
                </a:cubicBezTo>
                <a:cubicBezTo>
                  <a:pt x="1498" y="2314"/>
                  <a:pt x="1474" y="2263"/>
                  <a:pt x="1444" y="2263"/>
                </a:cubicBezTo>
                <a:cubicBezTo>
                  <a:pt x="1415" y="2263"/>
                  <a:pt x="1390" y="2314"/>
                  <a:pt x="1390" y="2376"/>
                </a:cubicBezTo>
                <a:cubicBezTo>
                  <a:pt x="1390" y="2439"/>
                  <a:pt x="1415" y="2490"/>
                  <a:pt x="1444" y="2490"/>
                </a:cubicBezTo>
                <a:close/>
                <a:moveTo>
                  <a:pt x="1444" y="2163"/>
                </a:moveTo>
                <a:cubicBezTo>
                  <a:pt x="1474" y="2163"/>
                  <a:pt x="1498" y="2112"/>
                  <a:pt x="1498" y="2050"/>
                </a:cubicBezTo>
                <a:cubicBezTo>
                  <a:pt x="1498" y="1987"/>
                  <a:pt x="1474" y="1936"/>
                  <a:pt x="1444" y="1936"/>
                </a:cubicBezTo>
                <a:cubicBezTo>
                  <a:pt x="1415" y="1936"/>
                  <a:pt x="1390" y="1987"/>
                  <a:pt x="1390" y="2050"/>
                </a:cubicBezTo>
                <a:cubicBezTo>
                  <a:pt x="1390" y="2112"/>
                  <a:pt x="1415" y="2163"/>
                  <a:pt x="1444" y="2163"/>
                </a:cubicBezTo>
                <a:close/>
                <a:moveTo>
                  <a:pt x="2057" y="2263"/>
                </a:moveTo>
                <a:cubicBezTo>
                  <a:pt x="2027" y="2263"/>
                  <a:pt x="2003" y="2314"/>
                  <a:pt x="2003" y="2376"/>
                </a:cubicBezTo>
                <a:cubicBezTo>
                  <a:pt x="2003" y="2439"/>
                  <a:pt x="2027" y="2490"/>
                  <a:pt x="2057" y="2490"/>
                </a:cubicBezTo>
                <a:cubicBezTo>
                  <a:pt x="2087" y="2490"/>
                  <a:pt x="2111" y="2439"/>
                  <a:pt x="2111" y="2376"/>
                </a:cubicBezTo>
                <a:cubicBezTo>
                  <a:pt x="2111" y="2314"/>
                  <a:pt x="2087" y="2263"/>
                  <a:pt x="2057" y="2263"/>
                </a:cubicBezTo>
                <a:close/>
                <a:moveTo>
                  <a:pt x="2057" y="1936"/>
                </a:moveTo>
                <a:cubicBezTo>
                  <a:pt x="2027" y="1936"/>
                  <a:pt x="2003" y="1987"/>
                  <a:pt x="2003" y="2050"/>
                </a:cubicBezTo>
                <a:cubicBezTo>
                  <a:pt x="2003" y="2112"/>
                  <a:pt x="2027" y="2163"/>
                  <a:pt x="2057" y="2163"/>
                </a:cubicBezTo>
                <a:cubicBezTo>
                  <a:pt x="2087" y="2163"/>
                  <a:pt x="2111" y="2112"/>
                  <a:pt x="2111" y="2050"/>
                </a:cubicBezTo>
                <a:cubicBezTo>
                  <a:pt x="2111" y="1987"/>
                  <a:pt x="2087" y="1936"/>
                  <a:pt x="2057" y="1936"/>
                </a:cubicBezTo>
                <a:close/>
                <a:moveTo>
                  <a:pt x="1903" y="2263"/>
                </a:moveTo>
                <a:cubicBezTo>
                  <a:pt x="1873" y="2263"/>
                  <a:pt x="1849" y="2314"/>
                  <a:pt x="1849" y="2376"/>
                </a:cubicBezTo>
                <a:cubicBezTo>
                  <a:pt x="1849" y="2439"/>
                  <a:pt x="1873" y="2490"/>
                  <a:pt x="1903" y="2490"/>
                </a:cubicBezTo>
                <a:cubicBezTo>
                  <a:pt x="1933" y="2490"/>
                  <a:pt x="1957" y="2439"/>
                  <a:pt x="1957" y="2376"/>
                </a:cubicBezTo>
                <a:cubicBezTo>
                  <a:pt x="1957" y="2314"/>
                  <a:pt x="1933" y="2263"/>
                  <a:pt x="1903" y="2263"/>
                </a:cubicBezTo>
                <a:close/>
                <a:moveTo>
                  <a:pt x="1903" y="1936"/>
                </a:moveTo>
                <a:cubicBezTo>
                  <a:pt x="1873" y="1936"/>
                  <a:pt x="1849" y="1987"/>
                  <a:pt x="1849" y="2050"/>
                </a:cubicBezTo>
                <a:cubicBezTo>
                  <a:pt x="1849" y="2112"/>
                  <a:pt x="1873" y="2163"/>
                  <a:pt x="1903" y="2163"/>
                </a:cubicBezTo>
                <a:cubicBezTo>
                  <a:pt x="1933" y="2163"/>
                  <a:pt x="1957" y="2112"/>
                  <a:pt x="1957" y="2050"/>
                </a:cubicBezTo>
                <a:cubicBezTo>
                  <a:pt x="1957" y="1987"/>
                  <a:pt x="1933" y="1936"/>
                  <a:pt x="1903" y="1936"/>
                </a:cubicBezTo>
                <a:close/>
                <a:moveTo>
                  <a:pt x="1750" y="2263"/>
                </a:moveTo>
                <a:cubicBezTo>
                  <a:pt x="1721" y="2263"/>
                  <a:pt x="1697" y="2314"/>
                  <a:pt x="1697" y="2376"/>
                </a:cubicBezTo>
                <a:cubicBezTo>
                  <a:pt x="1697" y="2439"/>
                  <a:pt x="1721" y="2490"/>
                  <a:pt x="1750" y="2490"/>
                </a:cubicBezTo>
                <a:cubicBezTo>
                  <a:pt x="1780" y="2490"/>
                  <a:pt x="1804" y="2439"/>
                  <a:pt x="1804" y="2376"/>
                </a:cubicBezTo>
                <a:cubicBezTo>
                  <a:pt x="1804" y="2314"/>
                  <a:pt x="1780" y="2263"/>
                  <a:pt x="1750" y="2263"/>
                </a:cubicBezTo>
                <a:close/>
                <a:moveTo>
                  <a:pt x="1750" y="1936"/>
                </a:moveTo>
                <a:cubicBezTo>
                  <a:pt x="1721" y="1936"/>
                  <a:pt x="1697" y="1987"/>
                  <a:pt x="1697" y="2050"/>
                </a:cubicBezTo>
                <a:cubicBezTo>
                  <a:pt x="1697" y="2112"/>
                  <a:pt x="1721" y="2163"/>
                  <a:pt x="1750" y="2163"/>
                </a:cubicBezTo>
                <a:cubicBezTo>
                  <a:pt x="1780" y="2163"/>
                  <a:pt x="1804" y="2112"/>
                  <a:pt x="1804" y="2050"/>
                </a:cubicBezTo>
                <a:cubicBezTo>
                  <a:pt x="1804" y="1987"/>
                  <a:pt x="1780" y="1936"/>
                  <a:pt x="1750" y="1936"/>
                </a:cubicBezTo>
                <a:close/>
                <a:moveTo>
                  <a:pt x="4052" y="2263"/>
                </a:moveTo>
                <a:cubicBezTo>
                  <a:pt x="4022" y="2263"/>
                  <a:pt x="3998" y="2314"/>
                  <a:pt x="3998" y="2376"/>
                </a:cubicBezTo>
                <a:cubicBezTo>
                  <a:pt x="3998" y="2439"/>
                  <a:pt x="4022" y="2490"/>
                  <a:pt x="4052" y="2490"/>
                </a:cubicBezTo>
                <a:cubicBezTo>
                  <a:pt x="4082" y="2490"/>
                  <a:pt x="4106" y="2439"/>
                  <a:pt x="4106" y="2376"/>
                </a:cubicBezTo>
                <a:cubicBezTo>
                  <a:pt x="4106" y="2314"/>
                  <a:pt x="4082" y="2263"/>
                  <a:pt x="4052" y="2263"/>
                </a:cubicBezTo>
                <a:close/>
                <a:moveTo>
                  <a:pt x="3744" y="1516"/>
                </a:moveTo>
                <a:cubicBezTo>
                  <a:pt x="3774" y="1516"/>
                  <a:pt x="3798" y="1465"/>
                  <a:pt x="3798" y="1402"/>
                </a:cubicBezTo>
                <a:cubicBezTo>
                  <a:pt x="3798" y="1340"/>
                  <a:pt x="3774" y="1289"/>
                  <a:pt x="3744" y="1289"/>
                </a:cubicBezTo>
                <a:cubicBezTo>
                  <a:pt x="3714" y="1289"/>
                  <a:pt x="3690" y="1340"/>
                  <a:pt x="3690" y="1402"/>
                </a:cubicBezTo>
                <a:cubicBezTo>
                  <a:pt x="3690" y="1465"/>
                  <a:pt x="3714" y="1516"/>
                  <a:pt x="3744" y="1516"/>
                </a:cubicBezTo>
                <a:close/>
                <a:moveTo>
                  <a:pt x="3598" y="1289"/>
                </a:moveTo>
                <a:cubicBezTo>
                  <a:pt x="3569" y="1289"/>
                  <a:pt x="3545" y="1340"/>
                  <a:pt x="3545" y="1402"/>
                </a:cubicBezTo>
                <a:cubicBezTo>
                  <a:pt x="3545" y="1465"/>
                  <a:pt x="3569" y="1516"/>
                  <a:pt x="3598" y="1516"/>
                </a:cubicBezTo>
                <a:cubicBezTo>
                  <a:pt x="3628" y="1516"/>
                  <a:pt x="3652" y="1465"/>
                  <a:pt x="3652" y="1402"/>
                </a:cubicBezTo>
                <a:cubicBezTo>
                  <a:pt x="3652" y="1340"/>
                  <a:pt x="3628" y="1289"/>
                  <a:pt x="3598" y="1289"/>
                </a:cubicBezTo>
                <a:close/>
                <a:moveTo>
                  <a:pt x="3899" y="1852"/>
                </a:moveTo>
                <a:cubicBezTo>
                  <a:pt x="3929" y="1852"/>
                  <a:pt x="3953" y="1801"/>
                  <a:pt x="3953" y="1739"/>
                </a:cubicBezTo>
                <a:cubicBezTo>
                  <a:pt x="3953" y="1676"/>
                  <a:pt x="3929" y="1626"/>
                  <a:pt x="3899" y="1626"/>
                </a:cubicBezTo>
                <a:cubicBezTo>
                  <a:pt x="3870" y="1626"/>
                  <a:pt x="3845" y="1676"/>
                  <a:pt x="3845" y="1739"/>
                </a:cubicBezTo>
                <a:cubicBezTo>
                  <a:pt x="3845" y="1801"/>
                  <a:pt x="3870" y="1852"/>
                  <a:pt x="3899" y="1852"/>
                </a:cubicBezTo>
                <a:close/>
                <a:moveTo>
                  <a:pt x="4512" y="1852"/>
                </a:moveTo>
                <a:cubicBezTo>
                  <a:pt x="4542" y="1852"/>
                  <a:pt x="4566" y="1801"/>
                  <a:pt x="4566" y="1739"/>
                </a:cubicBezTo>
                <a:cubicBezTo>
                  <a:pt x="4566" y="1676"/>
                  <a:pt x="4542" y="1626"/>
                  <a:pt x="4512" y="1626"/>
                </a:cubicBezTo>
                <a:cubicBezTo>
                  <a:pt x="4482" y="1626"/>
                  <a:pt x="4458" y="1676"/>
                  <a:pt x="4458" y="1739"/>
                </a:cubicBezTo>
                <a:cubicBezTo>
                  <a:pt x="4458" y="1801"/>
                  <a:pt x="4482" y="1852"/>
                  <a:pt x="4512" y="1852"/>
                </a:cubicBezTo>
                <a:close/>
                <a:moveTo>
                  <a:pt x="3598" y="1626"/>
                </a:moveTo>
                <a:cubicBezTo>
                  <a:pt x="3569" y="1626"/>
                  <a:pt x="3545" y="1676"/>
                  <a:pt x="3545" y="1739"/>
                </a:cubicBezTo>
                <a:cubicBezTo>
                  <a:pt x="3545" y="1801"/>
                  <a:pt x="3569" y="1852"/>
                  <a:pt x="3598" y="1852"/>
                </a:cubicBezTo>
                <a:cubicBezTo>
                  <a:pt x="3628" y="1852"/>
                  <a:pt x="3652" y="1801"/>
                  <a:pt x="3652" y="1739"/>
                </a:cubicBezTo>
                <a:cubicBezTo>
                  <a:pt x="3652" y="1676"/>
                  <a:pt x="3628" y="1626"/>
                  <a:pt x="3598" y="1626"/>
                </a:cubicBezTo>
                <a:close/>
                <a:moveTo>
                  <a:pt x="3446" y="1852"/>
                </a:moveTo>
                <a:cubicBezTo>
                  <a:pt x="3475" y="1852"/>
                  <a:pt x="3500" y="1801"/>
                  <a:pt x="3500" y="1739"/>
                </a:cubicBezTo>
                <a:cubicBezTo>
                  <a:pt x="3500" y="1676"/>
                  <a:pt x="3475" y="1626"/>
                  <a:pt x="3446" y="1626"/>
                </a:cubicBezTo>
                <a:cubicBezTo>
                  <a:pt x="3416" y="1626"/>
                  <a:pt x="3392" y="1676"/>
                  <a:pt x="3392" y="1739"/>
                </a:cubicBezTo>
                <a:cubicBezTo>
                  <a:pt x="3392" y="1801"/>
                  <a:pt x="3416" y="1852"/>
                  <a:pt x="3446" y="1852"/>
                </a:cubicBezTo>
                <a:close/>
                <a:moveTo>
                  <a:pt x="4052" y="1936"/>
                </a:moveTo>
                <a:cubicBezTo>
                  <a:pt x="4022" y="1936"/>
                  <a:pt x="3998" y="1987"/>
                  <a:pt x="3998" y="2050"/>
                </a:cubicBezTo>
                <a:cubicBezTo>
                  <a:pt x="3998" y="2112"/>
                  <a:pt x="4022" y="2163"/>
                  <a:pt x="4052" y="2163"/>
                </a:cubicBezTo>
                <a:cubicBezTo>
                  <a:pt x="4082" y="2163"/>
                  <a:pt x="4106" y="2112"/>
                  <a:pt x="4106" y="2050"/>
                </a:cubicBezTo>
                <a:cubicBezTo>
                  <a:pt x="4106" y="1987"/>
                  <a:pt x="4082" y="1936"/>
                  <a:pt x="4052" y="1936"/>
                </a:cubicBezTo>
                <a:close/>
                <a:moveTo>
                  <a:pt x="3899" y="2490"/>
                </a:moveTo>
                <a:cubicBezTo>
                  <a:pt x="3929" y="2490"/>
                  <a:pt x="3953" y="2439"/>
                  <a:pt x="3953" y="2376"/>
                </a:cubicBezTo>
                <a:cubicBezTo>
                  <a:pt x="3953" y="2314"/>
                  <a:pt x="3929" y="2263"/>
                  <a:pt x="3899" y="2263"/>
                </a:cubicBezTo>
                <a:cubicBezTo>
                  <a:pt x="3870" y="2263"/>
                  <a:pt x="3845" y="2314"/>
                  <a:pt x="3845" y="2376"/>
                </a:cubicBezTo>
                <a:cubicBezTo>
                  <a:pt x="3845" y="2439"/>
                  <a:pt x="3870" y="2490"/>
                  <a:pt x="3899" y="2490"/>
                </a:cubicBezTo>
                <a:close/>
                <a:moveTo>
                  <a:pt x="3899" y="2163"/>
                </a:moveTo>
                <a:cubicBezTo>
                  <a:pt x="3929" y="2163"/>
                  <a:pt x="3953" y="2112"/>
                  <a:pt x="3953" y="2050"/>
                </a:cubicBezTo>
                <a:cubicBezTo>
                  <a:pt x="3953" y="1987"/>
                  <a:pt x="3929" y="1936"/>
                  <a:pt x="3899" y="1936"/>
                </a:cubicBezTo>
                <a:cubicBezTo>
                  <a:pt x="3870" y="1936"/>
                  <a:pt x="3845" y="1987"/>
                  <a:pt x="3845" y="2050"/>
                </a:cubicBezTo>
                <a:cubicBezTo>
                  <a:pt x="3845" y="2112"/>
                  <a:pt x="3870" y="2163"/>
                  <a:pt x="3899" y="2163"/>
                </a:cubicBezTo>
                <a:close/>
                <a:moveTo>
                  <a:pt x="3744" y="2490"/>
                </a:moveTo>
                <a:cubicBezTo>
                  <a:pt x="3774" y="2490"/>
                  <a:pt x="3798" y="2439"/>
                  <a:pt x="3798" y="2376"/>
                </a:cubicBezTo>
                <a:cubicBezTo>
                  <a:pt x="3798" y="2314"/>
                  <a:pt x="3774" y="2263"/>
                  <a:pt x="3744" y="2263"/>
                </a:cubicBezTo>
                <a:cubicBezTo>
                  <a:pt x="3714" y="2263"/>
                  <a:pt x="3690" y="2314"/>
                  <a:pt x="3690" y="2376"/>
                </a:cubicBezTo>
                <a:cubicBezTo>
                  <a:pt x="3690" y="2439"/>
                  <a:pt x="3714" y="2490"/>
                  <a:pt x="3744" y="2490"/>
                </a:cubicBezTo>
                <a:close/>
                <a:moveTo>
                  <a:pt x="3744" y="2163"/>
                </a:moveTo>
                <a:cubicBezTo>
                  <a:pt x="3774" y="2163"/>
                  <a:pt x="3798" y="2112"/>
                  <a:pt x="3798" y="2050"/>
                </a:cubicBezTo>
                <a:cubicBezTo>
                  <a:pt x="3798" y="1987"/>
                  <a:pt x="3774" y="1936"/>
                  <a:pt x="3744" y="1936"/>
                </a:cubicBezTo>
                <a:cubicBezTo>
                  <a:pt x="3714" y="1936"/>
                  <a:pt x="3690" y="1987"/>
                  <a:pt x="3690" y="2050"/>
                </a:cubicBezTo>
                <a:cubicBezTo>
                  <a:pt x="3690" y="2112"/>
                  <a:pt x="3714" y="2163"/>
                  <a:pt x="3744" y="2163"/>
                </a:cubicBezTo>
                <a:close/>
                <a:moveTo>
                  <a:pt x="4820" y="2163"/>
                </a:moveTo>
                <a:cubicBezTo>
                  <a:pt x="4850" y="2163"/>
                  <a:pt x="4874" y="2112"/>
                  <a:pt x="4874" y="2050"/>
                </a:cubicBezTo>
                <a:cubicBezTo>
                  <a:pt x="4874" y="1987"/>
                  <a:pt x="4850" y="1936"/>
                  <a:pt x="4820" y="1936"/>
                </a:cubicBezTo>
                <a:cubicBezTo>
                  <a:pt x="4790" y="1936"/>
                  <a:pt x="4766" y="1987"/>
                  <a:pt x="4766" y="2050"/>
                </a:cubicBezTo>
                <a:cubicBezTo>
                  <a:pt x="4766" y="2112"/>
                  <a:pt x="4790" y="2163"/>
                  <a:pt x="4820" y="2163"/>
                </a:cubicBezTo>
                <a:close/>
                <a:moveTo>
                  <a:pt x="4512" y="2163"/>
                </a:moveTo>
                <a:cubicBezTo>
                  <a:pt x="4542" y="2163"/>
                  <a:pt x="4566" y="2112"/>
                  <a:pt x="4566" y="2050"/>
                </a:cubicBezTo>
                <a:cubicBezTo>
                  <a:pt x="4566" y="1987"/>
                  <a:pt x="4542" y="1936"/>
                  <a:pt x="4512" y="1936"/>
                </a:cubicBezTo>
                <a:cubicBezTo>
                  <a:pt x="4482" y="1936"/>
                  <a:pt x="4458" y="1987"/>
                  <a:pt x="4458" y="2050"/>
                </a:cubicBezTo>
                <a:cubicBezTo>
                  <a:pt x="4458" y="2112"/>
                  <a:pt x="4482" y="2163"/>
                  <a:pt x="4512" y="2163"/>
                </a:cubicBezTo>
                <a:close/>
                <a:moveTo>
                  <a:pt x="4358" y="2490"/>
                </a:moveTo>
                <a:cubicBezTo>
                  <a:pt x="4388" y="2490"/>
                  <a:pt x="4412" y="2439"/>
                  <a:pt x="4412" y="2376"/>
                </a:cubicBezTo>
                <a:cubicBezTo>
                  <a:pt x="4412" y="2314"/>
                  <a:pt x="4388" y="2263"/>
                  <a:pt x="4358" y="2263"/>
                </a:cubicBezTo>
                <a:cubicBezTo>
                  <a:pt x="4328" y="2263"/>
                  <a:pt x="4304" y="2314"/>
                  <a:pt x="4304" y="2376"/>
                </a:cubicBezTo>
                <a:cubicBezTo>
                  <a:pt x="4304" y="2439"/>
                  <a:pt x="4328" y="2490"/>
                  <a:pt x="4358" y="2490"/>
                </a:cubicBezTo>
                <a:close/>
                <a:moveTo>
                  <a:pt x="4358" y="2163"/>
                </a:moveTo>
                <a:cubicBezTo>
                  <a:pt x="4388" y="2163"/>
                  <a:pt x="4412" y="2112"/>
                  <a:pt x="4412" y="2050"/>
                </a:cubicBezTo>
                <a:cubicBezTo>
                  <a:pt x="4412" y="1987"/>
                  <a:pt x="4388" y="1936"/>
                  <a:pt x="4358" y="1936"/>
                </a:cubicBezTo>
                <a:cubicBezTo>
                  <a:pt x="4328" y="1936"/>
                  <a:pt x="4304" y="1987"/>
                  <a:pt x="4304" y="2050"/>
                </a:cubicBezTo>
                <a:cubicBezTo>
                  <a:pt x="4304" y="2112"/>
                  <a:pt x="4328" y="2163"/>
                  <a:pt x="4358" y="2163"/>
                </a:cubicBezTo>
                <a:close/>
                <a:moveTo>
                  <a:pt x="4205" y="2490"/>
                </a:moveTo>
                <a:cubicBezTo>
                  <a:pt x="4235" y="2490"/>
                  <a:pt x="4259" y="2439"/>
                  <a:pt x="4259" y="2376"/>
                </a:cubicBezTo>
                <a:cubicBezTo>
                  <a:pt x="4259" y="2314"/>
                  <a:pt x="4235" y="2263"/>
                  <a:pt x="4205" y="2263"/>
                </a:cubicBezTo>
                <a:cubicBezTo>
                  <a:pt x="4176" y="2263"/>
                  <a:pt x="4152" y="2314"/>
                  <a:pt x="4152" y="2376"/>
                </a:cubicBezTo>
                <a:cubicBezTo>
                  <a:pt x="4152" y="2439"/>
                  <a:pt x="4176" y="2490"/>
                  <a:pt x="4205" y="2490"/>
                </a:cubicBezTo>
                <a:close/>
                <a:moveTo>
                  <a:pt x="4205" y="2163"/>
                </a:moveTo>
                <a:cubicBezTo>
                  <a:pt x="4235" y="2163"/>
                  <a:pt x="4259" y="2112"/>
                  <a:pt x="4259" y="2050"/>
                </a:cubicBezTo>
                <a:cubicBezTo>
                  <a:pt x="4259" y="1987"/>
                  <a:pt x="4235" y="1936"/>
                  <a:pt x="4205" y="1936"/>
                </a:cubicBezTo>
                <a:cubicBezTo>
                  <a:pt x="4176" y="1936"/>
                  <a:pt x="4152" y="1987"/>
                  <a:pt x="4152" y="2050"/>
                </a:cubicBezTo>
                <a:cubicBezTo>
                  <a:pt x="4152" y="2112"/>
                  <a:pt x="4176" y="2163"/>
                  <a:pt x="4205" y="2163"/>
                </a:cubicBezTo>
                <a:close/>
                <a:moveTo>
                  <a:pt x="3899" y="2830"/>
                </a:moveTo>
                <a:cubicBezTo>
                  <a:pt x="3929" y="2830"/>
                  <a:pt x="3953" y="2780"/>
                  <a:pt x="3953" y="2717"/>
                </a:cubicBezTo>
                <a:cubicBezTo>
                  <a:pt x="3953" y="2655"/>
                  <a:pt x="3929" y="2604"/>
                  <a:pt x="3899" y="2604"/>
                </a:cubicBezTo>
                <a:cubicBezTo>
                  <a:pt x="3870" y="2604"/>
                  <a:pt x="3845" y="2655"/>
                  <a:pt x="3845" y="2717"/>
                </a:cubicBezTo>
                <a:cubicBezTo>
                  <a:pt x="3845" y="2780"/>
                  <a:pt x="3870" y="2830"/>
                  <a:pt x="3899" y="2830"/>
                </a:cubicBezTo>
                <a:close/>
                <a:moveTo>
                  <a:pt x="3744" y="3157"/>
                </a:moveTo>
                <a:cubicBezTo>
                  <a:pt x="3774" y="3157"/>
                  <a:pt x="3798" y="3106"/>
                  <a:pt x="3798" y="3044"/>
                </a:cubicBezTo>
                <a:cubicBezTo>
                  <a:pt x="3798" y="2981"/>
                  <a:pt x="3774" y="2931"/>
                  <a:pt x="3744" y="2931"/>
                </a:cubicBezTo>
                <a:cubicBezTo>
                  <a:pt x="3714" y="2931"/>
                  <a:pt x="3690" y="2981"/>
                  <a:pt x="3690" y="3044"/>
                </a:cubicBezTo>
                <a:cubicBezTo>
                  <a:pt x="3690" y="3106"/>
                  <a:pt x="3714" y="3157"/>
                  <a:pt x="3744" y="3157"/>
                </a:cubicBezTo>
                <a:close/>
                <a:moveTo>
                  <a:pt x="3744" y="2830"/>
                </a:moveTo>
                <a:cubicBezTo>
                  <a:pt x="3774" y="2830"/>
                  <a:pt x="3798" y="2780"/>
                  <a:pt x="3798" y="2717"/>
                </a:cubicBezTo>
                <a:cubicBezTo>
                  <a:pt x="3798" y="2655"/>
                  <a:pt x="3774" y="2604"/>
                  <a:pt x="3744" y="2604"/>
                </a:cubicBezTo>
                <a:cubicBezTo>
                  <a:pt x="3714" y="2604"/>
                  <a:pt x="3690" y="2655"/>
                  <a:pt x="3690" y="2717"/>
                </a:cubicBezTo>
                <a:cubicBezTo>
                  <a:pt x="3690" y="2780"/>
                  <a:pt x="3714" y="2830"/>
                  <a:pt x="3744" y="2830"/>
                </a:cubicBezTo>
                <a:close/>
                <a:moveTo>
                  <a:pt x="3899" y="3795"/>
                </a:moveTo>
                <a:cubicBezTo>
                  <a:pt x="3929" y="3795"/>
                  <a:pt x="3953" y="3744"/>
                  <a:pt x="3953" y="3682"/>
                </a:cubicBezTo>
                <a:cubicBezTo>
                  <a:pt x="3953" y="3619"/>
                  <a:pt x="3929" y="3569"/>
                  <a:pt x="3899" y="3569"/>
                </a:cubicBezTo>
                <a:cubicBezTo>
                  <a:pt x="3870" y="3569"/>
                  <a:pt x="3845" y="3619"/>
                  <a:pt x="3845" y="3682"/>
                </a:cubicBezTo>
                <a:cubicBezTo>
                  <a:pt x="3845" y="3744"/>
                  <a:pt x="3870" y="3795"/>
                  <a:pt x="3899" y="3795"/>
                </a:cubicBezTo>
                <a:close/>
                <a:moveTo>
                  <a:pt x="3744" y="3795"/>
                </a:moveTo>
                <a:cubicBezTo>
                  <a:pt x="3774" y="3795"/>
                  <a:pt x="3798" y="3744"/>
                  <a:pt x="3798" y="3682"/>
                </a:cubicBezTo>
                <a:cubicBezTo>
                  <a:pt x="3798" y="3619"/>
                  <a:pt x="3774" y="3569"/>
                  <a:pt x="3744" y="3569"/>
                </a:cubicBezTo>
                <a:cubicBezTo>
                  <a:pt x="3714" y="3569"/>
                  <a:pt x="3690" y="3619"/>
                  <a:pt x="3690" y="3682"/>
                </a:cubicBezTo>
                <a:cubicBezTo>
                  <a:pt x="3690" y="3744"/>
                  <a:pt x="3714" y="3795"/>
                  <a:pt x="3744" y="3795"/>
                </a:cubicBezTo>
                <a:close/>
                <a:moveTo>
                  <a:pt x="3744" y="3468"/>
                </a:moveTo>
                <a:cubicBezTo>
                  <a:pt x="3774" y="3468"/>
                  <a:pt x="3798" y="3417"/>
                  <a:pt x="3798" y="3355"/>
                </a:cubicBezTo>
                <a:cubicBezTo>
                  <a:pt x="3798" y="3292"/>
                  <a:pt x="3774" y="3242"/>
                  <a:pt x="3744" y="3242"/>
                </a:cubicBezTo>
                <a:cubicBezTo>
                  <a:pt x="3714" y="3242"/>
                  <a:pt x="3690" y="3292"/>
                  <a:pt x="3690" y="3355"/>
                </a:cubicBezTo>
                <a:cubicBezTo>
                  <a:pt x="3690" y="3417"/>
                  <a:pt x="3714" y="3468"/>
                  <a:pt x="3744" y="3468"/>
                </a:cubicBezTo>
                <a:close/>
                <a:moveTo>
                  <a:pt x="5289" y="1319"/>
                </a:moveTo>
                <a:cubicBezTo>
                  <a:pt x="5259" y="1319"/>
                  <a:pt x="5235" y="1370"/>
                  <a:pt x="5235" y="1432"/>
                </a:cubicBezTo>
                <a:cubicBezTo>
                  <a:pt x="5235" y="1494"/>
                  <a:pt x="5259" y="1545"/>
                  <a:pt x="5289" y="1545"/>
                </a:cubicBezTo>
                <a:cubicBezTo>
                  <a:pt x="5319" y="1545"/>
                  <a:pt x="5343" y="1494"/>
                  <a:pt x="5343" y="1432"/>
                </a:cubicBezTo>
                <a:cubicBezTo>
                  <a:pt x="5343" y="1370"/>
                  <a:pt x="5319" y="1319"/>
                  <a:pt x="5289" y="1319"/>
                </a:cubicBezTo>
                <a:close/>
                <a:moveTo>
                  <a:pt x="5134" y="1319"/>
                </a:moveTo>
                <a:cubicBezTo>
                  <a:pt x="5104" y="1319"/>
                  <a:pt x="5080" y="1370"/>
                  <a:pt x="5080" y="1432"/>
                </a:cubicBezTo>
                <a:cubicBezTo>
                  <a:pt x="5080" y="1494"/>
                  <a:pt x="5104" y="1545"/>
                  <a:pt x="5134" y="1545"/>
                </a:cubicBezTo>
                <a:cubicBezTo>
                  <a:pt x="5163" y="1545"/>
                  <a:pt x="5187" y="1494"/>
                  <a:pt x="5187" y="1432"/>
                </a:cubicBezTo>
                <a:cubicBezTo>
                  <a:pt x="5187" y="1370"/>
                  <a:pt x="5163" y="1319"/>
                  <a:pt x="5134" y="1319"/>
                </a:cubicBezTo>
                <a:close/>
                <a:moveTo>
                  <a:pt x="5442" y="1319"/>
                </a:moveTo>
                <a:cubicBezTo>
                  <a:pt x="5412" y="1319"/>
                  <a:pt x="5388" y="1370"/>
                  <a:pt x="5388" y="1432"/>
                </a:cubicBezTo>
                <a:cubicBezTo>
                  <a:pt x="5388" y="1494"/>
                  <a:pt x="5412" y="1545"/>
                  <a:pt x="5442" y="1545"/>
                </a:cubicBezTo>
                <a:cubicBezTo>
                  <a:pt x="5471" y="1545"/>
                  <a:pt x="5495" y="1494"/>
                  <a:pt x="5495" y="1432"/>
                </a:cubicBezTo>
                <a:cubicBezTo>
                  <a:pt x="5495" y="1370"/>
                  <a:pt x="5471" y="1319"/>
                  <a:pt x="5442" y="1319"/>
                </a:cubicBezTo>
                <a:close/>
                <a:moveTo>
                  <a:pt x="5435" y="1881"/>
                </a:moveTo>
                <a:cubicBezTo>
                  <a:pt x="5465" y="1881"/>
                  <a:pt x="5489" y="1830"/>
                  <a:pt x="5489" y="1768"/>
                </a:cubicBezTo>
                <a:cubicBezTo>
                  <a:pt x="5489" y="1705"/>
                  <a:pt x="5465" y="1655"/>
                  <a:pt x="5435" y="1655"/>
                </a:cubicBezTo>
                <a:cubicBezTo>
                  <a:pt x="5405" y="1655"/>
                  <a:pt x="5381" y="1705"/>
                  <a:pt x="5381" y="1768"/>
                </a:cubicBezTo>
                <a:cubicBezTo>
                  <a:pt x="5381" y="1830"/>
                  <a:pt x="5405" y="1881"/>
                  <a:pt x="5435" y="1881"/>
                </a:cubicBezTo>
                <a:close/>
                <a:moveTo>
                  <a:pt x="5745" y="1655"/>
                </a:moveTo>
                <a:cubicBezTo>
                  <a:pt x="5715" y="1655"/>
                  <a:pt x="5691" y="1705"/>
                  <a:pt x="5691" y="1768"/>
                </a:cubicBezTo>
                <a:cubicBezTo>
                  <a:pt x="5691" y="1830"/>
                  <a:pt x="5715" y="1881"/>
                  <a:pt x="5745" y="1881"/>
                </a:cubicBezTo>
                <a:cubicBezTo>
                  <a:pt x="5775" y="1881"/>
                  <a:pt x="5799" y="1830"/>
                  <a:pt x="5799" y="1768"/>
                </a:cubicBezTo>
                <a:cubicBezTo>
                  <a:pt x="5799" y="1705"/>
                  <a:pt x="5775" y="1655"/>
                  <a:pt x="5745" y="1655"/>
                </a:cubicBezTo>
                <a:close/>
                <a:moveTo>
                  <a:pt x="5588" y="1881"/>
                </a:moveTo>
                <a:cubicBezTo>
                  <a:pt x="5617" y="1881"/>
                  <a:pt x="5641" y="1830"/>
                  <a:pt x="5641" y="1768"/>
                </a:cubicBezTo>
                <a:cubicBezTo>
                  <a:pt x="5641" y="1705"/>
                  <a:pt x="5617" y="1655"/>
                  <a:pt x="5588" y="1655"/>
                </a:cubicBezTo>
                <a:cubicBezTo>
                  <a:pt x="5558" y="1655"/>
                  <a:pt x="5534" y="1705"/>
                  <a:pt x="5534" y="1768"/>
                </a:cubicBezTo>
                <a:cubicBezTo>
                  <a:pt x="5534" y="1830"/>
                  <a:pt x="5558" y="1881"/>
                  <a:pt x="5588" y="1881"/>
                </a:cubicBezTo>
                <a:close/>
                <a:moveTo>
                  <a:pt x="5745" y="1969"/>
                </a:moveTo>
                <a:cubicBezTo>
                  <a:pt x="5715" y="1969"/>
                  <a:pt x="5691" y="2020"/>
                  <a:pt x="5691" y="2083"/>
                </a:cubicBezTo>
                <a:cubicBezTo>
                  <a:pt x="5691" y="2145"/>
                  <a:pt x="5715" y="2196"/>
                  <a:pt x="5745" y="2196"/>
                </a:cubicBezTo>
                <a:cubicBezTo>
                  <a:pt x="5775" y="2196"/>
                  <a:pt x="5799" y="2145"/>
                  <a:pt x="5799" y="2083"/>
                </a:cubicBezTo>
                <a:cubicBezTo>
                  <a:pt x="5799" y="2020"/>
                  <a:pt x="5775" y="1969"/>
                  <a:pt x="5745" y="1969"/>
                </a:cubicBezTo>
                <a:close/>
                <a:moveTo>
                  <a:pt x="5588" y="2196"/>
                </a:moveTo>
                <a:cubicBezTo>
                  <a:pt x="5617" y="2196"/>
                  <a:pt x="5641" y="2145"/>
                  <a:pt x="5641" y="2083"/>
                </a:cubicBezTo>
                <a:cubicBezTo>
                  <a:pt x="5641" y="2020"/>
                  <a:pt x="5617" y="1969"/>
                  <a:pt x="5588" y="1969"/>
                </a:cubicBezTo>
                <a:cubicBezTo>
                  <a:pt x="5558" y="1969"/>
                  <a:pt x="5534" y="2020"/>
                  <a:pt x="5534" y="2083"/>
                </a:cubicBezTo>
                <a:cubicBezTo>
                  <a:pt x="5534" y="2145"/>
                  <a:pt x="5558" y="2196"/>
                  <a:pt x="5588" y="2196"/>
                </a:cubicBezTo>
                <a:close/>
                <a:moveTo>
                  <a:pt x="5588" y="2523"/>
                </a:moveTo>
                <a:cubicBezTo>
                  <a:pt x="5617" y="2523"/>
                  <a:pt x="5641" y="2472"/>
                  <a:pt x="5641" y="2409"/>
                </a:cubicBezTo>
                <a:cubicBezTo>
                  <a:pt x="5641" y="2347"/>
                  <a:pt x="5617" y="2296"/>
                  <a:pt x="5588" y="2296"/>
                </a:cubicBezTo>
                <a:cubicBezTo>
                  <a:pt x="5558" y="2296"/>
                  <a:pt x="5534" y="2347"/>
                  <a:pt x="5534" y="2409"/>
                </a:cubicBezTo>
                <a:cubicBezTo>
                  <a:pt x="5534" y="2472"/>
                  <a:pt x="5558" y="2523"/>
                  <a:pt x="5588" y="2523"/>
                </a:cubicBezTo>
                <a:close/>
                <a:moveTo>
                  <a:pt x="5435" y="2832"/>
                </a:moveTo>
                <a:cubicBezTo>
                  <a:pt x="5465" y="2832"/>
                  <a:pt x="5489" y="2781"/>
                  <a:pt x="5489" y="2718"/>
                </a:cubicBezTo>
                <a:cubicBezTo>
                  <a:pt x="5489" y="2656"/>
                  <a:pt x="5465" y="2605"/>
                  <a:pt x="5435" y="2605"/>
                </a:cubicBezTo>
                <a:cubicBezTo>
                  <a:pt x="5405" y="2605"/>
                  <a:pt x="5381" y="2656"/>
                  <a:pt x="5381" y="2718"/>
                </a:cubicBezTo>
                <a:cubicBezTo>
                  <a:pt x="5381" y="2781"/>
                  <a:pt x="5405" y="2832"/>
                  <a:pt x="5435" y="2832"/>
                </a:cubicBezTo>
                <a:close/>
                <a:moveTo>
                  <a:pt x="5435" y="2523"/>
                </a:moveTo>
                <a:cubicBezTo>
                  <a:pt x="5465" y="2523"/>
                  <a:pt x="5489" y="2472"/>
                  <a:pt x="5489" y="2409"/>
                </a:cubicBezTo>
                <a:cubicBezTo>
                  <a:pt x="5489" y="2347"/>
                  <a:pt x="5465" y="2296"/>
                  <a:pt x="5435" y="2296"/>
                </a:cubicBezTo>
                <a:cubicBezTo>
                  <a:pt x="5405" y="2296"/>
                  <a:pt x="5381" y="2347"/>
                  <a:pt x="5381" y="2409"/>
                </a:cubicBezTo>
                <a:cubicBezTo>
                  <a:pt x="5381" y="2472"/>
                  <a:pt x="5405" y="2523"/>
                  <a:pt x="5435" y="2523"/>
                </a:cubicBezTo>
                <a:close/>
                <a:moveTo>
                  <a:pt x="5280" y="2523"/>
                </a:moveTo>
                <a:cubicBezTo>
                  <a:pt x="5309" y="2523"/>
                  <a:pt x="5333" y="2472"/>
                  <a:pt x="5333" y="2409"/>
                </a:cubicBezTo>
                <a:cubicBezTo>
                  <a:pt x="5333" y="2347"/>
                  <a:pt x="5309" y="2296"/>
                  <a:pt x="5280" y="2296"/>
                </a:cubicBezTo>
                <a:cubicBezTo>
                  <a:pt x="5250" y="2296"/>
                  <a:pt x="5226" y="2347"/>
                  <a:pt x="5226" y="2409"/>
                </a:cubicBezTo>
                <a:cubicBezTo>
                  <a:pt x="5226" y="2472"/>
                  <a:pt x="5250" y="2523"/>
                  <a:pt x="5280" y="2523"/>
                </a:cubicBezTo>
                <a:close/>
                <a:moveTo>
                  <a:pt x="4820" y="3795"/>
                </a:moveTo>
                <a:cubicBezTo>
                  <a:pt x="4850" y="3795"/>
                  <a:pt x="4874" y="3744"/>
                  <a:pt x="4874" y="3682"/>
                </a:cubicBezTo>
                <a:cubicBezTo>
                  <a:pt x="4874" y="3619"/>
                  <a:pt x="4850" y="3569"/>
                  <a:pt x="4820" y="3569"/>
                </a:cubicBezTo>
                <a:cubicBezTo>
                  <a:pt x="4790" y="3569"/>
                  <a:pt x="4766" y="3619"/>
                  <a:pt x="4766" y="3682"/>
                </a:cubicBezTo>
                <a:cubicBezTo>
                  <a:pt x="4766" y="3744"/>
                  <a:pt x="4790" y="3795"/>
                  <a:pt x="4820" y="3795"/>
                </a:cubicBezTo>
                <a:close/>
                <a:moveTo>
                  <a:pt x="4820" y="3468"/>
                </a:moveTo>
                <a:cubicBezTo>
                  <a:pt x="4850" y="3468"/>
                  <a:pt x="4874" y="3417"/>
                  <a:pt x="4874" y="3355"/>
                </a:cubicBezTo>
                <a:cubicBezTo>
                  <a:pt x="4874" y="3292"/>
                  <a:pt x="4850" y="3242"/>
                  <a:pt x="4820" y="3242"/>
                </a:cubicBezTo>
                <a:cubicBezTo>
                  <a:pt x="4790" y="3242"/>
                  <a:pt x="4766" y="3292"/>
                  <a:pt x="4766" y="3355"/>
                </a:cubicBezTo>
                <a:cubicBezTo>
                  <a:pt x="4766" y="3417"/>
                  <a:pt x="4790" y="3468"/>
                  <a:pt x="4820" y="3468"/>
                </a:cubicBezTo>
                <a:close/>
                <a:moveTo>
                  <a:pt x="4052" y="4194"/>
                </a:moveTo>
                <a:cubicBezTo>
                  <a:pt x="4022" y="4194"/>
                  <a:pt x="3998" y="4244"/>
                  <a:pt x="3998" y="4307"/>
                </a:cubicBezTo>
                <a:cubicBezTo>
                  <a:pt x="3998" y="4369"/>
                  <a:pt x="4022" y="4420"/>
                  <a:pt x="4052" y="4420"/>
                </a:cubicBezTo>
                <a:cubicBezTo>
                  <a:pt x="4082" y="4420"/>
                  <a:pt x="4106" y="4369"/>
                  <a:pt x="4106" y="4307"/>
                </a:cubicBezTo>
                <a:cubicBezTo>
                  <a:pt x="4106" y="4244"/>
                  <a:pt x="4082" y="4194"/>
                  <a:pt x="4052" y="4194"/>
                </a:cubicBezTo>
                <a:close/>
                <a:moveTo>
                  <a:pt x="4052" y="3867"/>
                </a:moveTo>
                <a:cubicBezTo>
                  <a:pt x="4022" y="3867"/>
                  <a:pt x="3998" y="3917"/>
                  <a:pt x="3998" y="3980"/>
                </a:cubicBezTo>
                <a:cubicBezTo>
                  <a:pt x="3998" y="4042"/>
                  <a:pt x="4022" y="4093"/>
                  <a:pt x="4052" y="4093"/>
                </a:cubicBezTo>
                <a:cubicBezTo>
                  <a:pt x="4082" y="4093"/>
                  <a:pt x="4106" y="4042"/>
                  <a:pt x="4106" y="3980"/>
                </a:cubicBezTo>
                <a:cubicBezTo>
                  <a:pt x="4106" y="3917"/>
                  <a:pt x="4082" y="3867"/>
                  <a:pt x="4052" y="3867"/>
                </a:cubicBezTo>
                <a:close/>
                <a:moveTo>
                  <a:pt x="3899" y="4420"/>
                </a:moveTo>
                <a:cubicBezTo>
                  <a:pt x="3929" y="4420"/>
                  <a:pt x="3953" y="4369"/>
                  <a:pt x="3953" y="4307"/>
                </a:cubicBezTo>
                <a:cubicBezTo>
                  <a:pt x="3953" y="4244"/>
                  <a:pt x="3929" y="4194"/>
                  <a:pt x="3899" y="4194"/>
                </a:cubicBezTo>
                <a:cubicBezTo>
                  <a:pt x="3870" y="4194"/>
                  <a:pt x="3845" y="4244"/>
                  <a:pt x="3845" y="4307"/>
                </a:cubicBezTo>
                <a:cubicBezTo>
                  <a:pt x="3845" y="4369"/>
                  <a:pt x="3870" y="4420"/>
                  <a:pt x="3899" y="4420"/>
                </a:cubicBezTo>
                <a:close/>
                <a:moveTo>
                  <a:pt x="3899" y="4093"/>
                </a:moveTo>
                <a:cubicBezTo>
                  <a:pt x="3929" y="4093"/>
                  <a:pt x="3953" y="4042"/>
                  <a:pt x="3953" y="3980"/>
                </a:cubicBezTo>
                <a:cubicBezTo>
                  <a:pt x="3953" y="3917"/>
                  <a:pt x="3929" y="3867"/>
                  <a:pt x="3899" y="3867"/>
                </a:cubicBezTo>
                <a:cubicBezTo>
                  <a:pt x="3870" y="3867"/>
                  <a:pt x="3845" y="3917"/>
                  <a:pt x="3845" y="3980"/>
                </a:cubicBezTo>
                <a:cubicBezTo>
                  <a:pt x="3845" y="4042"/>
                  <a:pt x="3870" y="4093"/>
                  <a:pt x="3899" y="4093"/>
                </a:cubicBezTo>
                <a:close/>
                <a:moveTo>
                  <a:pt x="3744" y="4420"/>
                </a:moveTo>
                <a:cubicBezTo>
                  <a:pt x="3774" y="4420"/>
                  <a:pt x="3798" y="4369"/>
                  <a:pt x="3798" y="4307"/>
                </a:cubicBezTo>
                <a:cubicBezTo>
                  <a:pt x="3798" y="4244"/>
                  <a:pt x="3774" y="4194"/>
                  <a:pt x="3744" y="4194"/>
                </a:cubicBezTo>
                <a:cubicBezTo>
                  <a:pt x="3714" y="4194"/>
                  <a:pt x="3690" y="4244"/>
                  <a:pt x="3690" y="4307"/>
                </a:cubicBezTo>
                <a:cubicBezTo>
                  <a:pt x="3690" y="4369"/>
                  <a:pt x="3714" y="4420"/>
                  <a:pt x="3744" y="4420"/>
                </a:cubicBezTo>
                <a:close/>
                <a:moveTo>
                  <a:pt x="3744" y="4093"/>
                </a:moveTo>
                <a:cubicBezTo>
                  <a:pt x="3774" y="4093"/>
                  <a:pt x="3798" y="4042"/>
                  <a:pt x="3798" y="3980"/>
                </a:cubicBezTo>
                <a:cubicBezTo>
                  <a:pt x="3798" y="3917"/>
                  <a:pt x="3774" y="3867"/>
                  <a:pt x="3744" y="3867"/>
                </a:cubicBezTo>
                <a:cubicBezTo>
                  <a:pt x="3714" y="3867"/>
                  <a:pt x="3690" y="3917"/>
                  <a:pt x="3690" y="3980"/>
                </a:cubicBezTo>
                <a:cubicBezTo>
                  <a:pt x="3690" y="4042"/>
                  <a:pt x="3714" y="4093"/>
                  <a:pt x="3744" y="4093"/>
                </a:cubicBezTo>
                <a:close/>
                <a:moveTo>
                  <a:pt x="5744" y="4194"/>
                </a:moveTo>
                <a:cubicBezTo>
                  <a:pt x="5715" y="4194"/>
                  <a:pt x="5691" y="4244"/>
                  <a:pt x="5691" y="4307"/>
                </a:cubicBezTo>
                <a:cubicBezTo>
                  <a:pt x="5691" y="4369"/>
                  <a:pt x="5715" y="4420"/>
                  <a:pt x="5744" y="4420"/>
                </a:cubicBezTo>
                <a:cubicBezTo>
                  <a:pt x="5774" y="4420"/>
                  <a:pt x="5798" y="4369"/>
                  <a:pt x="5798" y="4307"/>
                </a:cubicBezTo>
                <a:cubicBezTo>
                  <a:pt x="5798" y="4244"/>
                  <a:pt x="5774" y="4194"/>
                  <a:pt x="5744" y="4194"/>
                </a:cubicBezTo>
                <a:close/>
                <a:moveTo>
                  <a:pt x="5126" y="3153"/>
                </a:moveTo>
                <a:cubicBezTo>
                  <a:pt x="5156" y="3153"/>
                  <a:pt x="5180" y="3103"/>
                  <a:pt x="5180" y="3040"/>
                </a:cubicBezTo>
                <a:cubicBezTo>
                  <a:pt x="5180" y="2978"/>
                  <a:pt x="5156" y="2927"/>
                  <a:pt x="5126" y="2927"/>
                </a:cubicBezTo>
                <a:cubicBezTo>
                  <a:pt x="5096" y="2927"/>
                  <a:pt x="5072" y="2978"/>
                  <a:pt x="5072" y="3040"/>
                </a:cubicBezTo>
                <a:cubicBezTo>
                  <a:pt x="5072" y="3103"/>
                  <a:pt x="5096" y="3153"/>
                  <a:pt x="5126" y="3153"/>
                </a:cubicBezTo>
                <a:close/>
                <a:moveTo>
                  <a:pt x="4971" y="3153"/>
                </a:moveTo>
                <a:cubicBezTo>
                  <a:pt x="5000" y="3153"/>
                  <a:pt x="5025" y="3103"/>
                  <a:pt x="5025" y="3040"/>
                </a:cubicBezTo>
                <a:cubicBezTo>
                  <a:pt x="5025" y="2978"/>
                  <a:pt x="5000" y="2927"/>
                  <a:pt x="4971" y="2927"/>
                </a:cubicBezTo>
                <a:cubicBezTo>
                  <a:pt x="4941" y="2927"/>
                  <a:pt x="4917" y="2978"/>
                  <a:pt x="4917" y="3040"/>
                </a:cubicBezTo>
                <a:cubicBezTo>
                  <a:pt x="4917" y="3103"/>
                  <a:pt x="4941" y="3153"/>
                  <a:pt x="4971" y="3153"/>
                </a:cubicBezTo>
                <a:close/>
                <a:moveTo>
                  <a:pt x="5436" y="3234"/>
                </a:moveTo>
                <a:cubicBezTo>
                  <a:pt x="5407" y="3234"/>
                  <a:pt x="5383" y="3285"/>
                  <a:pt x="5383" y="3347"/>
                </a:cubicBezTo>
                <a:cubicBezTo>
                  <a:pt x="5383" y="3410"/>
                  <a:pt x="5407" y="3460"/>
                  <a:pt x="5436" y="3460"/>
                </a:cubicBezTo>
                <a:cubicBezTo>
                  <a:pt x="5466" y="3460"/>
                  <a:pt x="5490" y="3410"/>
                  <a:pt x="5490" y="3347"/>
                </a:cubicBezTo>
                <a:cubicBezTo>
                  <a:pt x="5490" y="3285"/>
                  <a:pt x="5466" y="3234"/>
                  <a:pt x="5436" y="3234"/>
                </a:cubicBezTo>
                <a:close/>
                <a:moveTo>
                  <a:pt x="5279" y="3460"/>
                </a:moveTo>
                <a:cubicBezTo>
                  <a:pt x="5308" y="3460"/>
                  <a:pt x="5332" y="3410"/>
                  <a:pt x="5332" y="3347"/>
                </a:cubicBezTo>
                <a:cubicBezTo>
                  <a:pt x="5332" y="3285"/>
                  <a:pt x="5308" y="3234"/>
                  <a:pt x="5279" y="3234"/>
                </a:cubicBezTo>
                <a:cubicBezTo>
                  <a:pt x="5249" y="3234"/>
                  <a:pt x="5225" y="3285"/>
                  <a:pt x="5225" y="3347"/>
                </a:cubicBezTo>
                <a:cubicBezTo>
                  <a:pt x="5225" y="3410"/>
                  <a:pt x="5249" y="3460"/>
                  <a:pt x="5279" y="3460"/>
                </a:cubicBezTo>
                <a:close/>
                <a:moveTo>
                  <a:pt x="5126" y="3460"/>
                </a:moveTo>
                <a:cubicBezTo>
                  <a:pt x="5156" y="3460"/>
                  <a:pt x="5180" y="3410"/>
                  <a:pt x="5180" y="3347"/>
                </a:cubicBezTo>
                <a:cubicBezTo>
                  <a:pt x="5180" y="3285"/>
                  <a:pt x="5156" y="3234"/>
                  <a:pt x="5126" y="3234"/>
                </a:cubicBezTo>
                <a:cubicBezTo>
                  <a:pt x="5096" y="3234"/>
                  <a:pt x="5072" y="3285"/>
                  <a:pt x="5072" y="3347"/>
                </a:cubicBezTo>
                <a:cubicBezTo>
                  <a:pt x="5072" y="3410"/>
                  <a:pt x="5096" y="3460"/>
                  <a:pt x="5126" y="3460"/>
                </a:cubicBezTo>
                <a:close/>
                <a:moveTo>
                  <a:pt x="4971" y="3460"/>
                </a:moveTo>
                <a:cubicBezTo>
                  <a:pt x="5000" y="3460"/>
                  <a:pt x="5025" y="3410"/>
                  <a:pt x="5025" y="3347"/>
                </a:cubicBezTo>
                <a:cubicBezTo>
                  <a:pt x="5025" y="3285"/>
                  <a:pt x="5000" y="3234"/>
                  <a:pt x="4971" y="3234"/>
                </a:cubicBezTo>
                <a:cubicBezTo>
                  <a:pt x="4941" y="3234"/>
                  <a:pt x="4917" y="3285"/>
                  <a:pt x="4917" y="3347"/>
                </a:cubicBezTo>
                <a:cubicBezTo>
                  <a:pt x="4917" y="3410"/>
                  <a:pt x="4941" y="3460"/>
                  <a:pt x="4971" y="3460"/>
                </a:cubicBezTo>
                <a:close/>
                <a:moveTo>
                  <a:pt x="5436" y="3556"/>
                </a:moveTo>
                <a:cubicBezTo>
                  <a:pt x="5407" y="3556"/>
                  <a:pt x="5383" y="3606"/>
                  <a:pt x="5383" y="3669"/>
                </a:cubicBezTo>
                <a:cubicBezTo>
                  <a:pt x="5383" y="3731"/>
                  <a:pt x="5407" y="3782"/>
                  <a:pt x="5436" y="3782"/>
                </a:cubicBezTo>
                <a:cubicBezTo>
                  <a:pt x="5466" y="3782"/>
                  <a:pt x="5490" y="3731"/>
                  <a:pt x="5490" y="3669"/>
                </a:cubicBezTo>
                <a:cubicBezTo>
                  <a:pt x="5490" y="3606"/>
                  <a:pt x="5466" y="3556"/>
                  <a:pt x="5436" y="3556"/>
                </a:cubicBezTo>
                <a:close/>
                <a:moveTo>
                  <a:pt x="5279" y="3782"/>
                </a:moveTo>
                <a:cubicBezTo>
                  <a:pt x="5308" y="3782"/>
                  <a:pt x="5332" y="3731"/>
                  <a:pt x="5332" y="3669"/>
                </a:cubicBezTo>
                <a:cubicBezTo>
                  <a:pt x="5332" y="3606"/>
                  <a:pt x="5308" y="3556"/>
                  <a:pt x="5279" y="3556"/>
                </a:cubicBezTo>
                <a:cubicBezTo>
                  <a:pt x="5249" y="3556"/>
                  <a:pt x="5225" y="3606"/>
                  <a:pt x="5225" y="3669"/>
                </a:cubicBezTo>
                <a:cubicBezTo>
                  <a:pt x="5225" y="3731"/>
                  <a:pt x="5249" y="3782"/>
                  <a:pt x="5279" y="3782"/>
                </a:cubicBezTo>
                <a:close/>
                <a:moveTo>
                  <a:pt x="5126" y="3782"/>
                </a:moveTo>
                <a:cubicBezTo>
                  <a:pt x="5156" y="3782"/>
                  <a:pt x="5180" y="3731"/>
                  <a:pt x="5180" y="3669"/>
                </a:cubicBezTo>
                <a:cubicBezTo>
                  <a:pt x="5180" y="3606"/>
                  <a:pt x="5156" y="3556"/>
                  <a:pt x="5126" y="3556"/>
                </a:cubicBezTo>
                <a:cubicBezTo>
                  <a:pt x="5096" y="3556"/>
                  <a:pt x="5072" y="3606"/>
                  <a:pt x="5072" y="3669"/>
                </a:cubicBezTo>
                <a:cubicBezTo>
                  <a:pt x="5072" y="3731"/>
                  <a:pt x="5096" y="3782"/>
                  <a:pt x="5126" y="3782"/>
                </a:cubicBezTo>
                <a:close/>
                <a:moveTo>
                  <a:pt x="4971" y="3782"/>
                </a:moveTo>
                <a:cubicBezTo>
                  <a:pt x="5000" y="3782"/>
                  <a:pt x="5025" y="3731"/>
                  <a:pt x="5025" y="3669"/>
                </a:cubicBezTo>
                <a:cubicBezTo>
                  <a:pt x="5025" y="3606"/>
                  <a:pt x="5000" y="3556"/>
                  <a:pt x="4971" y="3556"/>
                </a:cubicBezTo>
                <a:cubicBezTo>
                  <a:pt x="4941" y="3556"/>
                  <a:pt x="4917" y="3606"/>
                  <a:pt x="4917" y="3669"/>
                </a:cubicBezTo>
                <a:cubicBezTo>
                  <a:pt x="4917" y="3731"/>
                  <a:pt x="4941" y="3782"/>
                  <a:pt x="4971" y="3782"/>
                </a:cubicBezTo>
                <a:close/>
                <a:moveTo>
                  <a:pt x="5744" y="3867"/>
                </a:moveTo>
                <a:cubicBezTo>
                  <a:pt x="5715" y="3867"/>
                  <a:pt x="5691" y="3917"/>
                  <a:pt x="5691" y="3980"/>
                </a:cubicBezTo>
                <a:cubicBezTo>
                  <a:pt x="5691" y="4042"/>
                  <a:pt x="5715" y="4093"/>
                  <a:pt x="5744" y="4093"/>
                </a:cubicBezTo>
                <a:cubicBezTo>
                  <a:pt x="5774" y="4093"/>
                  <a:pt x="5798" y="4042"/>
                  <a:pt x="5798" y="3980"/>
                </a:cubicBezTo>
                <a:cubicBezTo>
                  <a:pt x="5798" y="3917"/>
                  <a:pt x="5774" y="3867"/>
                  <a:pt x="5744" y="3867"/>
                </a:cubicBezTo>
                <a:close/>
                <a:moveTo>
                  <a:pt x="5592" y="4194"/>
                </a:moveTo>
                <a:cubicBezTo>
                  <a:pt x="5562" y="4194"/>
                  <a:pt x="5538" y="4244"/>
                  <a:pt x="5538" y="4307"/>
                </a:cubicBezTo>
                <a:cubicBezTo>
                  <a:pt x="5538" y="4369"/>
                  <a:pt x="5562" y="4420"/>
                  <a:pt x="5592" y="4420"/>
                </a:cubicBezTo>
                <a:cubicBezTo>
                  <a:pt x="5621" y="4420"/>
                  <a:pt x="5645" y="4369"/>
                  <a:pt x="5645" y="4307"/>
                </a:cubicBezTo>
                <a:cubicBezTo>
                  <a:pt x="5645" y="4244"/>
                  <a:pt x="5621" y="4194"/>
                  <a:pt x="5592" y="4194"/>
                </a:cubicBezTo>
                <a:close/>
                <a:moveTo>
                  <a:pt x="5592" y="3867"/>
                </a:moveTo>
                <a:cubicBezTo>
                  <a:pt x="5562" y="3867"/>
                  <a:pt x="5538" y="3917"/>
                  <a:pt x="5538" y="3980"/>
                </a:cubicBezTo>
                <a:cubicBezTo>
                  <a:pt x="5538" y="4042"/>
                  <a:pt x="5562" y="4093"/>
                  <a:pt x="5592" y="4093"/>
                </a:cubicBezTo>
                <a:cubicBezTo>
                  <a:pt x="5621" y="4093"/>
                  <a:pt x="5645" y="4042"/>
                  <a:pt x="5645" y="3980"/>
                </a:cubicBezTo>
                <a:cubicBezTo>
                  <a:pt x="5645" y="3917"/>
                  <a:pt x="5621" y="3867"/>
                  <a:pt x="5592" y="3867"/>
                </a:cubicBezTo>
                <a:close/>
                <a:moveTo>
                  <a:pt x="5436" y="4194"/>
                </a:moveTo>
                <a:cubicBezTo>
                  <a:pt x="5407" y="4194"/>
                  <a:pt x="5383" y="4244"/>
                  <a:pt x="5383" y="4307"/>
                </a:cubicBezTo>
                <a:cubicBezTo>
                  <a:pt x="5383" y="4369"/>
                  <a:pt x="5407" y="4420"/>
                  <a:pt x="5436" y="4420"/>
                </a:cubicBezTo>
                <a:cubicBezTo>
                  <a:pt x="5466" y="4420"/>
                  <a:pt x="5490" y="4369"/>
                  <a:pt x="5490" y="4307"/>
                </a:cubicBezTo>
                <a:cubicBezTo>
                  <a:pt x="5490" y="4244"/>
                  <a:pt x="5466" y="4194"/>
                  <a:pt x="5436" y="4194"/>
                </a:cubicBezTo>
                <a:close/>
                <a:moveTo>
                  <a:pt x="5436" y="3867"/>
                </a:moveTo>
                <a:cubicBezTo>
                  <a:pt x="5407" y="3867"/>
                  <a:pt x="5383" y="3917"/>
                  <a:pt x="5383" y="3980"/>
                </a:cubicBezTo>
                <a:cubicBezTo>
                  <a:pt x="5383" y="4042"/>
                  <a:pt x="5407" y="4093"/>
                  <a:pt x="5436" y="4093"/>
                </a:cubicBezTo>
                <a:cubicBezTo>
                  <a:pt x="5466" y="4093"/>
                  <a:pt x="5490" y="4042"/>
                  <a:pt x="5490" y="3980"/>
                </a:cubicBezTo>
                <a:cubicBezTo>
                  <a:pt x="5490" y="3917"/>
                  <a:pt x="5466" y="3867"/>
                  <a:pt x="5436" y="3867"/>
                </a:cubicBezTo>
                <a:close/>
                <a:moveTo>
                  <a:pt x="5744" y="5087"/>
                </a:moveTo>
                <a:cubicBezTo>
                  <a:pt x="5774" y="5087"/>
                  <a:pt x="5798" y="5037"/>
                  <a:pt x="5798" y="4974"/>
                </a:cubicBezTo>
                <a:cubicBezTo>
                  <a:pt x="5798" y="4912"/>
                  <a:pt x="5774" y="4861"/>
                  <a:pt x="5744" y="4861"/>
                </a:cubicBezTo>
                <a:cubicBezTo>
                  <a:pt x="5715" y="4861"/>
                  <a:pt x="5691" y="4912"/>
                  <a:pt x="5691" y="4974"/>
                </a:cubicBezTo>
                <a:cubicBezTo>
                  <a:pt x="5691" y="5037"/>
                  <a:pt x="5715" y="5087"/>
                  <a:pt x="5744" y="5087"/>
                </a:cubicBezTo>
                <a:close/>
                <a:moveTo>
                  <a:pt x="5592" y="4861"/>
                </a:moveTo>
                <a:cubicBezTo>
                  <a:pt x="5562" y="4861"/>
                  <a:pt x="5538" y="4912"/>
                  <a:pt x="5538" y="4974"/>
                </a:cubicBezTo>
                <a:cubicBezTo>
                  <a:pt x="5538" y="5037"/>
                  <a:pt x="5562" y="5087"/>
                  <a:pt x="5592" y="5087"/>
                </a:cubicBezTo>
                <a:cubicBezTo>
                  <a:pt x="5621" y="5087"/>
                  <a:pt x="5645" y="5037"/>
                  <a:pt x="5645" y="4974"/>
                </a:cubicBezTo>
                <a:cubicBezTo>
                  <a:pt x="5645" y="4912"/>
                  <a:pt x="5621" y="4861"/>
                  <a:pt x="5592" y="4861"/>
                </a:cubicBezTo>
                <a:close/>
                <a:moveTo>
                  <a:pt x="5592" y="4534"/>
                </a:moveTo>
                <a:cubicBezTo>
                  <a:pt x="5562" y="4534"/>
                  <a:pt x="5538" y="4585"/>
                  <a:pt x="5538" y="4647"/>
                </a:cubicBezTo>
                <a:cubicBezTo>
                  <a:pt x="5538" y="4710"/>
                  <a:pt x="5562" y="4760"/>
                  <a:pt x="5592" y="4760"/>
                </a:cubicBezTo>
                <a:cubicBezTo>
                  <a:pt x="5621" y="4760"/>
                  <a:pt x="5645" y="4710"/>
                  <a:pt x="5645" y="4647"/>
                </a:cubicBezTo>
                <a:cubicBezTo>
                  <a:pt x="5645" y="4585"/>
                  <a:pt x="5621" y="4534"/>
                  <a:pt x="5592" y="4534"/>
                </a:cubicBezTo>
                <a:close/>
                <a:moveTo>
                  <a:pt x="5279" y="4420"/>
                </a:moveTo>
                <a:cubicBezTo>
                  <a:pt x="5308" y="4420"/>
                  <a:pt x="5332" y="4369"/>
                  <a:pt x="5332" y="4307"/>
                </a:cubicBezTo>
                <a:cubicBezTo>
                  <a:pt x="5332" y="4244"/>
                  <a:pt x="5308" y="4194"/>
                  <a:pt x="5279" y="4194"/>
                </a:cubicBezTo>
                <a:cubicBezTo>
                  <a:pt x="5249" y="4194"/>
                  <a:pt x="5225" y="4244"/>
                  <a:pt x="5225" y="4307"/>
                </a:cubicBezTo>
                <a:cubicBezTo>
                  <a:pt x="5225" y="4369"/>
                  <a:pt x="5249" y="4420"/>
                  <a:pt x="5279" y="4420"/>
                </a:cubicBezTo>
                <a:close/>
                <a:moveTo>
                  <a:pt x="5279" y="4093"/>
                </a:moveTo>
                <a:cubicBezTo>
                  <a:pt x="5308" y="4093"/>
                  <a:pt x="5332" y="4042"/>
                  <a:pt x="5332" y="3980"/>
                </a:cubicBezTo>
                <a:cubicBezTo>
                  <a:pt x="5332" y="3917"/>
                  <a:pt x="5308" y="3867"/>
                  <a:pt x="5279" y="3867"/>
                </a:cubicBezTo>
                <a:cubicBezTo>
                  <a:pt x="5249" y="3867"/>
                  <a:pt x="5225" y="3917"/>
                  <a:pt x="5225" y="3980"/>
                </a:cubicBezTo>
                <a:cubicBezTo>
                  <a:pt x="5225" y="4042"/>
                  <a:pt x="5249" y="4093"/>
                  <a:pt x="5279" y="4093"/>
                </a:cubicBezTo>
                <a:close/>
                <a:moveTo>
                  <a:pt x="5126" y="4420"/>
                </a:moveTo>
                <a:cubicBezTo>
                  <a:pt x="5156" y="4420"/>
                  <a:pt x="5180" y="4369"/>
                  <a:pt x="5180" y="4307"/>
                </a:cubicBezTo>
                <a:cubicBezTo>
                  <a:pt x="5180" y="4244"/>
                  <a:pt x="5156" y="4194"/>
                  <a:pt x="5126" y="4194"/>
                </a:cubicBezTo>
                <a:cubicBezTo>
                  <a:pt x="5096" y="4194"/>
                  <a:pt x="5072" y="4244"/>
                  <a:pt x="5072" y="4307"/>
                </a:cubicBezTo>
                <a:cubicBezTo>
                  <a:pt x="5072" y="4369"/>
                  <a:pt x="5096" y="4420"/>
                  <a:pt x="5126" y="4420"/>
                </a:cubicBezTo>
                <a:close/>
                <a:moveTo>
                  <a:pt x="5126" y="4093"/>
                </a:moveTo>
                <a:cubicBezTo>
                  <a:pt x="5156" y="4093"/>
                  <a:pt x="5180" y="4042"/>
                  <a:pt x="5180" y="3980"/>
                </a:cubicBezTo>
                <a:cubicBezTo>
                  <a:pt x="5180" y="3917"/>
                  <a:pt x="5156" y="3867"/>
                  <a:pt x="5126" y="3867"/>
                </a:cubicBezTo>
                <a:cubicBezTo>
                  <a:pt x="5096" y="3867"/>
                  <a:pt x="5072" y="3917"/>
                  <a:pt x="5072" y="3980"/>
                </a:cubicBezTo>
                <a:cubicBezTo>
                  <a:pt x="5072" y="4042"/>
                  <a:pt x="5096" y="4093"/>
                  <a:pt x="5126" y="4093"/>
                </a:cubicBezTo>
                <a:close/>
                <a:moveTo>
                  <a:pt x="4971" y="4420"/>
                </a:moveTo>
                <a:cubicBezTo>
                  <a:pt x="5000" y="4420"/>
                  <a:pt x="5025" y="4369"/>
                  <a:pt x="5025" y="4307"/>
                </a:cubicBezTo>
                <a:cubicBezTo>
                  <a:pt x="5025" y="4244"/>
                  <a:pt x="5000" y="4194"/>
                  <a:pt x="4971" y="4194"/>
                </a:cubicBezTo>
                <a:cubicBezTo>
                  <a:pt x="4941" y="4194"/>
                  <a:pt x="4917" y="4244"/>
                  <a:pt x="4917" y="4307"/>
                </a:cubicBezTo>
                <a:cubicBezTo>
                  <a:pt x="4917" y="4369"/>
                  <a:pt x="4941" y="4420"/>
                  <a:pt x="4971" y="4420"/>
                </a:cubicBezTo>
                <a:close/>
                <a:moveTo>
                  <a:pt x="4971" y="4093"/>
                </a:moveTo>
                <a:cubicBezTo>
                  <a:pt x="5000" y="4093"/>
                  <a:pt x="5025" y="4042"/>
                  <a:pt x="5025" y="3980"/>
                </a:cubicBezTo>
                <a:cubicBezTo>
                  <a:pt x="5025" y="3917"/>
                  <a:pt x="5000" y="3867"/>
                  <a:pt x="4971" y="3867"/>
                </a:cubicBezTo>
                <a:cubicBezTo>
                  <a:pt x="4941" y="3867"/>
                  <a:pt x="4917" y="3917"/>
                  <a:pt x="4917" y="3980"/>
                </a:cubicBezTo>
                <a:cubicBezTo>
                  <a:pt x="4917" y="4042"/>
                  <a:pt x="4941" y="4093"/>
                  <a:pt x="4971" y="4093"/>
                </a:cubicBezTo>
                <a:close/>
                <a:moveTo>
                  <a:pt x="4971" y="5087"/>
                </a:moveTo>
                <a:cubicBezTo>
                  <a:pt x="5000" y="5087"/>
                  <a:pt x="5025" y="5037"/>
                  <a:pt x="5025" y="4974"/>
                </a:cubicBezTo>
                <a:cubicBezTo>
                  <a:pt x="5025" y="4912"/>
                  <a:pt x="5000" y="4861"/>
                  <a:pt x="4971" y="4861"/>
                </a:cubicBezTo>
                <a:cubicBezTo>
                  <a:pt x="4941" y="4861"/>
                  <a:pt x="4917" y="4912"/>
                  <a:pt x="4917" y="4974"/>
                </a:cubicBezTo>
                <a:cubicBezTo>
                  <a:pt x="4917" y="5037"/>
                  <a:pt x="4941" y="5087"/>
                  <a:pt x="4971" y="5087"/>
                </a:cubicBezTo>
                <a:close/>
                <a:moveTo>
                  <a:pt x="4971" y="4760"/>
                </a:moveTo>
                <a:cubicBezTo>
                  <a:pt x="5000" y="4760"/>
                  <a:pt x="5025" y="4710"/>
                  <a:pt x="5025" y="4647"/>
                </a:cubicBezTo>
                <a:cubicBezTo>
                  <a:pt x="5025" y="4585"/>
                  <a:pt x="5000" y="4534"/>
                  <a:pt x="4971" y="4534"/>
                </a:cubicBezTo>
                <a:cubicBezTo>
                  <a:pt x="4941" y="4534"/>
                  <a:pt x="4917" y="4585"/>
                  <a:pt x="4917" y="4647"/>
                </a:cubicBezTo>
                <a:cubicBezTo>
                  <a:pt x="4917" y="4710"/>
                  <a:pt x="4941" y="4760"/>
                  <a:pt x="4971" y="4760"/>
                </a:cubicBezTo>
                <a:close/>
                <a:moveTo>
                  <a:pt x="5126" y="5398"/>
                </a:moveTo>
                <a:cubicBezTo>
                  <a:pt x="5156" y="5398"/>
                  <a:pt x="5180" y="5348"/>
                  <a:pt x="5180" y="5285"/>
                </a:cubicBezTo>
                <a:cubicBezTo>
                  <a:pt x="5180" y="5223"/>
                  <a:pt x="5156" y="5172"/>
                  <a:pt x="5126" y="5172"/>
                </a:cubicBezTo>
                <a:cubicBezTo>
                  <a:pt x="5096" y="5172"/>
                  <a:pt x="5072" y="5223"/>
                  <a:pt x="5072" y="5285"/>
                </a:cubicBezTo>
                <a:cubicBezTo>
                  <a:pt x="5072" y="5348"/>
                  <a:pt x="5096" y="5398"/>
                  <a:pt x="5126" y="5398"/>
                </a:cubicBezTo>
                <a:close/>
                <a:moveTo>
                  <a:pt x="4971" y="5398"/>
                </a:moveTo>
                <a:cubicBezTo>
                  <a:pt x="5000" y="5398"/>
                  <a:pt x="5025" y="5348"/>
                  <a:pt x="5025" y="5285"/>
                </a:cubicBezTo>
                <a:cubicBezTo>
                  <a:pt x="5025" y="5223"/>
                  <a:pt x="5000" y="5172"/>
                  <a:pt x="4971" y="5172"/>
                </a:cubicBezTo>
                <a:cubicBezTo>
                  <a:pt x="4941" y="5172"/>
                  <a:pt x="4917" y="5223"/>
                  <a:pt x="4917" y="5285"/>
                </a:cubicBezTo>
                <a:cubicBezTo>
                  <a:pt x="4917" y="5348"/>
                  <a:pt x="4941" y="5398"/>
                  <a:pt x="4971" y="5398"/>
                </a:cubicBezTo>
                <a:close/>
                <a:moveTo>
                  <a:pt x="4820" y="4420"/>
                </a:moveTo>
                <a:cubicBezTo>
                  <a:pt x="4850" y="4420"/>
                  <a:pt x="4874" y="4369"/>
                  <a:pt x="4874" y="4307"/>
                </a:cubicBezTo>
                <a:cubicBezTo>
                  <a:pt x="4874" y="4244"/>
                  <a:pt x="4850" y="4194"/>
                  <a:pt x="4820" y="4194"/>
                </a:cubicBezTo>
                <a:cubicBezTo>
                  <a:pt x="4790" y="4194"/>
                  <a:pt x="4766" y="4244"/>
                  <a:pt x="4766" y="4307"/>
                </a:cubicBezTo>
                <a:cubicBezTo>
                  <a:pt x="4766" y="4369"/>
                  <a:pt x="4790" y="4420"/>
                  <a:pt x="4820" y="4420"/>
                </a:cubicBezTo>
                <a:close/>
                <a:moveTo>
                  <a:pt x="4820" y="4093"/>
                </a:moveTo>
                <a:cubicBezTo>
                  <a:pt x="4850" y="4093"/>
                  <a:pt x="4874" y="4042"/>
                  <a:pt x="4874" y="3980"/>
                </a:cubicBezTo>
                <a:cubicBezTo>
                  <a:pt x="4874" y="3917"/>
                  <a:pt x="4850" y="3867"/>
                  <a:pt x="4820" y="3867"/>
                </a:cubicBezTo>
                <a:cubicBezTo>
                  <a:pt x="4790" y="3867"/>
                  <a:pt x="4766" y="3917"/>
                  <a:pt x="4766" y="3980"/>
                </a:cubicBezTo>
                <a:cubicBezTo>
                  <a:pt x="4766" y="4042"/>
                  <a:pt x="4790" y="4093"/>
                  <a:pt x="4820" y="4093"/>
                </a:cubicBezTo>
                <a:close/>
                <a:moveTo>
                  <a:pt x="4667" y="4420"/>
                </a:moveTo>
                <a:cubicBezTo>
                  <a:pt x="4697" y="4420"/>
                  <a:pt x="4721" y="4369"/>
                  <a:pt x="4721" y="4307"/>
                </a:cubicBezTo>
                <a:cubicBezTo>
                  <a:pt x="4721" y="4244"/>
                  <a:pt x="4697" y="4194"/>
                  <a:pt x="4667" y="4194"/>
                </a:cubicBezTo>
                <a:cubicBezTo>
                  <a:pt x="4638" y="4194"/>
                  <a:pt x="4614" y="4244"/>
                  <a:pt x="4614" y="4307"/>
                </a:cubicBezTo>
                <a:cubicBezTo>
                  <a:pt x="4614" y="4369"/>
                  <a:pt x="4638" y="4420"/>
                  <a:pt x="4667" y="4420"/>
                </a:cubicBezTo>
                <a:close/>
                <a:moveTo>
                  <a:pt x="4667" y="4093"/>
                </a:moveTo>
                <a:cubicBezTo>
                  <a:pt x="4697" y="4093"/>
                  <a:pt x="4721" y="4042"/>
                  <a:pt x="4721" y="3980"/>
                </a:cubicBezTo>
                <a:cubicBezTo>
                  <a:pt x="4721" y="3917"/>
                  <a:pt x="4697" y="3867"/>
                  <a:pt x="4667" y="3867"/>
                </a:cubicBezTo>
                <a:cubicBezTo>
                  <a:pt x="4638" y="3867"/>
                  <a:pt x="4614" y="3917"/>
                  <a:pt x="4614" y="3980"/>
                </a:cubicBezTo>
                <a:cubicBezTo>
                  <a:pt x="4614" y="4042"/>
                  <a:pt x="4638" y="4093"/>
                  <a:pt x="4667" y="4093"/>
                </a:cubicBezTo>
                <a:close/>
                <a:moveTo>
                  <a:pt x="4512" y="4420"/>
                </a:moveTo>
                <a:cubicBezTo>
                  <a:pt x="4542" y="4420"/>
                  <a:pt x="4566" y="4369"/>
                  <a:pt x="4566" y="4307"/>
                </a:cubicBezTo>
                <a:cubicBezTo>
                  <a:pt x="4566" y="4244"/>
                  <a:pt x="4542" y="4194"/>
                  <a:pt x="4512" y="4194"/>
                </a:cubicBezTo>
                <a:cubicBezTo>
                  <a:pt x="4482" y="4194"/>
                  <a:pt x="4458" y="4244"/>
                  <a:pt x="4458" y="4307"/>
                </a:cubicBezTo>
                <a:cubicBezTo>
                  <a:pt x="4458" y="4369"/>
                  <a:pt x="4482" y="4420"/>
                  <a:pt x="4512" y="4420"/>
                </a:cubicBezTo>
                <a:close/>
                <a:moveTo>
                  <a:pt x="4512" y="4093"/>
                </a:moveTo>
                <a:cubicBezTo>
                  <a:pt x="4542" y="4093"/>
                  <a:pt x="4566" y="4042"/>
                  <a:pt x="4566" y="3980"/>
                </a:cubicBezTo>
                <a:cubicBezTo>
                  <a:pt x="4566" y="3917"/>
                  <a:pt x="4542" y="3867"/>
                  <a:pt x="4512" y="3867"/>
                </a:cubicBezTo>
                <a:cubicBezTo>
                  <a:pt x="4482" y="3867"/>
                  <a:pt x="4458" y="3917"/>
                  <a:pt x="4458" y="3980"/>
                </a:cubicBezTo>
                <a:cubicBezTo>
                  <a:pt x="4458" y="4042"/>
                  <a:pt x="4482" y="4093"/>
                  <a:pt x="4512" y="4093"/>
                </a:cubicBezTo>
                <a:close/>
                <a:moveTo>
                  <a:pt x="4052" y="4861"/>
                </a:moveTo>
                <a:cubicBezTo>
                  <a:pt x="4022" y="4861"/>
                  <a:pt x="3998" y="4912"/>
                  <a:pt x="3998" y="4974"/>
                </a:cubicBezTo>
                <a:cubicBezTo>
                  <a:pt x="3998" y="5037"/>
                  <a:pt x="4022" y="5087"/>
                  <a:pt x="4052" y="5087"/>
                </a:cubicBezTo>
                <a:cubicBezTo>
                  <a:pt x="4082" y="5087"/>
                  <a:pt x="4106" y="5037"/>
                  <a:pt x="4106" y="4974"/>
                </a:cubicBezTo>
                <a:cubicBezTo>
                  <a:pt x="4106" y="4912"/>
                  <a:pt x="4082" y="4861"/>
                  <a:pt x="4052" y="4861"/>
                </a:cubicBezTo>
                <a:close/>
                <a:moveTo>
                  <a:pt x="4052" y="4534"/>
                </a:moveTo>
                <a:cubicBezTo>
                  <a:pt x="4022" y="4534"/>
                  <a:pt x="3998" y="4585"/>
                  <a:pt x="3998" y="4647"/>
                </a:cubicBezTo>
                <a:cubicBezTo>
                  <a:pt x="3998" y="4710"/>
                  <a:pt x="4022" y="4760"/>
                  <a:pt x="4052" y="4760"/>
                </a:cubicBezTo>
                <a:cubicBezTo>
                  <a:pt x="4082" y="4760"/>
                  <a:pt x="4106" y="4710"/>
                  <a:pt x="4106" y="4647"/>
                </a:cubicBezTo>
                <a:cubicBezTo>
                  <a:pt x="4106" y="4585"/>
                  <a:pt x="4082" y="4534"/>
                  <a:pt x="4052" y="4534"/>
                </a:cubicBezTo>
                <a:close/>
                <a:moveTo>
                  <a:pt x="3899" y="5087"/>
                </a:moveTo>
                <a:cubicBezTo>
                  <a:pt x="3929" y="5087"/>
                  <a:pt x="3953" y="5037"/>
                  <a:pt x="3953" y="4974"/>
                </a:cubicBezTo>
                <a:cubicBezTo>
                  <a:pt x="3953" y="4912"/>
                  <a:pt x="3929" y="4861"/>
                  <a:pt x="3899" y="4861"/>
                </a:cubicBezTo>
                <a:cubicBezTo>
                  <a:pt x="3870" y="4861"/>
                  <a:pt x="3845" y="4912"/>
                  <a:pt x="3845" y="4974"/>
                </a:cubicBezTo>
                <a:cubicBezTo>
                  <a:pt x="3845" y="5037"/>
                  <a:pt x="3870" y="5087"/>
                  <a:pt x="3899" y="5087"/>
                </a:cubicBezTo>
                <a:close/>
                <a:moveTo>
                  <a:pt x="3899" y="4760"/>
                </a:moveTo>
                <a:cubicBezTo>
                  <a:pt x="3929" y="4760"/>
                  <a:pt x="3953" y="4710"/>
                  <a:pt x="3953" y="4647"/>
                </a:cubicBezTo>
                <a:cubicBezTo>
                  <a:pt x="3953" y="4585"/>
                  <a:pt x="3929" y="4534"/>
                  <a:pt x="3899" y="4534"/>
                </a:cubicBezTo>
                <a:cubicBezTo>
                  <a:pt x="3870" y="4534"/>
                  <a:pt x="3845" y="4585"/>
                  <a:pt x="3845" y="4647"/>
                </a:cubicBezTo>
                <a:cubicBezTo>
                  <a:pt x="3845" y="4710"/>
                  <a:pt x="3870" y="4760"/>
                  <a:pt x="3899" y="4760"/>
                </a:cubicBezTo>
                <a:close/>
                <a:moveTo>
                  <a:pt x="3744" y="5087"/>
                </a:moveTo>
                <a:cubicBezTo>
                  <a:pt x="3774" y="5087"/>
                  <a:pt x="3798" y="5037"/>
                  <a:pt x="3798" y="4974"/>
                </a:cubicBezTo>
                <a:cubicBezTo>
                  <a:pt x="3798" y="4912"/>
                  <a:pt x="3774" y="4861"/>
                  <a:pt x="3744" y="4861"/>
                </a:cubicBezTo>
                <a:cubicBezTo>
                  <a:pt x="3714" y="4861"/>
                  <a:pt x="3690" y="4912"/>
                  <a:pt x="3690" y="4974"/>
                </a:cubicBezTo>
                <a:cubicBezTo>
                  <a:pt x="3690" y="5037"/>
                  <a:pt x="3714" y="5087"/>
                  <a:pt x="3744" y="5087"/>
                </a:cubicBezTo>
                <a:close/>
                <a:moveTo>
                  <a:pt x="3744" y="4760"/>
                </a:moveTo>
                <a:cubicBezTo>
                  <a:pt x="3774" y="4760"/>
                  <a:pt x="3798" y="4710"/>
                  <a:pt x="3798" y="4647"/>
                </a:cubicBezTo>
                <a:cubicBezTo>
                  <a:pt x="3798" y="4585"/>
                  <a:pt x="3774" y="4534"/>
                  <a:pt x="3744" y="4534"/>
                </a:cubicBezTo>
                <a:cubicBezTo>
                  <a:pt x="3714" y="4534"/>
                  <a:pt x="3690" y="4585"/>
                  <a:pt x="3690" y="4647"/>
                </a:cubicBezTo>
                <a:cubicBezTo>
                  <a:pt x="3690" y="4710"/>
                  <a:pt x="3714" y="4760"/>
                  <a:pt x="3744" y="4760"/>
                </a:cubicBezTo>
                <a:close/>
                <a:moveTo>
                  <a:pt x="4820" y="5087"/>
                </a:moveTo>
                <a:cubicBezTo>
                  <a:pt x="4850" y="5087"/>
                  <a:pt x="4874" y="5037"/>
                  <a:pt x="4874" y="4974"/>
                </a:cubicBezTo>
                <a:cubicBezTo>
                  <a:pt x="4874" y="4912"/>
                  <a:pt x="4850" y="4861"/>
                  <a:pt x="4820" y="4861"/>
                </a:cubicBezTo>
                <a:cubicBezTo>
                  <a:pt x="4790" y="4861"/>
                  <a:pt x="4766" y="4912"/>
                  <a:pt x="4766" y="4974"/>
                </a:cubicBezTo>
                <a:cubicBezTo>
                  <a:pt x="4766" y="5037"/>
                  <a:pt x="4790" y="5087"/>
                  <a:pt x="4820" y="5087"/>
                </a:cubicBezTo>
                <a:close/>
                <a:moveTo>
                  <a:pt x="4820" y="4760"/>
                </a:moveTo>
                <a:cubicBezTo>
                  <a:pt x="4850" y="4760"/>
                  <a:pt x="4874" y="4710"/>
                  <a:pt x="4874" y="4647"/>
                </a:cubicBezTo>
                <a:cubicBezTo>
                  <a:pt x="4874" y="4585"/>
                  <a:pt x="4850" y="4534"/>
                  <a:pt x="4820" y="4534"/>
                </a:cubicBezTo>
                <a:cubicBezTo>
                  <a:pt x="4790" y="4534"/>
                  <a:pt x="4766" y="4585"/>
                  <a:pt x="4766" y="4647"/>
                </a:cubicBezTo>
                <a:cubicBezTo>
                  <a:pt x="4766" y="4710"/>
                  <a:pt x="4790" y="4760"/>
                  <a:pt x="4820" y="4760"/>
                </a:cubicBezTo>
                <a:close/>
                <a:moveTo>
                  <a:pt x="4667" y="5087"/>
                </a:moveTo>
                <a:cubicBezTo>
                  <a:pt x="4697" y="5087"/>
                  <a:pt x="4721" y="5037"/>
                  <a:pt x="4721" y="4974"/>
                </a:cubicBezTo>
                <a:cubicBezTo>
                  <a:pt x="4721" y="4912"/>
                  <a:pt x="4697" y="4861"/>
                  <a:pt x="4667" y="4861"/>
                </a:cubicBezTo>
                <a:cubicBezTo>
                  <a:pt x="4638" y="4861"/>
                  <a:pt x="4614" y="4912"/>
                  <a:pt x="4614" y="4974"/>
                </a:cubicBezTo>
                <a:cubicBezTo>
                  <a:pt x="4614" y="5037"/>
                  <a:pt x="4638" y="5087"/>
                  <a:pt x="4667" y="5087"/>
                </a:cubicBezTo>
                <a:close/>
                <a:moveTo>
                  <a:pt x="4667" y="4760"/>
                </a:moveTo>
                <a:cubicBezTo>
                  <a:pt x="4697" y="4760"/>
                  <a:pt x="4721" y="4710"/>
                  <a:pt x="4721" y="4647"/>
                </a:cubicBezTo>
                <a:cubicBezTo>
                  <a:pt x="4721" y="4585"/>
                  <a:pt x="4697" y="4534"/>
                  <a:pt x="4667" y="4534"/>
                </a:cubicBezTo>
                <a:cubicBezTo>
                  <a:pt x="4638" y="4534"/>
                  <a:pt x="4614" y="4585"/>
                  <a:pt x="4614" y="4647"/>
                </a:cubicBezTo>
                <a:cubicBezTo>
                  <a:pt x="4614" y="4710"/>
                  <a:pt x="4638" y="4760"/>
                  <a:pt x="4667" y="4760"/>
                </a:cubicBezTo>
                <a:close/>
                <a:moveTo>
                  <a:pt x="4512" y="5087"/>
                </a:moveTo>
                <a:cubicBezTo>
                  <a:pt x="4542" y="5087"/>
                  <a:pt x="4566" y="5037"/>
                  <a:pt x="4566" y="4974"/>
                </a:cubicBezTo>
                <a:cubicBezTo>
                  <a:pt x="4566" y="4912"/>
                  <a:pt x="4542" y="4861"/>
                  <a:pt x="4512" y="4861"/>
                </a:cubicBezTo>
                <a:cubicBezTo>
                  <a:pt x="4482" y="4861"/>
                  <a:pt x="4458" y="4912"/>
                  <a:pt x="4458" y="4974"/>
                </a:cubicBezTo>
                <a:cubicBezTo>
                  <a:pt x="4458" y="5037"/>
                  <a:pt x="4482" y="5087"/>
                  <a:pt x="4512" y="5087"/>
                </a:cubicBezTo>
                <a:close/>
                <a:moveTo>
                  <a:pt x="4512" y="4760"/>
                </a:moveTo>
                <a:cubicBezTo>
                  <a:pt x="4542" y="4760"/>
                  <a:pt x="4566" y="4710"/>
                  <a:pt x="4566" y="4647"/>
                </a:cubicBezTo>
                <a:cubicBezTo>
                  <a:pt x="4566" y="4585"/>
                  <a:pt x="4542" y="4534"/>
                  <a:pt x="4512" y="4534"/>
                </a:cubicBezTo>
                <a:cubicBezTo>
                  <a:pt x="4482" y="4534"/>
                  <a:pt x="4458" y="4585"/>
                  <a:pt x="4458" y="4647"/>
                </a:cubicBezTo>
                <a:cubicBezTo>
                  <a:pt x="4458" y="4710"/>
                  <a:pt x="4482" y="4760"/>
                  <a:pt x="4512" y="4760"/>
                </a:cubicBezTo>
                <a:close/>
                <a:moveTo>
                  <a:pt x="4358" y="5087"/>
                </a:moveTo>
                <a:cubicBezTo>
                  <a:pt x="4388" y="5087"/>
                  <a:pt x="4412" y="5037"/>
                  <a:pt x="4412" y="4974"/>
                </a:cubicBezTo>
                <a:cubicBezTo>
                  <a:pt x="4412" y="4912"/>
                  <a:pt x="4388" y="4861"/>
                  <a:pt x="4358" y="4861"/>
                </a:cubicBezTo>
                <a:cubicBezTo>
                  <a:pt x="4328" y="4861"/>
                  <a:pt x="4304" y="4912"/>
                  <a:pt x="4304" y="4974"/>
                </a:cubicBezTo>
                <a:cubicBezTo>
                  <a:pt x="4304" y="5037"/>
                  <a:pt x="4328" y="5087"/>
                  <a:pt x="4358" y="5087"/>
                </a:cubicBezTo>
                <a:close/>
                <a:moveTo>
                  <a:pt x="4358" y="4760"/>
                </a:moveTo>
                <a:cubicBezTo>
                  <a:pt x="4388" y="4760"/>
                  <a:pt x="4412" y="4710"/>
                  <a:pt x="4412" y="4647"/>
                </a:cubicBezTo>
                <a:cubicBezTo>
                  <a:pt x="4412" y="4585"/>
                  <a:pt x="4388" y="4534"/>
                  <a:pt x="4358" y="4534"/>
                </a:cubicBezTo>
                <a:cubicBezTo>
                  <a:pt x="4328" y="4534"/>
                  <a:pt x="4304" y="4585"/>
                  <a:pt x="4304" y="4647"/>
                </a:cubicBezTo>
                <a:cubicBezTo>
                  <a:pt x="4304" y="4710"/>
                  <a:pt x="4328" y="4760"/>
                  <a:pt x="4358" y="4760"/>
                </a:cubicBezTo>
                <a:close/>
                <a:moveTo>
                  <a:pt x="4205" y="5087"/>
                </a:moveTo>
                <a:cubicBezTo>
                  <a:pt x="4235" y="5087"/>
                  <a:pt x="4259" y="5037"/>
                  <a:pt x="4259" y="4974"/>
                </a:cubicBezTo>
                <a:cubicBezTo>
                  <a:pt x="4259" y="4912"/>
                  <a:pt x="4235" y="4861"/>
                  <a:pt x="4205" y="4861"/>
                </a:cubicBezTo>
                <a:cubicBezTo>
                  <a:pt x="4176" y="4861"/>
                  <a:pt x="4152" y="4912"/>
                  <a:pt x="4152" y="4974"/>
                </a:cubicBezTo>
                <a:cubicBezTo>
                  <a:pt x="4152" y="5037"/>
                  <a:pt x="4176" y="5087"/>
                  <a:pt x="4205" y="5087"/>
                </a:cubicBezTo>
                <a:close/>
                <a:moveTo>
                  <a:pt x="4205" y="4760"/>
                </a:moveTo>
                <a:cubicBezTo>
                  <a:pt x="4235" y="4760"/>
                  <a:pt x="4259" y="4710"/>
                  <a:pt x="4259" y="4647"/>
                </a:cubicBezTo>
                <a:cubicBezTo>
                  <a:pt x="4259" y="4585"/>
                  <a:pt x="4235" y="4534"/>
                  <a:pt x="4205" y="4534"/>
                </a:cubicBezTo>
                <a:cubicBezTo>
                  <a:pt x="4176" y="4534"/>
                  <a:pt x="4152" y="4585"/>
                  <a:pt x="4152" y="4647"/>
                </a:cubicBezTo>
                <a:cubicBezTo>
                  <a:pt x="4152" y="4710"/>
                  <a:pt x="4176" y="4760"/>
                  <a:pt x="4205" y="4760"/>
                </a:cubicBezTo>
                <a:close/>
                <a:moveTo>
                  <a:pt x="4052" y="5499"/>
                </a:moveTo>
                <a:cubicBezTo>
                  <a:pt x="4022" y="5499"/>
                  <a:pt x="3998" y="5549"/>
                  <a:pt x="3998" y="5612"/>
                </a:cubicBezTo>
                <a:cubicBezTo>
                  <a:pt x="3998" y="5674"/>
                  <a:pt x="4022" y="5725"/>
                  <a:pt x="4052" y="5725"/>
                </a:cubicBezTo>
                <a:cubicBezTo>
                  <a:pt x="4082" y="5725"/>
                  <a:pt x="4106" y="5674"/>
                  <a:pt x="4106" y="5612"/>
                </a:cubicBezTo>
                <a:cubicBezTo>
                  <a:pt x="4106" y="5549"/>
                  <a:pt x="4082" y="5499"/>
                  <a:pt x="4052" y="5499"/>
                </a:cubicBezTo>
                <a:close/>
                <a:moveTo>
                  <a:pt x="4052" y="5172"/>
                </a:moveTo>
                <a:cubicBezTo>
                  <a:pt x="4022" y="5172"/>
                  <a:pt x="3998" y="5223"/>
                  <a:pt x="3998" y="5285"/>
                </a:cubicBezTo>
                <a:cubicBezTo>
                  <a:pt x="3998" y="5348"/>
                  <a:pt x="4022" y="5398"/>
                  <a:pt x="4052" y="5398"/>
                </a:cubicBezTo>
                <a:cubicBezTo>
                  <a:pt x="4082" y="5398"/>
                  <a:pt x="4106" y="5348"/>
                  <a:pt x="4106" y="5285"/>
                </a:cubicBezTo>
                <a:cubicBezTo>
                  <a:pt x="4106" y="5223"/>
                  <a:pt x="4082" y="5172"/>
                  <a:pt x="4052" y="5172"/>
                </a:cubicBezTo>
                <a:close/>
                <a:moveTo>
                  <a:pt x="3899" y="5725"/>
                </a:moveTo>
                <a:cubicBezTo>
                  <a:pt x="3929" y="5725"/>
                  <a:pt x="3953" y="5674"/>
                  <a:pt x="3953" y="5612"/>
                </a:cubicBezTo>
                <a:cubicBezTo>
                  <a:pt x="3953" y="5549"/>
                  <a:pt x="3929" y="5499"/>
                  <a:pt x="3899" y="5499"/>
                </a:cubicBezTo>
                <a:cubicBezTo>
                  <a:pt x="3870" y="5499"/>
                  <a:pt x="3845" y="5549"/>
                  <a:pt x="3845" y="5612"/>
                </a:cubicBezTo>
                <a:cubicBezTo>
                  <a:pt x="3845" y="5674"/>
                  <a:pt x="3870" y="5725"/>
                  <a:pt x="3899" y="5725"/>
                </a:cubicBezTo>
                <a:close/>
                <a:moveTo>
                  <a:pt x="3899" y="5398"/>
                </a:moveTo>
                <a:cubicBezTo>
                  <a:pt x="3929" y="5398"/>
                  <a:pt x="3953" y="5348"/>
                  <a:pt x="3953" y="5285"/>
                </a:cubicBezTo>
                <a:cubicBezTo>
                  <a:pt x="3953" y="5223"/>
                  <a:pt x="3929" y="5172"/>
                  <a:pt x="3899" y="5172"/>
                </a:cubicBezTo>
                <a:cubicBezTo>
                  <a:pt x="3870" y="5172"/>
                  <a:pt x="3845" y="5223"/>
                  <a:pt x="3845" y="5285"/>
                </a:cubicBezTo>
                <a:cubicBezTo>
                  <a:pt x="3845" y="5348"/>
                  <a:pt x="3870" y="5398"/>
                  <a:pt x="3899" y="5398"/>
                </a:cubicBezTo>
                <a:close/>
                <a:moveTo>
                  <a:pt x="3744" y="5725"/>
                </a:moveTo>
                <a:cubicBezTo>
                  <a:pt x="3774" y="5725"/>
                  <a:pt x="3798" y="5674"/>
                  <a:pt x="3798" y="5612"/>
                </a:cubicBezTo>
                <a:cubicBezTo>
                  <a:pt x="3798" y="5549"/>
                  <a:pt x="3774" y="5499"/>
                  <a:pt x="3744" y="5499"/>
                </a:cubicBezTo>
                <a:cubicBezTo>
                  <a:pt x="3714" y="5499"/>
                  <a:pt x="3690" y="5549"/>
                  <a:pt x="3690" y="5612"/>
                </a:cubicBezTo>
                <a:cubicBezTo>
                  <a:pt x="3690" y="5674"/>
                  <a:pt x="3714" y="5725"/>
                  <a:pt x="3744" y="5725"/>
                </a:cubicBezTo>
                <a:close/>
                <a:moveTo>
                  <a:pt x="3744" y="5398"/>
                </a:moveTo>
                <a:cubicBezTo>
                  <a:pt x="3774" y="5398"/>
                  <a:pt x="3798" y="5348"/>
                  <a:pt x="3798" y="5285"/>
                </a:cubicBezTo>
                <a:cubicBezTo>
                  <a:pt x="3798" y="5223"/>
                  <a:pt x="3774" y="5172"/>
                  <a:pt x="3744" y="5172"/>
                </a:cubicBezTo>
                <a:cubicBezTo>
                  <a:pt x="3714" y="5172"/>
                  <a:pt x="3690" y="5223"/>
                  <a:pt x="3690" y="5285"/>
                </a:cubicBezTo>
                <a:cubicBezTo>
                  <a:pt x="3690" y="5348"/>
                  <a:pt x="3714" y="5398"/>
                  <a:pt x="3744" y="5398"/>
                </a:cubicBezTo>
                <a:close/>
                <a:moveTo>
                  <a:pt x="4820" y="5398"/>
                </a:moveTo>
                <a:cubicBezTo>
                  <a:pt x="4850" y="5398"/>
                  <a:pt x="4874" y="5348"/>
                  <a:pt x="4874" y="5285"/>
                </a:cubicBezTo>
                <a:cubicBezTo>
                  <a:pt x="4874" y="5223"/>
                  <a:pt x="4850" y="5172"/>
                  <a:pt x="4820" y="5172"/>
                </a:cubicBezTo>
                <a:cubicBezTo>
                  <a:pt x="4790" y="5172"/>
                  <a:pt x="4766" y="5223"/>
                  <a:pt x="4766" y="5285"/>
                </a:cubicBezTo>
                <a:cubicBezTo>
                  <a:pt x="4766" y="5348"/>
                  <a:pt x="4790" y="5398"/>
                  <a:pt x="4820" y="5398"/>
                </a:cubicBezTo>
                <a:close/>
                <a:moveTo>
                  <a:pt x="4667" y="5398"/>
                </a:moveTo>
                <a:cubicBezTo>
                  <a:pt x="4697" y="5398"/>
                  <a:pt x="4721" y="5348"/>
                  <a:pt x="4721" y="5285"/>
                </a:cubicBezTo>
                <a:cubicBezTo>
                  <a:pt x="4721" y="5223"/>
                  <a:pt x="4697" y="5172"/>
                  <a:pt x="4667" y="5172"/>
                </a:cubicBezTo>
                <a:cubicBezTo>
                  <a:pt x="4638" y="5172"/>
                  <a:pt x="4614" y="5223"/>
                  <a:pt x="4614" y="5285"/>
                </a:cubicBezTo>
                <a:cubicBezTo>
                  <a:pt x="4614" y="5348"/>
                  <a:pt x="4638" y="5398"/>
                  <a:pt x="4667" y="5398"/>
                </a:cubicBezTo>
                <a:close/>
                <a:moveTo>
                  <a:pt x="4512" y="5725"/>
                </a:moveTo>
                <a:cubicBezTo>
                  <a:pt x="4542" y="5725"/>
                  <a:pt x="4566" y="5674"/>
                  <a:pt x="4566" y="5612"/>
                </a:cubicBezTo>
                <a:cubicBezTo>
                  <a:pt x="4566" y="5549"/>
                  <a:pt x="4542" y="5499"/>
                  <a:pt x="4512" y="5499"/>
                </a:cubicBezTo>
                <a:cubicBezTo>
                  <a:pt x="4482" y="5499"/>
                  <a:pt x="4458" y="5549"/>
                  <a:pt x="4458" y="5612"/>
                </a:cubicBezTo>
                <a:cubicBezTo>
                  <a:pt x="4458" y="5674"/>
                  <a:pt x="4482" y="5725"/>
                  <a:pt x="4512" y="5725"/>
                </a:cubicBezTo>
                <a:close/>
                <a:moveTo>
                  <a:pt x="4512" y="5398"/>
                </a:moveTo>
                <a:cubicBezTo>
                  <a:pt x="4542" y="5398"/>
                  <a:pt x="4566" y="5348"/>
                  <a:pt x="4566" y="5285"/>
                </a:cubicBezTo>
                <a:cubicBezTo>
                  <a:pt x="4566" y="5223"/>
                  <a:pt x="4542" y="5172"/>
                  <a:pt x="4512" y="5172"/>
                </a:cubicBezTo>
                <a:cubicBezTo>
                  <a:pt x="4482" y="5172"/>
                  <a:pt x="4458" y="5223"/>
                  <a:pt x="4458" y="5285"/>
                </a:cubicBezTo>
                <a:cubicBezTo>
                  <a:pt x="4458" y="5348"/>
                  <a:pt x="4482" y="5398"/>
                  <a:pt x="4512" y="5398"/>
                </a:cubicBezTo>
                <a:close/>
                <a:moveTo>
                  <a:pt x="4358" y="5725"/>
                </a:moveTo>
                <a:cubicBezTo>
                  <a:pt x="4388" y="5725"/>
                  <a:pt x="4412" y="5674"/>
                  <a:pt x="4412" y="5612"/>
                </a:cubicBezTo>
                <a:cubicBezTo>
                  <a:pt x="4412" y="5549"/>
                  <a:pt x="4388" y="5499"/>
                  <a:pt x="4358" y="5499"/>
                </a:cubicBezTo>
                <a:cubicBezTo>
                  <a:pt x="4328" y="5499"/>
                  <a:pt x="4304" y="5549"/>
                  <a:pt x="4304" y="5612"/>
                </a:cubicBezTo>
                <a:cubicBezTo>
                  <a:pt x="4304" y="5674"/>
                  <a:pt x="4328" y="5725"/>
                  <a:pt x="4358" y="5725"/>
                </a:cubicBezTo>
                <a:close/>
                <a:moveTo>
                  <a:pt x="4358" y="5398"/>
                </a:moveTo>
                <a:cubicBezTo>
                  <a:pt x="4388" y="5398"/>
                  <a:pt x="4412" y="5348"/>
                  <a:pt x="4412" y="5285"/>
                </a:cubicBezTo>
                <a:cubicBezTo>
                  <a:pt x="4412" y="5223"/>
                  <a:pt x="4388" y="5172"/>
                  <a:pt x="4358" y="5172"/>
                </a:cubicBezTo>
                <a:cubicBezTo>
                  <a:pt x="4328" y="5172"/>
                  <a:pt x="4304" y="5223"/>
                  <a:pt x="4304" y="5285"/>
                </a:cubicBezTo>
                <a:cubicBezTo>
                  <a:pt x="4304" y="5348"/>
                  <a:pt x="4328" y="5398"/>
                  <a:pt x="4358" y="5398"/>
                </a:cubicBezTo>
                <a:close/>
                <a:moveTo>
                  <a:pt x="4205" y="5725"/>
                </a:moveTo>
                <a:cubicBezTo>
                  <a:pt x="4235" y="5725"/>
                  <a:pt x="4259" y="5674"/>
                  <a:pt x="4259" y="5612"/>
                </a:cubicBezTo>
                <a:cubicBezTo>
                  <a:pt x="4259" y="5549"/>
                  <a:pt x="4235" y="5499"/>
                  <a:pt x="4205" y="5499"/>
                </a:cubicBezTo>
                <a:cubicBezTo>
                  <a:pt x="4176" y="5499"/>
                  <a:pt x="4152" y="5549"/>
                  <a:pt x="4152" y="5612"/>
                </a:cubicBezTo>
                <a:cubicBezTo>
                  <a:pt x="4152" y="5674"/>
                  <a:pt x="4176" y="5725"/>
                  <a:pt x="4205" y="5725"/>
                </a:cubicBezTo>
                <a:close/>
                <a:moveTo>
                  <a:pt x="4205" y="5398"/>
                </a:moveTo>
                <a:cubicBezTo>
                  <a:pt x="4235" y="5398"/>
                  <a:pt x="4259" y="5348"/>
                  <a:pt x="4259" y="5285"/>
                </a:cubicBezTo>
                <a:cubicBezTo>
                  <a:pt x="4259" y="5223"/>
                  <a:pt x="4235" y="5172"/>
                  <a:pt x="4205" y="5172"/>
                </a:cubicBezTo>
                <a:cubicBezTo>
                  <a:pt x="4176" y="5172"/>
                  <a:pt x="4152" y="5223"/>
                  <a:pt x="4152" y="5285"/>
                </a:cubicBezTo>
                <a:cubicBezTo>
                  <a:pt x="4152" y="5348"/>
                  <a:pt x="4176" y="5398"/>
                  <a:pt x="4205" y="5398"/>
                </a:cubicBezTo>
                <a:close/>
                <a:moveTo>
                  <a:pt x="4052" y="6150"/>
                </a:moveTo>
                <a:cubicBezTo>
                  <a:pt x="4022" y="6150"/>
                  <a:pt x="3998" y="6201"/>
                  <a:pt x="3998" y="6263"/>
                </a:cubicBezTo>
                <a:cubicBezTo>
                  <a:pt x="3998" y="6326"/>
                  <a:pt x="4022" y="6376"/>
                  <a:pt x="4052" y="6376"/>
                </a:cubicBezTo>
                <a:cubicBezTo>
                  <a:pt x="4082" y="6376"/>
                  <a:pt x="4106" y="6326"/>
                  <a:pt x="4106" y="6263"/>
                </a:cubicBezTo>
                <a:cubicBezTo>
                  <a:pt x="4106" y="6201"/>
                  <a:pt x="4082" y="6150"/>
                  <a:pt x="4052" y="6150"/>
                </a:cubicBezTo>
                <a:close/>
                <a:moveTo>
                  <a:pt x="3899" y="6376"/>
                </a:moveTo>
                <a:cubicBezTo>
                  <a:pt x="3929" y="6376"/>
                  <a:pt x="3953" y="6326"/>
                  <a:pt x="3953" y="6263"/>
                </a:cubicBezTo>
                <a:cubicBezTo>
                  <a:pt x="3953" y="6201"/>
                  <a:pt x="3929" y="6150"/>
                  <a:pt x="3899" y="6150"/>
                </a:cubicBezTo>
                <a:cubicBezTo>
                  <a:pt x="3870" y="6150"/>
                  <a:pt x="3845" y="6201"/>
                  <a:pt x="3845" y="6263"/>
                </a:cubicBezTo>
                <a:cubicBezTo>
                  <a:pt x="3845" y="6326"/>
                  <a:pt x="3870" y="6376"/>
                  <a:pt x="3899" y="6376"/>
                </a:cubicBezTo>
                <a:close/>
                <a:moveTo>
                  <a:pt x="4205" y="6376"/>
                </a:moveTo>
                <a:cubicBezTo>
                  <a:pt x="4235" y="6376"/>
                  <a:pt x="4259" y="6326"/>
                  <a:pt x="4259" y="6263"/>
                </a:cubicBezTo>
                <a:cubicBezTo>
                  <a:pt x="4259" y="6201"/>
                  <a:pt x="4235" y="6150"/>
                  <a:pt x="4205" y="6150"/>
                </a:cubicBezTo>
                <a:cubicBezTo>
                  <a:pt x="4176" y="6150"/>
                  <a:pt x="4152" y="6201"/>
                  <a:pt x="4152" y="6263"/>
                </a:cubicBezTo>
                <a:cubicBezTo>
                  <a:pt x="4152" y="6326"/>
                  <a:pt x="4176" y="6376"/>
                  <a:pt x="4205" y="6376"/>
                </a:cubicBezTo>
                <a:close/>
                <a:moveTo>
                  <a:pt x="4052" y="5821"/>
                </a:moveTo>
                <a:cubicBezTo>
                  <a:pt x="4022" y="5821"/>
                  <a:pt x="3998" y="5872"/>
                  <a:pt x="3998" y="5934"/>
                </a:cubicBezTo>
                <a:cubicBezTo>
                  <a:pt x="3998" y="5996"/>
                  <a:pt x="4022" y="6047"/>
                  <a:pt x="4052" y="6047"/>
                </a:cubicBezTo>
                <a:cubicBezTo>
                  <a:pt x="4082" y="6047"/>
                  <a:pt x="4106" y="5996"/>
                  <a:pt x="4106" y="5934"/>
                </a:cubicBezTo>
                <a:cubicBezTo>
                  <a:pt x="4106" y="5872"/>
                  <a:pt x="4082" y="5821"/>
                  <a:pt x="4052" y="5821"/>
                </a:cubicBezTo>
                <a:close/>
                <a:moveTo>
                  <a:pt x="3899" y="6047"/>
                </a:moveTo>
                <a:cubicBezTo>
                  <a:pt x="3929" y="6047"/>
                  <a:pt x="3953" y="5996"/>
                  <a:pt x="3953" y="5934"/>
                </a:cubicBezTo>
                <a:cubicBezTo>
                  <a:pt x="3953" y="5872"/>
                  <a:pt x="3929" y="5821"/>
                  <a:pt x="3899" y="5821"/>
                </a:cubicBezTo>
                <a:cubicBezTo>
                  <a:pt x="3870" y="5821"/>
                  <a:pt x="3845" y="5872"/>
                  <a:pt x="3845" y="5934"/>
                </a:cubicBezTo>
                <a:cubicBezTo>
                  <a:pt x="3845" y="5996"/>
                  <a:pt x="3870" y="6047"/>
                  <a:pt x="3899" y="6047"/>
                </a:cubicBezTo>
                <a:close/>
                <a:moveTo>
                  <a:pt x="3744" y="6047"/>
                </a:moveTo>
                <a:cubicBezTo>
                  <a:pt x="3774" y="6047"/>
                  <a:pt x="3798" y="5996"/>
                  <a:pt x="3798" y="5934"/>
                </a:cubicBezTo>
                <a:cubicBezTo>
                  <a:pt x="3798" y="5872"/>
                  <a:pt x="3774" y="5821"/>
                  <a:pt x="3744" y="5821"/>
                </a:cubicBezTo>
                <a:cubicBezTo>
                  <a:pt x="3714" y="5821"/>
                  <a:pt x="3690" y="5872"/>
                  <a:pt x="3690" y="5934"/>
                </a:cubicBezTo>
                <a:cubicBezTo>
                  <a:pt x="3690" y="5996"/>
                  <a:pt x="3714" y="6047"/>
                  <a:pt x="3744" y="6047"/>
                </a:cubicBezTo>
                <a:close/>
                <a:moveTo>
                  <a:pt x="4358" y="6047"/>
                </a:moveTo>
                <a:cubicBezTo>
                  <a:pt x="4388" y="6047"/>
                  <a:pt x="4412" y="5996"/>
                  <a:pt x="4412" y="5934"/>
                </a:cubicBezTo>
                <a:cubicBezTo>
                  <a:pt x="4412" y="5872"/>
                  <a:pt x="4388" y="5821"/>
                  <a:pt x="4358" y="5821"/>
                </a:cubicBezTo>
                <a:cubicBezTo>
                  <a:pt x="4328" y="5821"/>
                  <a:pt x="4304" y="5872"/>
                  <a:pt x="4304" y="5934"/>
                </a:cubicBezTo>
                <a:cubicBezTo>
                  <a:pt x="4304" y="5996"/>
                  <a:pt x="4328" y="6047"/>
                  <a:pt x="4358" y="6047"/>
                </a:cubicBezTo>
                <a:close/>
                <a:moveTo>
                  <a:pt x="4205" y="6047"/>
                </a:moveTo>
                <a:cubicBezTo>
                  <a:pt x="4235" y="6047"/>
                  <a:pt x="4259" y="5996"/>
                  <a:pt x="4259" y="5934"/>
                </a:cubicBezTo>
                <a:cubicBezTo>
                  <a:pt x="4259" y="5872"/>
                  <a:pt x="4235" y="5821"/>
                  <a:pt x="4205" y="5821"/>
                </a:cubicBezTo>
                <a:cubicBezTo>
                  <a:pt x="4176" y="5821"/>
                  <a:pt x="4152" y="5872"/>
                  <a:pt x="4152" y="5934"/>
                </a:cubicBezTo>
                <a:cubicBezTo>
                  <a:pt x="4152" y="5996"/>
                  <a:pt x="4176" y="6047"/>
                  <a:pt x="4205" y="6047"/>
                </a:cubicBezTo>
                <a:close/>
                <a:moveTo>
                  <a:pt x="2830" y="2263"/>
                </a:moveTo>
                <a:cubicBezTo>
                  <a:pt x="2801" y="2263"/>
                  <a:pt x="2776" y="2314"/>
                  <a:pt x="2776" y="2376"/>
                </a:cubicBezTo>
                <a:cubicBezTo>
                  <a:pt x="2776" y="2439"/>
                  <a:pt x="2801" y="2490"/>
                  <a:pt x="2830" y="2490"/>
                </a:cubicBezTo>
                <a:cubicBezTo>
                  <a:pt x="2860" y="2490"/>
                  <a:pt x="2884" y="2439"/>
                  <a:pt x="2884" y="2376"/>
                </a:cubicBezTo>
                <a:cubicBezTo>
                  <a:pt x="2884" y="2314"/>
                  <a:pt x="2860" y="2263"/>
                  <a:pt x="2830" y="2263"/>
                </a:cubicBezTo>
                <a:close/>
                <a:moveTo>
                  <a:pt x="2830" y="1626"/>
                </a:moveTo>
                <a:cubicBezTo>
                  <a:pt x="2801" y="1626"/>
                  <a:pt x="2776" y="1676"/>
                  <a:pt x="2776" y="1739"/>
                </a:cubicBezTo>
                <a:cubicBezTo>
                  <a:pt x="2776" y="1801"/>
                  <a:pt x="2801" y="1852"/>
                  <a:pt x="2830" y="1852"/>
                </a:cubicBezTo>
                <a:cubicBezTo>
                  <a:pt x="2860" y="1852"/>
                  <a:pt x="2884" y="1801"/>
                  <a:pt x="2884" y="1739"/>
                </a:cubicBezTo>
                <a:cubicBezTo>
                  <a:pt x="2884" y="1676"/>
                  <a:pt x="2860" y="1626"/>
                  <a:pt x="2830" y="1626"/>
                </a:cubicBezTo>
                <a:close/>
                <a:moveTo>
                  <a:pt x="2678" y="1626"/>
                </a:moveTo>
                <a:cubicBezTo>
                  <a:pt x="2648" y="1626"/>
                  <a:pt x="2624" y="1676"/>
                  <a:pt x="2624" y="1739"/>
                </a:cubicBezTo>
                <a:cubicBezTo>
                  <a:pt x="2624" y="1801"/>
                  <a:pt x="2648" y="1852"/>
                  <a:pt x="2678" y="1852"/>
                </a:cubicBezTo>
                <a:cubicBezTo>
                  <a:pt x="2707" y="1852"/>
                  <a:pt x="2731" y="1801"/>
                  <a:pt x="2731" y="1739"/>
                </a:cubicBezTo>
                <a:cubicBezTo>
                  <a:pt x="2731" y="1676"/>
                  <a:pt x="2707" y="1626"/>
                  <a:pt x="2678" y="1626"/>
                </a:cubicBezTo>
                <a:close/>
                <a:moveTo>
                  <a:pt x="2522" y="1626"/>
                </a:moveTo>
                <a:cubicBezTo>
                  <a:pt x="2493" y="1626"/>
                  <a:pt x="2469" y="1676"/>
                  <a:pt x="2469" y="1739"/>
                </a:cubicBezTo>
                <a:cubicBezTo>
                  <a:pt x="2469" y="1801"/>
                  <a:pt x="2493" y="1852"/>
                  <a:pt x="2522" y="1852"/>
                </a:cubicBezTo>
                <a:cubicBezTo>
                  <a:pt x="2552" y="1852"/>
                  <a:pt x="2576" y="1801"/>
                  <a:pt x="2576" y="1739"/>
                </a:cubicBezTo>
                <a:cubicBezTo>
                  <a:pt x="2576" y="1676"/>
                  <a:pt x="2552" y="1626"/>
                  <a:pt x="2522" y="1626"/>
                </a:cubicBezTo>
                <a:close/>
                <a:moveTo>
                  <a:pt x="2368" y="1626"/>
                </a:moveTo>
                <a:cubicBezTo>
                  <a:pt x="2339" y="1626"/>
                  <a:pt x="2315" y="1676"/>
                  <a:pt x="2315" y="1739"/>
                </a:cubicBezTo>
                <a:cubicBezTo>
                  <a:pt x="2315" y="1801"/>
                  <a:pt x="2339" y="1852"/>
                  <a:pt x="2368" y="1852"/>
                </a:cubicBezTo>
                <a:cubicBezTo>
                  <a:pt x="2398" y="1852"/>
                  <a:pt x="2422" y="1801"/>
                  <a:pt x="2422" y="1739"/>
                </a:cubicBezTo>
                <a:cubicBezTo>
                  <a:pt x="2422" y="1676"/>
                  <a:pt x="2398" y="1626"/>
                  <a:pt x="2368" y="1626"/>
                </a:cubicBezTo>
                <a:close/>
                <a:moveTo>
                  <a:pt x="2984" y="1626"/>
                </a:moveTo>
                <a:cubicBezTo>
                  <a:pt x="2954" y="1626"/>
                  <a:pt x="2930" y="1676"/>
                  <a:pt x="2930" y="1739"/>
                </a:cubicBezTo>
                <a:cubicBezTo>
                  <a:pt x="2930" y="1801"/>
                  <a:pt x="2954" y="1852"/>
                  <a:pt x="2984" y="1852"/>
                </a:cubicBezTo>
                <a:cubicBezTo>
                  <a:pt x="3014" y="1852"/>
                  <a:pt x="3038" y="1801"/>
                  <a:pt x="3038" y="1739"/>
                </a:cubicBezTo>
                <a:cubicBezTo>
                  <a:pt x="3038" y="1676"/>
                  <a:pt x="3014" y="1626"/>
                  <a:pt x="2984" y="1626"/>
                </a:cubicBezTo>
                <a:close/>
                <a:moveTo>
                  <a:pt x="2830" y="1936"/>
                </a:moveTo>
                <a:cubicBezTo>
                  <a:pt x="2801" y="1936"/>
                  <a:pt x="2776" y="1987"/>
                  <a:pt x="2776" y="2050"/>
                </a:cubicBezTo>
                <a:cubicBezTo>
                  <a:pt x="2776" y="2112"/>
                  <a:pt x="2801" y="2163"/>
                  <a:pt x="2830" y="2163"/>
                </a:cubicBezTo>
                <a:cubicBezTo>
                  <a:pt x="2860" y="2163"/>
                  <a:pt x="2884" y="2112"/>
                  <a:pt x="2884" y="2050"/>
                </a:cubicBezTo>
                <a:cubicBezTo>
                  <a:pt x="2884" y="1987"/>
                  <a:pt x="2860" y="1936"/>
                  <a:pt x="2830" y="1936"/>
                </a:cubicBezTo>
                <a:close/>
                <a:moveTo>
                  <a:pt x="2678" y="2263"/>
                </a:moveTo>
                <a:cubicBezTo>
                  <a:pt x="2648" y="2263"/>
                  <a:pt x="2624" y="2314"/>
                  <a:pt x="2624" y="2376"/>
                </a:cubicBezTo>
                <a:cubicBezTo>
                  <a:pt x="2624" y="2439"/>
                  <a:pt x="2648" y="2490"/>
                  <a:pt x="2678" y="2490"/>
                </a:cubicBezTo>
                <a:cubicBezTo>
                  <a:pt x="2707" y="2490"/>
                  <a:pt x="2731" y="2439"/>
                  <a:pt x="2731" y="2376"/>
                </a:cubicBezTo>
                <a:cubicBezTo>
                  <a:pt x="2731" y="2314"/>
                  <a:pt x="2707" y="2263"/>
                  <a:pt x="2678" y="2263"/>
                </a:cubicBezTo>
                <a:close/>
                <a:moveTo>
                  <a:pt x="2678" y="1936"/>
                </a:moveTo>
                <a:cubicBezTo>
                  <a:pt x="2648" y="1936"/>
                  <a:pt x="2624" y="1987"/>
                  <a:pt x="2624" y="2050"/>
                </a:cubicBezTo>
                <a:cubicBezTo>
                  <a:pt x="2624" y="2112"/>
                  <a:pt x="2648" y="2163"/>
                  <a:pt x="2678" y="2163"/>
                </a:cubicBezTo>
                <a:cubicBezTo>
                  <a:pt x="2707" y="2163"/>
                  <a:pt x="2731" y="2112"/>
                  <a:pt x="2731" y="2050"/>
                </a:cubicBezTo>
                <a:cubicBezTo>
                  <a:pt x="2731" y="1987"/>
                  <a:pt x="2707" y="1936"/>
                  <a:pt x="2678" y="1936"/>
                </a:cubicBezTo>
                <a:close/>
                <a:moveTo>
                  <a:pt x="2522" y="2263"/>
                </a:moveTo>
                <a:cubicBezTo>
                  <a:pt x="2493" y="2263"/>
                  <a:pt x="2469" y="2314"/>
                  <a:pt x="2469" y="2376"/>
                </a:cubicBezTo>
                <a:cubicBezTo>
                  <a:pt x="2469" y="2439"/>
                  <a:pt x="2493" y="2490"/>
                  <a:pt x="2522" y="2490"/>
                </a:cubicBezTo>
                <a:cubicBezTo>
                  <a:pt x="2552" y="2490"/>
                  <a:pt x="2576" y="2439"/>
                  <a:pt x="2576" y="2376"/>
                </a:cubicBezTo>
                <a:cubicBezTo>
                  <a:pt x="2576" y="2314"/>
                  <a:pt x="2552" y="2263"/>
                  <a:pt x="2522" y="2263"/>
                </a:cubicBezTo>
                <a:close/>
                <a:moveTo>
                  <a:pt x="2522" y="1936"/>
                </a:moveTo>
                <a:cubicBezTo>
                  <a:pt x="2493" y="1936"/>
                  <a:pt x="2469" y="1987"/>
                  <a:pt x="2469" y="2050"/>
                </a:cubicBezTo>
                <a:cubicBezTo>
                  <a:pt x="2469" y="2112"/>
                  <a:pt x="2493" y="2163"/>
                  <a:pt x="2522" y="2163"/>
                </a:cubicBezTo>
                <a:cubicBezTo>
                  <a:pt x="2552" y="2163"/>
                  <a:pt x="2576" y="2112"/>
                  <a:pt x="2576" y="2050"/>
                </a:cubicBezTo>
                <a:cubicBezTo>
                  <a:pt x="2576" y="1987"/>
                  <a:pt x="2552" y="1936"/>
                  <a:pt x="2522" y="1936"/>
                </a:cubicBezTo>
                <a:close/>
                <a:moveTo>
                  <a:pt x="2368" y="2263"/>
                </a:moveTo>
                <a:cubicBezTo>
                  <a:pt x="2339" y="2263"/>
                  <a:pt x="2315" y="2314"/>
                  <a:pt x="2315" y="2376"/>
                </a:cubicBezTo>
                <a:cubicBezTo>
                  <a:pt x="2315" y="2439"/>
                  <a:pt x="2339" y="2490"/>
                  <a:pt x="2368" y="2490"/>
                </a:cubicBezTo>
                <a:cubicBezTo>
                  <a:pt x="2398" y="2490"/>
                  <a:pt x="2422" y="2439"/>
                  <a:pt x="2422" y="2376"/>
                </a:cubicBezTo>
                <a:cubicBezTo>
                  <a:pt x="2422" y="2314"/>
                  <a:pt x="2398" y="2263"/>
                  <a:pt x="2368" y="2263"/>
                </a:cubicBezTo>
                <a:close/>
                <a:moveTo>
                  <a:pt x="2368" y="1936"/>
                </a:moveTo>
                <a:cubicBezTo>
                  <a:pt x="2339" y="1936"/>
                  <a:pt x="2315" y="1987"/>
                  <a:pt x="2315" y="2050"/>
                </a:cubicBezTo>
                <a:cubicBezTo>
                  <a:pt x="2315" y="2112"/>
                  <a:pt x="2339" y="2163"/>
                  <a:pt x="2368" y="2163"/>
                </a:cubicBezTo>
                <a:cubicBezTo>
                  <a:pt x="2398" y="2163"/>
                  <a:pt x="2422" y="2112"/>
                  <a:pt x="2422" y="2050"/>
                </a:cubicBezTo>
                <a:cubicBezTo>
                  <a:pt x="2422" y="1987"/>
                  <a:pt x="2398" y="1936"/>
                  <a:pt x="2368" y="1936"/>
                </a:cubicBezTo>
                <a:close/>
                <a:moveTo>
                  <a:pt x="2216" y="2263"/>
                </a:moveTo>
                <a:cubicBezTo>
                  <a:pt x="2186" y="2263"/>
                  <a:pt x="2162" y="2314"/>
                  <a:pt x="2162" y="2376"/>
                </a:cubicBezTo>
                <a:cubicBezTo>
                  <a:pt x="2162" y="2439"/>
                  <a:pt x="2186" y="2490"/>
                  <a:pt x="2216" y="2490"/>
                </a:cubicBezTo>
                <a:cubicBezTo>
                  <a:pt x="2245" y="2490"/>
                  <a:pt x="2269" y="2439"/>
                  <a:pt x="2269" y="2376"/>
                </a:cubicBezTo>
                <a:cubicBezTo>
                  <a:pt x="2269" y="2314"/>
                  <a:pt x="2245" y="2263"/>
                  <a:pt x="2216" y="2263"/>
                </a:cubicBezTo>
                <a:close/>
                <a:moveTo>
                  <a:pt x="2216" y="1936"/>
                </a:moveTo>
                <a:cubicBezTo>
                  <a:pt x="2186" y="1936"/>
                  <a:pt x="2162" y="1987"/>
                  <a:pt x="2162" y="2050"/>
                </a:cubicBezTo>
                <a:cubicBezTo>
                  <a:pt x="2162" y="2112"/>
                  <a:pt x="2186" y="2163"/>
                  <a:pt x="2216" y="2163"/>
                </a:cubicBezTo>
                <a:cubicBezTo>
                  <a:pt x="2245" y="2163"/>
                  <a:pt x="2269" y="2112"/>
                  <a:pt x="2269" y="2050"/>
                </a:cubicBezTo>
                <a:cubicBezTo>
                  <a:pt x="2269" y="1987"/>
                  <a:pt x="2245" y="1936"/>
                  <a:pt x="2216" y="1936"/>
                </a:cubicBezTo>
                <a:close/>
                <a:moveTo>
                  <a:pt x="3598" y="2263"/>
                </a:moveTo>
                <a:cubicBezTo>
                  <a:pt x="3569" y="2263"/>
                  <a:pt x="3545" y="2314"/>
                  <a:pt x="3545" y="2376"/>
                </a:cubicBezTo>
                <a:cubicBezTo>
                  <a:pt x="3545" y="2439"/>
                  <a:pt x="3569" y="2490"/>
                  <a:pt x="3598" y="2490"/>
                </a:cubicBezTo>
                <a:cubicBezTo>
                  <a:pt x="3628" y="2490"/>
                  <a:pt x="3652" y="2439"/>
                  <a:pt x="3652" y="2376"/>
                </a:cubicBezTo>
                <a:cubicBezTo>
                  <a:pt x="3652" y="2314"/>
                  <a:pt x="3628" y="2263"/>
                  <a:pt x="3598" y="2263"/>
                </a:cubicBezTo>
                <a:close/>
                <a:moveTo>
                  <a:pt x="3598" y="1936"/>
                </a:moveTo>
                <a:cubicBezTo>
                  <a:pt x="3569" y="1936"/>
                  <a:pt x="3545" y="1987"/>
                  <a:pt x="3545" y="2050"/>
                </a:cubicBezTo>
                <a:cubicBezTo>
                  <a:pt x="3545" y="2112"/>
                  <a:pt x="3569" y="2163"/>
                  <a:pt x="3598" y="2163"/>
                </a:cubicBezTo>
                <a:cubicBezTo>
                  <a:pt x="3628" y="2163"/>
                  <a:pt x="3652" y="2112"/>
                  <a:pt x="3652" y="2050"/>
                </a:cubicBezTo>
                <a:cubicBezTo>
                  <a:pt x="3652" y="1987"/>
                  <a:pt x="3628" y="1936"/>
                  <a:pt x="3598" y="1936"/>
                </a:cubicBezTo>
                <a:close/>
                <a:moveTo>
                  <a:pt x="3446" y="2490"/>
                </a:moveTo>
                <a:cubicBezTo>
                  <a:pt x="3475" y="2490"/>
                  <a:pt x="3500" y="2439"/>
                  <a:pt x="3500" y="2376"/>
                </a:cubicBezTo>
                <a:cubicBezTo>
                  <a:pt x="3500" y="2314"/>
                  <a:pt x="3475" y="2263"/>
                  <a:pt x="3446" y="2263"/>
                </a:cubicBezTo>
                <a:cubicBezTo>
                  <a:pt x="3416" y="2263"/>
                  <a:pt x="3392" y="2314"/>
                  <a:pt x="3392" y="2376"/>
                </a:cubicBezTo>
                <a:cubicBezTo>
                  <a:pt x="3392" y="2439"/>
                  <a:pt x="3416" y="2490"/>
                  <a:pt x="3446" y="2490"/>
                </a:cubicBezTo>
                <a:close/>
                <a:moveTo>
                  <a:pt x="3446" y="2163"/>
                </a:moveTo>
                <a:cubicBezTo>
                  <a:pt x="3475" y="2163"/>
                  <a:pt x="3500" y="2112"/>
                  <a:pt x="3500" y="2050"/>
                </a:cubicBezTo>
                <a:cubicBezTo>
                  <a:pt x="3500" y="1987"/>
                  <a:pt x="3475" y="1936"/>
                  <a:pt x="3446" y="1936"/>
                </a:cubicBezTo>
                <a:cubicBezTo>
                  <a:pt x="3416" y="1936"/>
                  <a:pt x="3392" y="1987"/>
                  <a:pt x="3392" y="2050"/>
                </a:cubicBezTo>
                <a:cubicBezTo>
                  <a:pt x="3392" y="2112"/>
                  <a:pt x="3416" y="2163"/>
                  <a:pt x="3446" y="2163"/>
                </a:cubicBezTo>
                <a:close/>
                <a:moveTo>
                  <a:pt x="3290" y="2490"/>
                </a:moveTo>
                <a:cubicBezTo>
                  <a:pt x="3320" y="2490"/>
                  <a:pt x="3344" y="2439"/>
                  <a:pt x="3344" y="2376"/>
                </a:cubicBezTo>
                <a:cubicBezTo>
                  <a:pt x="3344" y="2314"/>
                  <a:pt x="3320" y="2263"/>
                  <a:pt x="3290" y="2263"/>
                </a:cubicBezTo>
                <a:cubicBezTo>
                  <a:pt x="3261" y="2263"/>
                  <a:pt x="3237" y="2314"/>
                  <a:pt x="3237" y="2376"/>
                </a:cubicBezTo>
                <a:cubicBezTo>
                  <a:pt x="3237" y="2439"/>
                  <a:pt x="3261" y="2490"/>
                  <a:pt x="3290" y="2490"/>
                </a:cubicBezTo>
                <a:close/>
                <a:moveTo>
                  <a:pt x="3290" y="2163"/>
                </a:moveTo>
                <a:cubicBezTo>
                  <a:pt x="3320" y="2163"/>
                  <a:pt x="3344" y="2112"/>
                  <a:pt x="3344" y="2050"/>
                </a:cubicBezTo>
                <a:cubicBezTo>
                  <a:pt x="3344" y="1987"/>
                  <a:pt x="3320" y="1936"/>
                  <a:pt x="3290" y="1936"/>
                </a:cubicBezTo>
                <a:cubicBezTo>
                  <a:pt x="3261" y="1936"/>
                  <a:pt x="3237" y="1987"/>
                  <a:pt x="3237" y="2050"/>
                </a:cubicBezTo>
                <a:cubicBezTo>
                  <a:pt x="3237" y="2112"/>
                  <a:pt x="3261" y="2163"/>
                  <a:pt x="3290" y="2163"/>
                </a:cubicBezTo>
                <a:close/>
                <a:moveTo>
                  <a:pt x="3136" y="2263"/>
                </a:moveTo>
                <a:cubicBezTo>
                  <a:pt x="3107" y="2263"/>
                  <a:pt x="3083" y="2314"/>
                  <a:pt x="3083" y="2376"/>
                </a:cubicBezTo>
                <a:cubicBezTo>
                  <a:pt x="3083" y="2439"/>
                  <a:pt x="3107" y="2490"/>
                  <a:pt x="3136" y="2490"/>
                </a:cubicBezTo>
                <a:cubicBezTo>
                  <a:pt x="3166" y="2490"/>
                  <a:pt x="3190" y="2439"/>
                  <a:pt x="3190" y="2376"/>
                </a:cubicBezTo>
                <a:cubicBezTo>
                  <a:pt x="3190" y="2314"/>
                  <a:pt x="3166" y="2263"/>
                  <a:pt x="3136" y="2263"/>
                </a:cubicBezTo>
                <a:close/>
                <a:moveTo>
                  <a:pt x="3136" y="1936"/>
                </a:moveTo>
                <a:cubicBezTo>
                  <a:pt x="3107" y="1936"/>
                  <a:pt x="3083" y="1987"/>
                  <a:pt x="3083" y="2050"/>
                </a:cubicBezTo>
                <a:cubicBezTo>
                  <a:pt x="3083" y="2112"/>
                  <a:pt x="3107" y="2163"/>
                  <a:pt x="3136" y="2163"/>
                </a:cubicBezTo>
                <a:cubicBezTo>
                  <a:pt x="3166" y="2163"/>
                  <a:pt x="3190" y="2112"/>
                  <a:pt x="3190" y="2050"/>
                </a:cubicBezTo>
                <a:cubicBezTo>
                  <a:pt x="3190" y="1987"/>
                  <a:pt x="3166" y="1936"/>
                  <a:pt x="3136" y="1936"/>
                </a:cubicBezTo>
                <a:close/>
                <a:moveTo>
                  <a:pt x="2984" y="2263"/>
                </a:moveTo>
                <a:cubicBezTo>
                  <a:pt x="2954" y="2263"/>
                  <a:pt x="2930" y="2314"/>
                  <a:pt x="2930" y="2376"/>
                </a:cubicBezTo>
                <a:cubicBezTo>
                  <a:pt x="2930" y="2439"/>
                  <a:pt x="2954" y="2490"/>
                  <a:pt x="2984" y="2490"/>
                </a:cubicBezTo>
                <a:cubicBezTo>
                  <a:pt x="3014" y="2490"/>
                  <a:pt x="3038" y="2439"/>
                  <a:pt x="3038" y="2376"/>
                </a:cubicBezTo>
                <a:cubicBezTo>
                  <a:pt x="3038" y="2314"/>
                  <a:pt x="3014" y="2263"/>
                  <a:pt x="2984" y="2263"/>
                </a:cubicBezTo>
                <a:close/>
                <a:moveTo>
                  <a:pt x="2984" y="1936"/>
                </a:moveTo>
                <a:cubicBezTo>
                  <a:pt x="2954" y="1936"/>
                  <a:pt x="2930" y="1987"/>
                  <a:pt x="2930" y="2050"/>
                </a:cubicBezTo>
                <a:cubicBezTo>
                  <a:pt x="2930" y="2112"/>
                  <a:pt x="2954" y="2163"/>
                  <a:pt x="2984" y="2163"/>
                </a:cubicBezTo>
                <a:cubicBezTo>
                  <a:pt x="3014" y="2163"/>
                  <a:pt x="3038" y="2112"/>
                  <a:pt x="3038" y="2050"/>
                </a:cubicBezTo>
                <a:cubicBezTo>
                  <a:pt x="3038" y="1987"/>
                  <a:pt x="3014" y="1936"/>
                  <a:pt x="2984" y="1936"/>
                </a:cubicBezTo>
                <a:close/>
                <a:moveTo>
                  <a:pt x="1597" y="2931"/>
                </a:moveTo>
                <a:cubicBezTo>
                  <a:pt x="1567" y="2931"/>
                  <a:pt x="1543" y="2981"/>
                  <a:pt x="1543" y="3044"/>
                </a:cubicBezTo>
                <a:cubicBezTo>
                  <a:pt x="1543" y="3106"/>
                  <a:pt x="1567" y="3157"/>
                  <a:pt x="1597" y="3157"/>
                </a:cubicBezTo>
                <a:cubicBezTo>
                  <a:pt x="1627" y="3157"/>
                  <a:pt x="1651" y="3106"/>
                  <a:pt x="1651" y="3044"/>
                </a:cubicBezTo>
                <a:cubicBezTo>
                  <a:pt x="1651" y="2981"/>
                  <a:pt x="1627" y="2931"/>
                  <a:pt x="1597" y="2931"/>
                </a:cubicBezTo>
                <a:close/>
                <a:moveTo>
                  <a:pt x="1597" y="2604"/>
                </a:moveTo>
                <a:cubicBezTo>
                  <a:pt x="1567" y="2604"/>
                  <a:pt x="1543" y="2655"/>
                  <a:pt x="1543" y="2717"/>
                </a:cubicBezTo>
                <a:cubicBezTo>
                  <a:pt x="1543" y="2780"/>
                  <a:pt x="1567" y="2830"/>
                  <a:pt x="1597" y="2830"/>
                </a:cubicBezTo>
                <a:cubicBezTo>
                  <a:pt x="1627" y="2830"/>
                  <a:pt x="1651" y="2780"/>
                  <a:pt x="1651" y="2717"/>
                </a:cubicBezTo>
                <a:cubicBezTo>
                  <a:pt x="1651" y="2655"/>
                  <a:pt x="1627" y="2604"/>
                  <a:pt x="1597" y="2604"/>
                </a:cubicBezTo>
                <a:close/>
                <a:moveTo>
                  <a:pt x="1444" y="3157"/>
                </a:moveTo>
                <a:cubicBezTo>
                  <a:pt x="1474" y="3157"/>
                  <a:pt x="1498" y="3106"/>
                  <a:pt x="1498" y="3044"/>
                </a:cubicBezTo>
                <a:cubicBezTo>
                  <a:pt x="1498" y="2981"/>
                  <a:pt x="1474" y="2931"/>
                  <a:pt x="1444" y="2931"/>
                </a:cubicBezTo>
                <a:cubicBezTo>
                  <a:pt x="1415" y="2931"/>
                  <a:pt x="1390" y="2981"/>
                  <a:pt x="1390" y="3044"/>
                </a:cubicBezTo>
                <a:cubicBezTo>
                  <a:pt x="1390" y="3106"/>
                  <a:pt x="1415" y="3157"/>
                  <a:pt x="1444" y="3157"/>
                </a:cubicBezTo>
                <a:close/>
                <a:moveTo>
                  <a:pt x="1444" y="2830"/>
                </a:moveTo>
                <a:cubicBezTo>
                  <a:pt x="1474" y="2830"/>
                  <a:pt x="1498" y="2780"/>
                  <a:pt x="1498" y="2717"/>
                </a:cubicBezTo>
                <a:cubicBezTo>
                  <a:pt x="1498" y="2655"/>
                  <a:pt x="1474" y="2604"/>
                  <a:pt x="1444" y="2604"/>
                </a:cubicBezTo>
                <a:cubicBezTo>
                  <a:pt x="1415" y="2604"/>
                  <a:pt x="1390" y="2655"/>
                  <a:pt x="1390" y="2717"/>
                </a:cubicBezTo>
                <a:cubicBezTo>
                  <a:pt x="1390" y="2780"/>
                  <a:pt x="1415" y="2830"/>
                  <a:pt x="1444" y="2830"/>
                </a:cubicBezTo>
                <a:close/>
                <a:moveTo>
                  <a:pt x="2057" y="2931"/>
                </a:moveTo>
                <a:cubicBezTo>
                  <a:pt x="2027" y="2931"/>
                  <a:pt x="2003" y="2981"/>
                  <a:pt x="2003" y="3044"/>
                </a:cubicBezTo>
                <a:cubicBezTo>
                  <a:pt x="2003" y="3106"/>
                  <a:pt x="2027" y="3157"/>
                  <a:pt x="2057" y="3157"/>
                </a:cubicBezTo>
                <a:cubicBezTo>
                  <a:pt x="2087" y="3157"/>
                  <a:pt x="2111" y="3106"/>
                  <a:pt x="2111" y="3044"/>
                </a:cubicBezTo>
                <a:cubicBezTo>
                  <a:pt x="2111" y="2981"/>
                  <a:pt x="2087" y="2931"/>
                  <a:pt x="2057" y="2931"/>
                </a:cubicBezTo>
                <a:close/>
                <a:moveTo>
                  <a:pt x="2057" y="2604"/>
                </a:moveTo>
                <a:cubicBezTo>
                  <a:pt x="2027" y="2604"/>
                  <a:pt x="2003" y="2655"/>
                  <a:pt x="2003" y="2717"/>
                </a:cubicBezTo>
                <a:cubicBezTo>
                  <a:pt x="2003" y="2780"/>
                  <a:pt x="2027" y="2830"/>
                  <a:pt x="2057" y="2830"/>
                </a:cubicBezTo>
                <a:cubicBezTo>
                  <a:pt x="2087" y="2830"/>
                  <a:pt x="2111" y="2780"/>
                  <a:pt x="2111" y="2717"/>
                </a:cubicBezTo>
                <a:cubicBezTo>
                  <a:pt x="2111" y="2655"/>
                  <a:pt x="2087" y="2604"/>
                  <a:pt x="2057" y="2604"/>
                </a:cubicBezTo>
                <a:close/>
                <a:moveTo>
                  <a:pt x="1903" y="2931"/>
                </a:moveTo>
                <a:cubicBezTo>
                  <a:pt x="1873" y="2931"/>
                  <a:pt x="1849" y="2981"/>
                  <a:pt x="1849" y="3044"/>
                </a:cubicBezTo>
                <a:cubicBezTo>
                  <a:pt x="1849" y="3106"/>
                  <a:pt x="1873" y="3157"/>
                  <a:pt x="1903" y="3157"/>
                </a:cubicBezTo>
                <a:cubicBezTo>
                  <a:pt x="1933" y="3157"/>
                  <a:pt x="1957" y="3106"/>
                  <a:pt x="1957" y="3044"/>
                </a:cubicBezTo>
                <a:cubicBezTo>
                  <a:pt x="1957" y="2981"/>
                  <a:pt x="1933" y="2931"/>
                  <a:pt x="1903" y="2931"/>
                </a:cubicBezTo>
                <a:close/>
                <a:moveTo>
                  <a:pt x="1903" y="2604"/>
                </a:moveTo>
                <a:cubicBezTo>
                  <a:pt x="1873" y="2604"/>
                  <a:pt x="1849" y="2655"/>
                  <a:pt x="1849" y="2717"/>
                </a:cubicBezTo>
                <a:cubicBezTo>
                  <a:pt x="1849" y="2780"/>
                  <a:pt x="1873" y="2830"/>
                  <a:pt x="1903" y="2830"/>
                </a:cubicBezTo>
                <a:cubicBezTo>
                  <a:pt x="1933" y="2830"/>
                  <a:pt x="1957" y="2780"/>
                  <a:pt x="1957" y="2717"/>
                </a:cubicBezTo>
                <a:cubicBezTo>
                  <a:pt x="1957" y="2655"/>
                  <a:pt x="1933" y="2604"/>
                  <a:pt x="1903" y="2604"/>
                </a:cubicBezTo>
                <a:close/>
                <a:moveTo>
                  <a:pt x="1750" y="2931"/>
                </a:moveTo>
                <a:cubicBezTo>
                  <a:pt x="1721" y="2931"/>
                  <a:pt x="1697" y="2981"/>
                  <a:pt x="1697" y="3044"/>
                </a:cubicBezTo>
                <a:cubicBezTo>
                  <a:pt x="1697" y="3106"/>
                  <a:pt x="1721" y="3157"/>
                  <a:pt x="1750" y="3157"/>
                </a:cubicBezTo>
                <a:cubicBezTo>
                  <a:pt x="1780" y="3157"/>
                  <a:pt x="1804" y="3106"/>
                  <a:pt x="1804" y="3044"/>
                </a:cubicBezTo>
                <a:cubicBezTo>
                  <a:pt x="1804" y="2981"/>
                  <a:pt x="1780" y="2931"/>
                  <a:pt x="1750" y="2931"/>
                </a:cubicBezTo>
                <a:close/>
                <a:moveTo>
                  <a:pt x="1750" y="2604"/>
                </a:moveTo>
                <a:cubicBezTo>
                  <a:pt x="1721" y="2604"/>
                  <a:pt x="1697" y="2655"/>
                  <a:pt x="1697" y="2717"/>
                </a:cubicBezTo>
                <a:cubicBezTo>
                  <a:pt x="1697" y="2780"/>
                  <a:pt x="1721" y="2830"/>
                  <a:pt x="1750" y="2830"/>
                </a:cubicBezTo>
                <a:cubicBezTo>
                  <a:pt x="1780" y="2830"/>
                  <a:pt x="1804" y="2780"/>
                  <a:pt x="1804" y="2717"/>
                </a:cubicBezTo>
                <a:cubicBezTo>
                  <a:pt x="1804" y="2655"/>
                  <a:pt x="1780" y="2604"/>
                  <a:pt x="1750" y="2604"/>
                </a:cubicBezTo>
                <a:close/>
                <a:moveTo>
                  <a:pt x="2830" y="2931"/>
                </a:moveTo>
                <a:cubicBezTo>
                  <a:pt x="2801" y="2931"/>
                  <a:pt x="2776" y="2981"/>
                  <a:pt x="2776" y="3044"/>
                </a:cubicBezTo>
                <a:cubicBezTo>
                  <a:pt x="2776" y="3106"/>
                  <a:pt x="2801" y="3157"/>
                  <a:pt x="2830" y="3157"/>
                </a:cubicBezTo>
                <a:cubicBezTo>
                  <a:pt x="2860" y="3157"/>
                  <a:pt x="2884" y="3106"/>
                  <a:pt x="2884" y="3044"/>
                </a:cubicBezTo>
                <a:cubicBezTo>
                  <a:pt x="2884" y="2981"/>
                  <a:pt x="2860" y="2931"/>
                  <a:pt x="2830" y="2931"/>
                </a:cubicBezTo>
                <a:close/>
                <a:moveTo>
                  <a:pt x="2830" y="2604"/>
                </a:moveTo>
                <a:cubicBezTo>
                  <a:pt x="2801" y="2604"/>
                  <a:pt x="2776" y="2655"/>
                  <a:pt x="2776" y="2717"/>
                </a:cubicBezTo>
                <a:cubicBezTo>
                  <a:pt x="2776" y="2780"/>
                  <a:pt x="2801" y="2830"/>
                  <a:pt x="2830" y="2830"/>
                </a:cubicBezTo>
                <a:cubicBezTo>
                  <a:pt x="2860" y="2830"/>
                  <a:pt x="2884" y="2780"/>
                  <a:pt x="2884" y="2717"/>
                </a:cubicBezTo>
                <a:cubicBezTo>
                  <a:pt x="2884" y="2655"/>
                  <a:pt x="2860" y="2604"/>
                  <a:pt x="2830" y="2604"/>
                </a:cubicBezTo>
                <a:close/>
                <a:moveTo>
                  <a:pt x="2678" y="2931"/>
                </a:moveTo>
                <a:cubicBezTo>
                  <a:pt x="2648" y="2931"/>
                  <a:pt x="2624" y="2981"/>
                  <a:pt x="2624" y="3044"/>
                </a:cubicBezTo>
                <a:cubicBezTo>
                  <a:pt x="2624" y="3106"/>
                  <a:pt x="2648" y="3157"/>
                  <a:pt x="2678" y="3157"/>
                </a:cubicBezTo>
                <a:cubicBezTo>
                  <a:pt x="2707" y="3157"/>
                  <a:pt x="2731" y="3106"/>
                  <a:pt x="2731" y="3044"/>
                </a:cubicBezTo>
                <a:cubicBezTo>
                  <a:pt x="2731" y="2981"/>
                  <a:pt x="2707" y="2931"/>
                  <a:pt x="2678" y="2931"/>
                </a:cubicBezTo>
                <a:close/>
                <a:moveTo>
                  <a:pt x="2678" y="2604"/>
                </a:moveTo>
                <a:cubicBezTo>
                  <a:pt x="2648" y="2604"/>
                  <a:pt x="2624" y="2655"/>
                  <a:pt x="2624" y="2717"/>
                </a:cubicBezTo>
                <a:cubicBezTo>
                  <a:pt x="2624" y="2780"/>
                  <a:pt x="2648" y="2830"/>
                  <a:pt x="2678" y="2830"/>
                </a:cubicBezTo>
                <a:cubicBezTo>
                  <a:pt x="2707" y="2830"/>
                  <a:pt x="2731" y="2780"/>
                  <a:pt x="2731" y="2717"/>
                </a:cubicBezTo>
                <a:cubicBezTo>
                  <a:pt x="2731" y="2655"/>
                  <a:pt x="2707" y="2604"/>
                  <a:pt x="2678" y="2604"/>
                </a:cubicBezTo>
                <a:close/>
                <a:moveTo>
                  <a:pt x="2522" y="2931"/>
                </a:moveTo>
                <a:cubicBezTo>
                  <a:pt x="2493" y="2931"/>
                  <a:pt x="2469" y="2981"/>
                  <a:pt x="2469" y="3044"/>
                </a:cubicBezTo>
                <a:cubicBezTo>
                  <a:pt x="2469" y="3106"/>
                  <a:pt x="2493" y="3157"/>
                  <a:pt x="2522" y="3157"/>
                </a:cubicBezTo>
                <a:cubicBezTo>
                  <a:pt x="2552" y="3157"/>
                  <a:pt x="2576" y="3106"/>
                  <a:pt x="2576" y="3044"/>
                </a:cubicBezTo>
                <a:cubicBezTo>
                  <a:pt x="2576" y="2981"/>
                  <a:pt x="2552" y="2931"/>
                  <a:pt x="2522" y="2931"/>
                </a:cubicBezTo>
                <a:close/>
                <a:moveTo>
                  <a:pt x="2522" y="2604"/>
                </a:moveTo>
                <a:cubicBezTo>
                  <a:pt x="2493" y="2604"/>
                  <a:pt x="2469" y="2655"/>
                  <a:pt x="2469" y="2717"/>
                </a:cubicBezTo>
                <a:cubicBezTo>
                  <a:pt x="2469" y="2780"/>
                  <a:pt x="2493" y="2830"/>
                  <a:pt x="2522" y="2830"/>
                </a:cubicBezTo>
                <a:cubicBezTo>
                  <a:pt x="2552" y="2830"/>
                  <a:pt x="2576" y="2780"/>
                  <a:pt x="2576" y="2717"/>
                </a:cubicBezTo>
                <a:cubicBezTo>
                  <a:pt x="2576" y="2655"/>
                  <a:pt x="2552" y="2604"/>
                  <a:pt x="2522" y="2604"/>
                </a:cubicBezTo>
                <a:close/>
                <a:moveTo>
                  <a:pt x="2368" y="2931"/>
                </a:moveTo>
                <a:cubicBezTo>
                  <a:pt x="2339" y="2931"/>
                  <a:pt x="2315" y="2981"/>
                  <a:pt x="2315" y="3044"/>
                </a:cubicBezTo>
                <a:cubicBezTo>
                  <a:pt x="2315" y="3106"/>
                  <a:pt x="2339" y="3157"/>
                  <a:pt x="2368" y="3157"/>
                </a:cubicBezTo>
                <a:cubicBezTo>
                  <a:pt x="2398" y="3157"/>
                  <a:pt x="2422" y="3106"/>
                  <a:pt x="2422" y="3044"/>
                </a:cubicBezTo>
                <a:cubicBezTo>
                  <a:pt x="2422" y="2981"/>
                  <a:pt x="2398" y="2931"/>
                  <a:pt x="2368" y="2931"/>
                </a:cubicBezTo>
                <a:close/>
                <a:moveTo>
                  <a:pt x="2368" y="2604"/>
                </a:moveTo>
                <a:cubicBezTo>
                  <a:pt x="2339" y="2604"/>
                  <a:pt x="2315" y="2655"/>
                  <a:pt x="2315" y="2717"/>
                </a:cubicBezTo>
                <a:cubicBezTo>
                  <a:pt x="2315" y="2780"/>
                  <a:pt x="2339" y="2830"/>
                  <a:pt x="2368" y="2830"/>
                </a:cubicBezTo>
                <a:cubicBezTo>
                  <a:pt x="2398" y="2830"/>
                  <a:pt x="2422" y="2780"/>
                  <a:pt x="2422" y="2717"/>
                </a:cubicBezTo>
                <a:cubicBezTo>
                  <a:pt x="2422" y="2655"/>
                  <a:pt x="2398" y="2604"/>
                  <a:pt x="2368" y="2604"/>
                </a:cubicBezTo>
                <a:close/>
                <a:moveTo>
                  <a:pt x="2216" y="2931"/>
                </a:moveTo>
                <a:cubicBezTo>
                  <a:pt x="2186" y="2931"/>
                  <a:pt x="2162" y="2981"/>
                  <a:pt x="2162" y="3044"/>
                </a:cubicBezTo>
                <a:cubicBezTo>
                  <a:pt x="2162" y="3106"/>
                  <a:pt x="2186" y="3157"/>
                  <a:pt x="2216" y="3157"/>
                </a:cubicBezTo>
                <a:cubicBezTo>
                  <a:pt x="2245" y="3157"/>
                  <a:pt x="2269" y="3106"/>
                  <a:pt x="2269" y="3044"/>
                </a:cubicBezTo>
                <a:cubicBezTo>
                  <a:pt x="2269" y="2981"/>
                  <a:pt x="2245" y="2931"/>
                  <a:pt x="2216" y="2931"/>
                </a:cubicBezTo>
                <a:close/>
                <a:moveTo>
                  <a:pt x="2216" y="2604"/>
                </a:moveTo>
                <a:cubicBezTo>
                  <a:pt x="2186" y="2604"/>
                  <a:pt x="2162" y="2655"/>
                  <a:pt x="2162" y="2717"/>
                </a:cubicBezTo>
                <a:cubicBezTo>
                  <a:pt x="2162" y="2780"/>
                  <a:pt x="2186" y="2830"/>
                  <a:pt x="2216" y="2830"/>
                </a:cubicBezTo>
                <a:cubicBezTo>
                  <a:pt x="2245" y="2830"/>
                  <a:pt x="2269" y="2780"/>
                  <a:pt x="2269" y="2717"/>
                </a:cubicBezTo>
                <a:cubicBezTo>
                  <a:pt x="2269" y="2655"/>
                  <a:pt x="2245" y="2604"/>
                  <a:pt x="2216" y="2604"/>
                </a:cubicBezTo>
                <a:close/>
                <a:moveTo>
                  <a:pt x="3598" y="2931"/>
                </a:moveTo>
                <a:cubicBezTo>
                  <a:pt x="3569" y="2931"/>
                  <a:pt x="3545" y="2981"/>
                  <a:pt x="3545" y="3044"/>
                </a:cubicBezTo>
                <a:cubicBezTo>
                  <a:pt x="3545" y="3106"/>
                  <a:pt x="3569" y="3157"/>
                  <a:pt x="3598" y="3157"/>
                </a:cubicBezTo>
                <a:cubicBezTo>
                  <a:pt x="3628" y="3157"/>
                  <a:pt x="3652" y="3106"/>
                  <a:pt x="3652" y="3044"/>
                </a:cubicBezTo>
                <a:cubicBezTo>
                  <a:pt x="3652" y="2981"/>
                  <a:pt x="3628" y="2931"/>
                  <a:pt x="3598" y="2931"/>
                </a:cubicBezTo>
                <a:close/>
                <a:moveTo>
                  <a:pt x="3598" y="2604"/>
                </a:moveTo>
                <a:cubicBezTo>
                  <a:pt x="3569" y="2604"/>
                  <a:pt x="3545" y="2655"/>
                  <a:pt x="3545" y="2717"/>
                </a:cubicBezTo>
                <a:cubicBezTo>
                  <a:pt x="3545" y="2780"/>
                  <a:pt x="3569" y="2830"/>
                  <a:pt x="3598" y="2830"/>
                </a:cubicBezTo>
                <a:cubicBezTo>
                  <a:pt x="3628" y="2830"/>
                  <a:pt x="3652" y="2780"/>
                  <a:pt x="3652" y="2717"/>
                </a:cubicBezTo>
                <a:cubicBezTo>
                  <a:pt x="3652" y="2655"/>
                  <a:pt x="3628" y="2604"/>
                  <a:pt x="3598" y="2604"/>
                </a:cubicBezTo>
                <a:close/>
                <a:moveTo>
                  <a:pt x="3446" y="3157"/>
                </a:moveTo>
                <a:cubicBezTo>
                  <a:pt x="3475" y="3157"/>
                  <a:pt x="3500" y="3106"/>
                  <a:pt x="3500" y="3044"/>
                </a:cubicBezTo>
                <a:cubicBezTo>
                  <a:pt x="3500" y="2981"/>
                  <a:pt x="3475" y="2931"/>
                  <a:pt x="3446" y="2931"/>
                </a:cubicBezTo>
                <a:cubicBezTo>
                  <a:pt x="3416" y="2931"/>
                  <a:pt x="3392" y="2981"/>
                  <a:pt x="3392" y="3044"/>
                </a:cubicBezTo>
                <a:cubicBezTo>
                  <a:pt x="3392" y="3106"/>
                  <a:pt x="3416" y="3157"/>
                  <a:pt x="3446" y="3157"/>
                </a:cubicBezTo>
                <a:close/>
                <a:moveTo>
                  <a:pt x="3446" y="2830"/>
                </a:moveTo>
                <a:cubicBezTo>
                  <a:pt x="3475" y="2830"/>
                  <a:pt x="3500" y="2780"/>
                  <a:pt x="3500" y="2717"/>
                </a:cubicBezTo>
                <a:cubicBezTo>
                  <a:pt x="3500" y="2655"/>
                  <a:pt x="3475" y="2604"/>
                  <a:pt x="3446" y="2604"/>
                </a:cubicBezTo>
                <a:cubicBezTo>
                  <a:pt x="3416" y="2604"/>
                  <a:pt x="3392" y="2655"/>
                  <a:pt x="3392" y="2717"/>
                </a:cubicBezTo>
                <a:cubicBezTo>
                  <a:pt x="3392" y="2780"/>
                  <a:pt x="3416" y="2830"/>
                  <a:pt x="3446" y="2830"/>
                </a:cubicBezTo>
                <a:close/>
                <a:moveTo>
                  <a:pt x="3290" y="3157"/>
                </a:moveTo>
                <a:cubicBezTo>
                  <a:pt x="3320" y="3157"/>
                  <a:pt x="3344" y="3106"/>
                  <a:pt x="3344" y="3044"/>
                </a:cubicBezTo>
                <a:cubicBezTo>
                  <a:pt x="3344" y="2981"/>
                  <a:pt x="3320" y="2931"/>
                  <a:pt x="3290" y="2931"/>
                </a:cubicBezTo>
                <a:cubicBezTo>
                  <a:pt x="3261" y="2931"/>
                  <a:pt x="3237" y="2981"/>
                  <a:pt x="3237" y="3044"/>
                </a:cubicBezTo>
                <a:cubicBezTo>
                  <a:pt x="3237" y="3106"/>
                  <a:pt x="3261" y="3157"/>
                  <a:pt x="3290" y="3157"/>
                </a:cubicBezTo>
                <a:close/>
                <a:moveTo>
                  <a:pt x="3290" y="2830"/>
                </a:moveTo>
                <a:cubicBezTo>
                  <a:pt x="3320" y="2830"/>
                  <a:pt x="3344" y="2780"/>
                  <a:pt x="3344" y="2717"/>
                </a:cubicBezTo>
                <a:cubicBezTo>
                  <a:pt x="3344" y="2655"/>
                  <a:pt x="3320" y="2604"/>
                  <a:pt x="3290" y="2604"/>
                </a:cubicBezTo>
                <a:cubicBezTo>
                  <a:pt x="3261" y="2604"/>
                  <a:pt x="3237" y="2655"/>
                  <a:pt x="3237" y="2717"/>
                </a:cubicBezTo>
                <a:cubicBezTo>
                  <a:pt x="3237" y="2780"/>
                  <a:pt x="3261" y="2830"/>
                  <a:pt x="3290" y="2830"/>
                </a:cubicBezTo>
                <a:close/>
                <a:moveTo>
                  <a:pt x="3136" y="2931"/>
                </a:moveTo>
                <a:cubicBezTo>
                  <a:pt x="3107" y="2931"/>
                  <a:pt x="3083" y="2981"/>
                  <a:pt x="3083" y="3044"/>
                </a:cubicBezTo>
                <a:cubicBezTo>
                  <a:pt x="3083" y="3106"/>
                  <a:pt x="3107" y="3157"/>
                  <a:pt x="3136" y="3157"/>
                </a:cubicBezTo>
                <a:cubicBezTo>
                  <a:pt x="3166" y="3157"/>
                  <a:pt x="3190" y="3106"/>
                  <a:pt x="3190" y="3044"/>
                </a:cubicBezTo>
                <a:cubicBezTo>
                  <a:pt x="3190" y="2981"/>
                  <a:pt x="3166" y="2931"/>
                  <a:pt x="3136" y="2931"/>
                </a:cubicBezTo>
                <a:close/>
                <a:moveTo>
                  <a:pt x="3136" y="2604"/>
                </a:moveTo>
                <a:cubicBezTo>
                  <a:pt x="3107" y="2604"/>
                  <a:pt x="3083" y="2655"/>
                  <a:pt x="3083" y="2717"/>
                </a:cubicBezTo>
                <a:cubicBezTo>
                  <a:pt x="3083" y="2780"/>
                  <a:pt x="3107" y="2830"/>
                  <a:pt x="3136" y="2830"/>
                </a:cubicBezTo>
                <a:cubicBezTo>
                  <a:pt x="3166" y="2830"/>
                  <a:pt x="3190" y="2780"/>
                  <a:pt x="3190" y="2717"/>
                </a:cubicBezTo>
                <a:cubicBezTo>
                  <a:pt x="3190" y="2655"/>
                  <a:pt x="3166" y="2604"/>
                  <a:pt x="3136" y="2604"/>
                </a:cubicBezTo>
                <a:close/>
                <a:moveTo>
                  <a:pt x="2984" y="2931"/>
                </a:moveTo>
                <a:cubicBezTo>
                  <a:pt x="2954" y="2931"/>
                  <a:pt x="2930" y="2981"/>
                  <a:pt x="2930" y="3044"/>
                </a:cubicBezTo>
                <a:cubicBezTo>
                  <a:pt x="2930" y="3106"/>
                  <a:pt x="2954" y="3157"/>
                  <a:pt x="2984" y="3157"/>
                </a:cubicBezTo>
                <a:cubicBezTo>
                  <a:pt x="3014" y="3157"/>
                  <a:pt x="3038" y="3106"/>
                  <a:pt x="3038" y="3044"/>
                </a:cubicBezTo>
                <a:cubicBezTo>
                  <a:pt x="3038" y="2981"/>
                  <a:pt x="3014" y="2931"/>
                  <a:pt x="2984" y="2931"/>
                </a:cubicBezTo>
                <a:close/>
                <a:moveTo>
                  <a:pt x="2984" y="2604"/>
                </a:moveTo>
                <a:cubicBezTo>
                  <a:pt x="2954" y="2604"/>
                  <a:pt x="2930" y="2655"/>
                  <a:pt x="2930" y="2717"/>
                </a:cubicBezTo>
                <a:cubicBezTo>
                  <a:pt x="2930" y="2780"/>
                  <a:pt x="2954" y="2830"/>
                  <a:pt x="2984" y="2830"/>
                </a:cubicBezTo>
                <a:cubicBezTo>
                  <a:pt x="3014" y="2830"/>
                  <a:pt x="3038" y="2780"/>
                  <a:pt x="3038" y="2717"/>
                </a:cubicBezTo>
                <a:cubicBezTo>
                  <a:pt x="3038" y="2655"/>
                  <a:pt x="3014" y="2604"/>
                  <a:pt x="2984" y="2604"/>
                </a:cubicBezTo>
                <a:close/>
                <a:moveTo>
                  <a:pt x="1445" y="3569"/>
                </a:moveTo>
                <a:cubicBezTo>
                  <a:pt x="1415" y="3569"/>
                  <a:pt x="1391" y="3619"/>
                  <a:pt x="1391" y="3682"/>
                </a:cubicBezTo>
                <a:cubicBezTo>
                  <a:pt x="1391" y="3744"/>
                  <a:pt x="1415" y="3795"/>
                  <a:pt x="1445" y="3795"/>
                </a:cubicBezTo>
                <a:cubicBezTo>
                  <a:pt x="1474" y="3795"/>
                  <a:pt x="1498" y="3744"/>
                  <a:pt x="1498" y="3682"/>
                </a:cubicBezTo>
                <a:cubicBezTo>
                  <a:pt x="1498" y="3619"/>
                  <a:pt x="1474" y="3569"/>
                  <a:pt x="1445" y="3569"/>
                </a:cubicBezTo>
                <a:close/>
                <a:moveTo>
                  <a:pt x="1445" y="3242"/>
                </a:moveTo>
                <a:cubicBezTo>
                  <a:pt x="1415" y="3242"/>
                  <a:pt x="1391" y="3292"/>
                  <a:pt x="1391" y="3355"/>
                </a:cubicBezTo>
                <a:cubicBezTo>
                  <a:pt x="1391" y="3417"/>
                  <a:pt x="1415" y="3468"/>
                  <a:pt x="1445" y="3468"/>
                </a:cubicBezTo>
                <a:cubicBezTo>
                  <a:pt x="1474" y="3468"/>
                  <a:pt x="1498" y="3417"/>
                  <a:pt x="1498" y="3355"/>
                </a:cubicBezTo>
                <a:cubicBezTo>
                  <a:pt x="1498" y="3292"/>
                  <a:pt x="1474" y="3242"/>
                  <a:pt x="1445" y="3242"/>
                </a:cubicBezTo>
                <a:close/>
                <a:moveTo>
                  <a:pt x="1597" y="3569"/>
                </a:moveTo>
                <a:cubicBezTo>
                  <a:pt x="1567" y="3569"/>
                  <a:pt x="1543" y="3619"/>
                  <a:pt x="1543" y="3682"/>
                </a:cubicBezTo>
                <a:cubicBezTo>
                  <a:pt x="1543" y="3744"/>
                  <a:pt x="1567" y="3795"/>
                  <a:pt x="1597" y="3795"/>
                </a:cubicBezTo>
                <a:cubicBezTo>
                  <a:pt x="1627" y="3795"/>
                  <a:pt x="1651" y="3744"/>
                  <a:pt x="1651" y="3682"/>
                </a:cubicBezTo>
                <a:cubicBezTo>
                  <a:pt x="1651" y="3619"/>
                  <a:pt x="1627" y="3569"/>
                  <a:pt x="1597" y="3569"/>
                </a:cubicBezTo>
                <a:close/>
                <a:moveTo>
                  <a:pt x="1597" y="3242"/>
                </a:moveTo>
                <a:cubicBezTo>
                  <a:pt x="1567" y="3242"/>
                  <a:pt x="1543" y="3292"/>
                  <a:pt x="1543" y="3355"/>
                </a:cubicBezTo>
                <a:cubicBezTo>
                  <a:pt x="1543" y="3417"/>
                  <a:pt x="1567" y="3468"/>
                  <a:pt x="1597" y="3468"/>
                </a:cubicBezTo>
                <a:cubicBezTo>
                  <a:pt x="1627" y="3468"/>
                  <a:pt x="1651" y="3417"/>
                  <a:pt x="1651" y="3355"/>
                </a:cubicBezTo>
                <a:cubicBezTo>
                  <a:pt x="1651" y="3292"/>
                  <a:pt x="1627" y="3242"/>
                  <a:pt x="1597" y="3242"/>
                </a:cubicBezTo>
                <a:close/>
                <a:moveTo>
                  <a:pt x="2057" y="3569"/>
                </a:moveTo>
                <a:cubicBezTo>
                  <a:pt x="2027" y="3569"/>
                  <a:pt x="2003" y="3619"/>
                  <a:pt x="2003" y="3682"/>
                </a:cubicBezTo>
                <a:cubicBezTo>
                  <a:pt x="2003" y="3744"/>
                  <a:pt x="2027" y="3795"/>
                  <a:pt x="2057" y="3795"/>
                </a:cubicBezTo>
                <a:cubicBezTo>
                  <a:pt x="2087" y="3795"/>
                  <a:pt x="2111" y="3744"/>
                  <a:pt x="2111" y="3682"/>
                </a:cubicBezTo>
                <a:cubicBezTo>
                  <a:pt x="2111" y="3619"/>
                  <a:pt x="2087" y="3569"/>
                  <a:pt x="2057" y="3569"/>
                </a:cubicBezTo>
                <a:close/>
                <a:moveTo>
                  <a:pt x="2057" y="3242"/>
                </a:moveTo>
                <a:cubicBezTo>
                  <a:pt x="2027" y="3242"/>
                  <a:pt x="2003" y="3292"/>
                  <a:pt x="2003" y="3355"/>
                </a:cubicBezTo>
                <a:cubicBezTo>
                  <a:pt x="2003" y="3417"/>
                  <a:pt x="2027" y="3468"/>
                  <a:pt x="2057" y="3468"/>
                </a:cubicBezTo>
                <a:cubicBezTo>
                  <a:pt x="2087" y="3468"/>
                  <a:pt x="2111" y="3417"/>
                  <a:pt x="2111" y="3355"/>
                </a:cubicBezTo>
                <a:cubicBezTo>
                  <a:pt x="2111" y="3292"/>
                  <a:pt x="2087" y="3242"/>
                  <a:pt x="2057" y="3242"/>
                </a:cubicBezTo>
                <a:close/>
                <a:moveTo>
                  <a:pt x="1903" y="3569"/>
                </a:moveTo>
                <a:cubicBezTo>
                  <a:pt x="1873" y="3569"/>
                  <a:pt x="1849" y="3619"/>
                  <a:pt x="1849" y="3682"/>
                </a:cubicBezTo>
                <a:cubicBezTo>
                  <a:pt x="1849" y="3744"/>
                  <a:pt x="1873" y="3795"/>
                  <a:pt x="1903" y="3795"/>
                </a:cubicBezTo>
                <a:cubicBezTo>
                  <a:pt x="1933" y="3795"/>
                  <a:pt x="1957" y="3744"/>
                  <a:pt x="1957" y="3682"/>
                </a:cubicBezTo>
                <a:cubicBezTo>
                  <a:pt x="1957" y="3619"/>
                  <a:pt x="1933" y="3569"/>
                  <a:pt x="1903" y="3569"/>
                </a:cubicBezTo>
                <a:close/>
                <a:moveTo>
                  <a:pt x="1903" y="3242"/>
                </a:moveTo>
                <a:cubicBezTo>
                  <a:pt x="1873" y="3242"/>
                  <a:pt x="1849" y="3292"/>
                  <a:pt x="1849" y="3355"/>
                </a:cubicBezTo>
                <a:cubicBezTo>
                  <a:pt x="1849" y="3417"/>
                  <a:pt x="1873" y="3468"/>
                  <a:pt x="1903" y="3468"/>
                </a:cubicBezTo>
                <a:cubicBezTo>
                  <a:pt x="1933" y="3468"/>
                  <a:pt x="1957" y="3417"/>
                  <a:pt x="1957" y="3355"/>
                </a:cubicBezTo>
                <a:cubicBezTo>
                  <a:pt x="1957" y="3292"/>
                  <a:pt x="1933" y="3242"/>
                  <a:pt x="1903" y="3242"/>
                </a:cubicBezTo>
                <a:close/>
                <a:moveTo>
                  <a:pt x="1750" y="3569"/>
                </a:moveTo>
                <a:cubicBezTo>
                  <a:pt x="1721" y="3569"/>
                  <a:pt x="1697" y="3619"/>
                  <a:pt x="1697" y="3682"/>
                </a:cubicBezTo>
                <a:cubicBezTo>
                  <a:pt x="1697" y="3744"/>
                  <a:pt x="1721" y="3795"/>
                  <a:pt x="1750" y="3795"/>
                </a:cubicBezTo>
                <a:cubicBezTo>
                  <a:pt x="1780" y="3795"/>
                  <a:pt x="1804" y="3744"/>
                  <a:pt x="1804" y="3682"/>
                </a:cubicBezTo>
                <a:cubicBezTo>
                  <a:pt x="1804" y="3619"/>
                  <a:pt x="1780" y="3569"/>
                  <a:pt x="1750" y="3569"/>
                </a:cubicBezTo>
                <a:close/>
                <a:moveTo>
                  <a:pt x="1750" y="3242"/>
                </a:moveTo>
                <a:cubicBezTo>
                  <a:pt x="1721" y="3242"/>
                  <a:pt x="1697" y="3292"/>
                  <a:pt x="1697" y="3355"/>
                </a:cubicBezTo>
                <a:cubicBezTo>
                  <a:pt x="1697" y="3417"/>
                  <a:pt x="1721" y="3468"/>
                  <a:pt x="1750" y="3468"/>
                </a:cubicBezTo>
                <a:cubicBezTo>
                  <a:pt x="1780" y="3468"/>
                  <a:pt x="1804" y="3417"/>
                  <a:pt x="1804" y="3355"/>
                </a:cubicBezTo>
                <a:cubicBezTo>
                  <a:pt x="1804" y="3292"/>
                  <a:pt x="1780" y="3242"/>
                  <a:pt x="1750" y="3242"/>
                </a:cubicBezTo>
                <a:close/>
                <a:moveTo>
                  <a:pt x="2830" y="3569"/>
                </a:moveTo>
                <a:cubicBezTo>
                  <a:pt x="2801" y="3569"/>
                  <a:pt x="2776" y="3619"/>
                  <a:pt x="2776" y="3682"/>
                </a:cubicBezTo>
                <a:cubicBezTo>
                  <a:pt x="2776" y="3744"/>
                  <a:pt x="2801" y="3795"/>
                  <a:pt x="2830" y="3795"/>
                </a:cubicBezTo>
                <a:cubicBezTo>
                  <a:pt x="2860" y="3795"/>
                  <a:pt x="2884" y="3744"/>
                  <a:pt x="2884" y="3682"/>
                </a:cubicBezTo>
                <a:cubicBezTo>
                  <a:pt x="2884" y="3619"/>
                  <a:pt x="2860" y="3569"/>
                  <a:pt x="2830" y="3569"/>
                </a:cubicBezTo>
                <a:close/>
                <a:moveTo>
                  <a:pt x="2830" y="3242"/>
                </a:moveTo>
                <a:cubicBezTo>
                  <a:pt x="2801" y="3242"/>
                  <a:pt x="2776" y="3292"/>
                  <a:pt x="2776" y="3355"/>
                </a:cubicBezTo>
                <a:cubicBezTo>
                  <a:pt x="2776" y="3417"/>
                  <a:pt x="2801" y="3468"/>
                  <a:pt x="2830" y="3468"/>
                </a:cubicBezTo>
                <a:cubicBezTo>
                  <a:pt x="2860" y="3468"/>
                  <a:pt x="2884" y="3417"/>
                  <a:pt x="2884" y="3355"/>
                </a:cubicBezTo>
                <a:cubicBezTo>
                  <a:pt x="2884" y="3292"/>
                  <a:pt x="2860" y="3242"/>
                  <a:pt x="2830" y="3242"/>
                </a:cubicBezTo>
                <a:close/>
                <a:moveTo>
                  <a:pt x="2678" y="3569"/>
                </a:moveTo>
                <a:cubicBezTo>
                  <a:pt x="2648" y="3569"/>
                  <a:pt x="2624" y="3619"/>
                  <a:pt x="2624" y="3682"/>
                </a:cubicBezTo>
                <a:cubicBezTo>
                  <a:pt x="2624" y="3744"/>
                  <a:pt x="2648" y="3795"/>
                  <a:pt x="2678" y="3795"/>
                </a:cubicBezTo>
                <a:cubicBezTo>
                  <a:pt x="2707" y="3795"/>
                  <a:pt x="2731" y="3744"/>
                  <a:pt x="2731" y="3682"/>
                </a:cubicBezTo>
                <a:cubicBezTo>
                  <a:pt x="2731" y="3619"/>
                  <a:pt x="2707" y="3569"/>
                  <a:pt x="2678" y="3569"/>
                </a:cubicBezTo>
                <a:close/>
                <a:moveTo>
                  <a:pt x="2678" y="3242"/>
                </a:moveTo>
                <a:cubicBezTo>
                  <a:pt x="2648" y="3242"/>
                  <a:pt x="2624" y="3292"/>
                  <a:pt x="2624" y="3355"/>
                </a:cubicBezTo>
                <a:cubicBezTo>
                  <a:pt x="2624" y="3417"/>
                  <a:pt x="2648" y="3468"/>
                  <a:pt x="2678" y="3468"/>
                </a:cubicBezTo>
                <a:cubicBezTo>
                  <a:pt x="2707" y="3468"/>
                  <a:pt x="2731" y="3417"/>
                  <a:pt x="2731" y="3355"/>
                </a:cubicBezTo>
                <a:cubicBezTo>
                  <a:pt x="2731" y="3292"/>
                  <a:pt x="2707" y="3242"/>
                  <a:pt x="2678" y="3242"/>
                </a:cubicBezTo>
                <a:close/>
                <a:moveTo>
                  <a:pt x="2522" y="3569"/>
                </a:moveTo>
                <a:cubicBezTo>
                  <a:pt x="2493" y="3569"/>
                  <a:pt x="2469" y="3619"/>
                  <a:pt x="2469" y="3682"/>
                </a:cubicBezTo>
                <a:cubicBezTo>
                  <a:pt x="2469" y="3744"/>
                  <a:pt x="2493" y="3795"/>
                  <a:pt x="2522" y="3795"/>
                </a:cubicBezTo>
                <a:cubicBezTo>
                  <a:pt x="2552" y="3795"/>
                  <a:pt x="2576" y="3744"/>
                  <a:pt x="2576" y="3682"/>
                </a:cubicBezTo>
                <a:cubicBezTo>
                  <a:pt x="2576" y="3619"/>
                  <a:pt x="2552" y="3569"/>
                  <a:pt x="2522" y="3569"/>
                </a:cubicBezTo>
                <a:close/>
                <a:moveTo>
                  <a:pt x="2522" y="3242"/>
                </a:moveTo>
                <a:cubicBezTo>
                  <a:pt x="2493" y="3242"/>
                  <a:pt x="2469" y="3292"/>
                  <a:pt x="2469" y="3355"/>
                </a:cubicBezTo>
                <a:cubicBezTo>
                  <a:pt x="2469" y="3417"/>
                  <a:pt x="2493" y="3468"/>
                  <a:pt x="2522" y="3468"/>
                </a:cubicBezTo>
                <a:cubicBezTo>
                  <a:pt x="2552" y="3468"/>
                  <a:pt x="2576" y="3417"/>
                  <a:pt x="2576" y="3355"/>
                </a:cubicBezTo>
                <a:cubicBezTo>
                  <a:pt x="2576" y="3292"/>
                  <a:pt x="2552" y="3242"/>
                  <a:pt x="2522" y="3242"/>
                </a:cubicBezTo>
                <a:close/>
                <a:moveTo>
                  <a:pt x="2368" y="3569"/>
                </a:moveTo>
                <a:cubicBezTo>
                  <a:pt x="2339" y="3569"/>
                  <a:pt x="2315" y="3619"/>
                  <a:pt x="2315" y="3682"/>
                </a:cubicBezTo>
                <a:cubicBezTo>
                  <a:pt x="2315" y="3744"/>
                  <a:pt x="2339" y="3795"/>
                  <a:pt x="2368" y="3795"/>
                </a:cubicBezTo>
                <a:cubicBezTo>
                  <a:pt x="2398" y="3795"/>
                  <a:pt x="2422" y="3744"/>
                  <a:pt x="2422" y="3682"/>
                </a:cubicBezTo>
                <a:cubicBezTo>
                  <a:pt x="2422" y="3619"/>
                  <a:pt x="2398" y="3569"/>
                  <a:pt x="2368" y="3569"/>
                </a:cubicBezTo>
                <a:close/>
                <a:moveTo>
                  <a:pt x="2368" y="3242"/>
                </a:moveTo>
                <a:cubicBezTo>
                  <a:pt x="2339" y="3242"/>
                  <a:pt x="2315" y="3292"/>
                  <a:pt x="2315" y="3355"/>
                </a:cubicBezTo>
                <a:cubicBezTo>
                  <a:pt x="2315" y="3417"/>
                  <a:pt x="2339" y="3468"/>
                  <a:pt x="2368" y="3468"/>
                </a:cubicBezTo>
                <a:cubicBezTo>
                  <a:pt x="2398" y="3468"/>
                  <a:pt x="2422" y="3417"/>
                  <a:pt x="2422" y="3355"/>
                </a:cubicBezTo>
                <a:cubicBezTo>
                  <a:pt x="2422" y="3292"/>
                  <a:pt x="2398" y="3242"/>
                  <a:pt x="2368" y="3242"/>
                </a:cubicBezTo>
                <a:close/>
                <a:moveTo>
                  <a:pt x="2216" y="3569"/>
                </a:moveTo>
                <a:cubicBezTo>
                  <a:pt x="2186" y="3569"/>
                  <a:pt x="2162" y="3619"/>
                  <a:pt x="2162" y="3682"/>
                </a:cubicBezTo>
                <a:cubicBezTo>
                  <a:pt x="2162" y="3744"/>
                  <a:pt x="2186" y="3795"/>
                  <a:pt x="2216" y="3795"/>
                </a:cubicBezTo>
                <a:cubicBezTo>
                  <a:pt x="2245" y="3795"/>
                  <a:pt x="2269" y="3744"/>
                  <a:pt x="2269" y="3682"/>
                </a:cubicBezTo>
                <a:cubicBezTo>
                  <a:pt x="2269" y="3619"/>
                  <a:pt x="2245" y="3569"/>
                  <a:pt x="2216" y="3569"/>
                </a:cubicBezTo>
                <a:close/>
                <a:moveTo>
                  <a:pt x="2216" y="3242"/>
                </a:moveTo>
                <a:cubicBezTo>
                  <a:pt x="2186" y="3242"/>
                  <a:pt x="2162" y="3292"/>
                  <a:pt x="2162" y="3355"/>
                </a:cubicBezTo>
                <a:cubicBezTo>
                  <a:pt x="2162" y="3417"/>
                  <a:pt x="2186" y="3468"/>
                  <a:pt x="2216" y="3468"/>
                </a:cubicBezTo>
                <a:cubicBezTo>
                  <a:pt x="2245" y="3468"/>
                  <a:pt x="2269" y="3417"/>
                  <a:pt x="2269" y="3355"/>
                </a:cubicBezTo>
                <a:cubicBezTo>
                  <a:pt x="2269" y="3292"/>
                  <a:pt x="2245" y="3242"/>
                  <a:pt x="2216" y="3242"/>
                </a:cubicBezTo>
                <a:close/>
                <a:moveTo>
                  <a:pt x="3598" y="3569"/>
                </a:moveTo>
                <a:cubicBezTo>
                  <a:pt x="3569" y="3569"/>
                  <a:pt x="3545" y="3619"/>
                  <a:pt x="3545" y="3682"/>
                </a:cubicBezTo>
                <a:cubicBezTo>
                  <a:pt x="3545" y="3744"/>
                  <a:pt x="3569" y="3795"/>
                  <a:pt x="3598" y="3795"/>
                </a:cubicBezTo>
                <a:cubicBezTo>
                  <a:pt x="3628" y="3795"/>
                  <a:pt x="3652" y="3744"/>
                  <a:pt x="3652" y="3682"/>
                </a:cubicBezTo>
                <a:cubicBezTo>
                  <a:pt x="3652" y="3619"/>
                  <a:pt x="3628" y="3569"/>
                  <a:pt x="3598" y="3569"/>
                </a:cubicBezTo>
                <a:close/>
                <a:moveTo>
                  <a:pt x="3598" y="3242"/>
                </a:moveTo>
                <a:cubicBezTo>
                  <a:pt x="3569" y="3242"/>
                  <a:pt x="3545" y="3292"/>
                  <a:pt x="3545" y="3355"/>
                </a:cubicBezTo>
                <a:cubicBezTo>
                  <a:pt x="3545" y="3417"/>
                  <a:pt x="3569" y="3468"/>
                  <a:pt x="3598" y="3468"/>
                </a:cubicBezTo>
                <a:cubicBezTo>
                  <a:pt x="3628" y="3468"/>
                  <a:pt x="3652" y="3417"/>
                  <a:pt x="3652" y="3355"/>
                </a:cubicBezTo>
                <a:cubicBezTo>
                  <a:pt x="3652" y="3292"/>
                  <a:pt x="3628" y="3242"/>
                  <a:pt x="3598" y="3242"/>
                </a:cubicBezTo>
                <a:close/>
                <a:moveTo>
                  <a:pt x="3446" y="3795"/>
                </a:moveTo>
                <a:cubicBezTo>
                  <a:pt x="3475" y="3795"/>
                  <a:pt x="3500" y="3744"/>
                  <a:pt x="3500" y="3682"/>
                </a:cubicBezTo>
                <a:cubicBezTo>
                  <a:pt x="3500" y="3619"/>
                  <a:pt x="3475" y="3569"/>
                  <a:pt x="3446" y="3569"/>
                </a:cubicBezTo>
                <a:cubicBezTo>
                  <a:pt x="3416" y="3569"/>
                  <a:pt x="3392" y="3619"/>
                  <a:pt x="3392" y="3682"/>
                </a:cubicBezTo>
                <a:cubicBezTo>
                  <a:pt x="3392" y="3744"/>
                  <a:pt x="3416" y="3795"/>
                  <a:pt x="3446" y="3795"/>
                </a:cubicBezTo>
                <a:close/>
                <a:moveTo>
                  <a:pt x="3446" y="3468"/>
                </a:moveTo>
                <a:cubicBezTo>
                  <a:pt x="3475" y="3468"/>
                  <a:pt x="3500" y="3417"/>
                  <a:pt x="3500" y="3355"/>
                </a:cubicBezTo>
                <a:cubicBezTo>
                  <a:pt x="3500" y="3292"/>
                  <a:pt x="3475" y="3242"/>
                  <a:pt x="3446" y="3242"/>
                </a:cubicBezTo>
                <a:cubicBezTo>
                  <a:pt x="3416" y="3242"/>
                  <a:pt x="3392" y="3292"/>
                  <a:pt x="3392" y="3355"/>
                </a:cubicBezTo>
                <a:cubicBezTo>
                  <a:pt x="3392" y="3417"/>
                  <a:pt x="3416" y="3468"/>
                  <a:pt x="3446" y="3468"/>
                </a:cubicBezTo>
                <a:close/>
                <a:moveTo>
                  <a:pt x="3290" y="3795"/>
                </a:moveTo>
                <a:cubicBezTo>
                  <a:pt x="3320" y="3795"/>
                  <a:pt x="3344" y="3744"/>
                  <a:pt x="3344" y="3682"/>
                </a:cubicBezTo>
                <a:cubicBezTo>
                  <a:pt x="3344" y="3619"/>
                  <a:pt x="3320" y="3569"/>
                  <a:pt x="3290" y="3569"/>
                </a:cubicBezTo>
                <a:cubicBezTo>
                  <a:pt x="3261" y="3569"/>
                  <a:pt x="3237" y="3619"/>
                  <a:pt x="3237" y="3682"/>
                </a:cubicBezTo>
                <a:cubicBezTo>
                  <a:pt x="3237" y="3744"/>
                  <a:pt x="3261" y="3795"/>
                  <a:pt x="3290" y="3795"/>
                </a:cubicBezTo>
                <a:close/>
                <a:moveTo>
                  <a:pt x="3290" y="3468"/>
                </a:moveTo>
                <a:cubicBezTo>
                  <a:pt x="3320" y="3468"/>
                  <a:pt x="3344" y="3417"/>
                  <a:pt x="3344" y="3355"/>
                </a:cubicBezTo>
                <a:cubicBezTo>
                  <a:pt x="3344" y="3292"/>
                  <a:pt x="3320" y="3242"/>
                  <a:pt x="3290" y="3242"/>
                </a:cubicBezTo>
                <a:cubicBezTo>
                  <a:pt x="3261" y="3242"/>
                  <a:pt x="3237" y="3292"/>
                  <a:pt x="3237" y="3355"/>
                </a:cubicBezTo>
                <a:cubicBezTo>
                  <a:pt x="3237" y="3417"/>
                  <a:pt x="3261" y="3468"/>
                  <a:pt x="3290" y="3468"/>
                </a:cubicBezTo>
                <a:close/>
                <a:moveTo>
                  <a:pt x="3136" y="3569"/>
                </a:moveTo>
                <a:cubicBezTo>
                  <a:pt x="3107" y="3569"/>
                  <a:pt x="3083" y="3619"/>
                  <a:pt x="3083" y="3682"/>
                </a:cubicBezTo>
                <a:cubicBezTo>
                  <a:pt x="3083" y="3744"/>
                  <a:pt x="3107" y="3795"/>
                  <a:pt x="3136" y="3795"/>
                </a:cubicBezTo>
                <a:cubicBezTo>
                  <a:pt x="3166" y="3795"/>
                  <a:pt x="3190" y="3744"/>
                  <a:pt x="3190" y="3682"/>
                </a:cubicBezTo>
                <a:cubicBezTo>
                  <a:pt x="3190" y="3619"/>
                  <a:pt x="3166" y="3569"/>
                  <a:pt x="3136" y="3569"/>
                </a:cubicBezTo>
                <a:close/>
                <a:moveTo>
                  <a:pt x="3136" y="3242"/>
                </a:moveTo>
                <a:cubicBezTo>
                  <a:pt x="3107" y="3242"/>
                  <a:pt x="3083" y="3292"/>
                  <a:pt x="3083" y="3355"/>
                </a:cubicBezTo>
                <a:cubicBezTo>
                  <a:pt x="3083" y="3417"/>
                  <a:pt x="3107" y="3468"/>
                  <a:pt x="3136" y="3468"/>
                </a:cubicBezTo>
                <a:cubicBezTo>
                  <a:pt x="3166" y="3468"/>
                  <a:pt x="3190" y="3417"/>
                  <a:pt x="3190" y="3355"/>
                </a:cubicBezTo>
                <a:cubicBezTo>
                  <a:pt x="3190" y="3292"/>
                  <a:pt x="3166" y="3242"/>
                  <a:pt x="3136" y="3242"/>
                </a:cubicBezTo>
                <a:close/>
                <a:moveTo>
                  <a:pt x="2984" y="3569"/>
                </a:moveTo>
                <a:cubicBezTo>
                  <a:pt x="2954" y="3569"/>
                  <a:pt x="2930" y="3619"/>
                  <a:pt x="2930" y="3682"/>
                </a:cubicBezTo>
                <a:cubicBezTo>
                  <a:pt x="2930" y="3744"/>
                  <a:pt x="2954" y="3795"/>
                  <a:pt x="2984" y="3795"/>
                </a:cubicBezTo>
                <a:cubicBezTo>
                  <a:pt x="3014" y="3795"/>
                  <a:pt x="3038" y="3744"/>
                  <a:pt x="3038" y="3682"/>
                </a:cubicBezTo>
                <a:cubicBezTo>
                  <a:pt x="3038" y="3619"/>
                  <a:pt x="3014" y="3569"/>
                  <a:pt x="2984" y="3569"/>
                </a:cubicBezTo>
                <a:close/>
                <a:moveTo>
                  <a:pt x="2984" y="3242"/>
                </a:moveTo>
                <a:cubicBezTo>
                  <a:pt x="2954" y="3242"/>
                  <a:pt x="2930" y="3292"/>
                  <a:pt x="2930" y="3355"/>
                </a:cubicBezTo>
                <a:cubicBezTo>
                  <a:pt x="2930" y="3417"/>
                  <a:pt x="2954" y="3468"/>
                  <a:pt x="2984" y="3468"/>
                </a:cubicBezTo>
                <a:cubicBezTo>
                  <a:pt x="3014" y="3468"/>
                  <a:pt x="3038" y="3417"/>
                  <a:pt x="3038" y="3355"/>
                </a:cubicBezTo>
                <a:cubicBezTo>
                  <a:pt x="3038" y="3292"/>
                  <a:pt x="3014" y="3242"/>
                  <a:pt x="2984" y="3242"/>
                </a:cubicBezTo>
                <a:close/>
                <a:moveTo>
                  <a:pt x="1597" y="4194"/>
                </a:moveTo>
                <a:cubicBezTo>
                  <a:pt x="1567" y="4194"/>
                  <a:pt x="1543" y="4244"/>
                  <a:pt x="1543" y="4307"/>
                </a:cubicBezTo>
                <a:cubicBezTo>
                  <a:pt x="1543" y="4369"/>
                  <a:pt x="1567" y="4420"/>
                  <a:pt x="1597" y="4420"/>
                </a:cubicBezTo>
                <a:cubicBezTo>
                  <a:pt x="1627" y="4420"/>
                  <a:pt x="1651" y="4369"/>
                  <a:pt x="1651" y="4307"/>
                </a:cubicBezTo>
                <a:cubicBezTo>
                  <a:pt x="1651" y="4244"/>
                  <a:pt x="1627" y="4194"/>
                  <a:pt x="1597" y="4194"/>
                </a:cubicBezTo>
                <a:close/>
                <a:moveTo>
                  <a:pt x="1597" y="3867"/>
                </a:moveTo>
                <a:cubicBezTo>
                  <a:pt x="1567" y="3867"/>
                  <a:pt x="1543" y="3917"/>
                  <a:pt x="1543" y="3980"/>
                </a:cubicBezTo>
                <a:cubicBezTo>
                  <a:pt x="1543" y="4042"/>
                  <a:pt x="1567" y="4093"/>
                  <a:pt x="1597" y="4093"/>
                </a:cubicBezTo>
                <a:cubicBezTo>
                  <a:pt x="1627" y="4093"/>
                  <a:pt x="1651" y="4042"/>
                  <a:pt x="1651" y="3980"/>
                </a:cubicBezTo>
                <a:cubicBezTo>
                  <a:pt x="1651" y="3917"/>
                  <a:pt x="1627" y="3867"/>
                  <a:pt x="1597" y="3867"/>
                </a:cubicBezTo>
                <a:close/>
                <a:moveTo>
                  <a:pt x="1444" y="4420"/>
                </a:moveTo>
                <a:cubicBezTo>
                  <a:pt x="1474" y="4420"/>
                  <a:pt x="1498" y="4369"/>
                  <a:pt x="1498" y="4307"/>
                </a:cubicBezTo>
                <a:cubicBezTo>
                  <a:pt x="1498" y="4244"/>
                  <a:pt x="1474" y="4194"/>
                  <a:pt x="1444" y="4194"/>
                </a:cubicBezTo>
                <a:cubicBezTo>
                  <a:pt x="1415" y="4194"/>
                  <a:pt x="1390" y="4244"/>
                  <a:pt x="1390" y="4307"/>
                </a:cubicBezTo>
                <a:cubicBezTo>
                  <a:pt x="1390" y="4369"/>
                  <a:pt x="1415" y="4420"/>
                  <a:pt x="1444" y="4420"/>
                </a:cubicBezTo>
                <a:close/>
                <a:moveTo>
                  <a:pt x="1444" y="4093"/>
                </a:moveTo>
                <a:cubicBezTo>
                  <a:pt x="1474" y="4093"/>
                  <a:pt x="1498" y="4042"/>
                  <a:pt x="1498" y="3980"/>
                </a:cubicBezTo>
                <a:cubicBezTo>
                  <a:pt x="1498" y="3917"/>
                  <a:pt x="1474" y="3867"/>
                  <a:pt x="1444" y="3867"/>
                </a:cubicBezTo>
                <a:cubicBezTo>
                  <a:pt x="1415" y="3867"/>
                  <a:pt x="1390" y="3917"/>
                  <a:pt x="1390" y="3980"/>
                </a:cubicBezTo>
                <a:cubicBezTo>
                  <a:pt x="1390" y="4042"/>
                  <a:pt x="1415" y="4093"/>
                  <a:pt x="1444" y="4093"/>
                </a:cubicBezTo>
                <a:close/>
                <a:moveTo>
                  <a:pt x="2057" y="4194"/>
                </a:moveTo>
                <a:cubicBezTo>
                  <a:pt x="2027" y="4194"/>
                  <a:pt x="2003" y="4244"/>
                  <a:pt x="2003" y="4307"/>
                </a:cubicBezTo>
                <a:cubicBezTo>
                  <a:pt x="2003" y="4369"/>
                  <a:pt x="2027" y="4420"/>
                  <a:pt x="2057" y="4420"/>
                </a:cubicBezTo>
                <a:cubicBezTo>
                  <a:pt x="2087" y="4420"/>
                  <a:pt x="2111" y="4369"/>
                  <a:pt x="2111" y="4307"/>
                </a:cubicBezTo>
                <a:cubicBezTo>
                  <a:pt x="2111" y="4244"/>
                  <a:pt x="2087" y="4194"/>
                  <a:pt x="2057" y="4194"/>
                </a:cubicBezTo>
                <a:close/>
                <a:moveTo>
                  <a:pt x="2057" y="3867"/>
                </a:moveTo>
                <a:cubicBezTo>
                  <a:pt x="2027" y="3867"/>
                  <a:pt x="2003" y="3917"/>
                  <a:pt x="2003" y="3980"/>
                </a:cubicBezTo>
                <a:cubicBezTo>
                  <a:pt x="2003" y="4042"/>
                  <a:pt x="2027" y="4093"/>
                  <a:pt x="2057" y="4093"/>
                </a:cubicBezTo>
                <a:cubicBezTo>
                  <a:pt x="2087" y="4093"/>
                  <a:pt x="2111" y="4042"/>
                  <a:pt x="2111" y="3980"/>
                </a:cubicBezTo>
                <a:cubicBezTo>
                  <a:pt x="2111" y="3917"/>
                  <a:pt x="2087" y="3867"/>
                  <a:pt x="2057" y="3867"/>
                </a:cubicBezTo>
                <a:close/>
                <a:moveTo>
                  <a:pt x="1903" y="4194"/>
                </a:moveTo>
                <a:cubicBezTo>
                  <a:pt x="1873" y="4194"/>
                  <a:pt x="1849" y="4244"/>
                  <a:pt x="1849" y="4307"/>
                </a:cubicBezTo>
                <a:cubicBezTo>
                  <a:pt x="1849" y="4369"/>
                  <a:pt x="1873" y="4420"/>
                  <a:pt x="1903" y="4420"/>
                </a:cubicBezTo>
                <a:cubicBezTo>
                  <a:pt x="1933" y="4420"/>
                  <a:pt x="1957" y="4369"/>
                  <a:pt x="1957" y="4307"/>
                </a:cubicBezTo>
                <a:cubicBezTo>
                  <a:pt x="1957" y="4244"/>
                  <a:pt x="1933" y="4194"/>
                  <a:pt x="1903" y="4194"/>
                </a:cubicBezTo>
                <a:close/>
                <a:moveTo>
                  <a:pt x="1903" y="3867"/>
                </a:moveTo>
                <a:cubicBezTo>
                  <a:pt x="1873" y="3867"/>
                  <a:pt x="1849" y="3917"/>
                  <a:pt x="1849" y="3980"/>
                </a:cubicBezTo>
                <a:cubicBezTo>
                  <a:pt x="1849" y="4042"/>
                  <a:pt x="1873" y="4093"/>
                  <a:pt x="1903" y="4093"/>
                </a:cubicBezTo>
                <a:cubicBezTo>
                  <a:pt x="1933" y="4093"/>
                  <a:pt x="1957" y="4042"/>
                  <a:pt x="1957" y="3980"/>
                </a:cubicBezTo>
                <a:cubicBezTo>
                  <a:pt x="1957" y="3917"/>
                  <a:pt x="1933" y="3867"/>
                  <a:pt x="1903" y="3867"/>
                </a:cubicBezTo>
                <a:close/>
                <a:moveTo>
                  <a:pt x="1750" y="4194"/>
                </a:moveTo>
                <a:cubicBezTo>
                  <a:pt x="1721" y="4194"/>
                  <a:pt x="1697" y="4244"/>
                  <a:pt x="1697" y="4307"/>
                </a:cubicBezTo>
                <a:cubicBezTo>
                  <a:pt x="1697" y="4369"/>
                  <a:pt x="1721" y="4420"/>
                  <a:pt x="1750" y="4420"/>
                </a:cubicBezTo>
                <a:cubicBezTo>
                  <a:pt x="1780" y="4420"/>
                  <a:pt x="1804" y="4369"/>
                  <a:pt x="1804" y="4307"/>
                </a:cubicBezTo>
                <a:cubicBezTo>
                  <a:pt x="1804" y="4244"/>
                  <a:pt x="1780" y="4194"/>
                  <a:pt x="1750" y="4194"/>
                </a:cubicBezTo>
                <a:close/>
                <a:moveTo>
                  <a:pt x="1750" y="3867"/>
                </a:moveTo>
                <a:cubicBezTo>
                  <a:pt x="1721" y="3867"/>
                  <a:pt x="1697" y="3917"/>
                  <a:pt x="1697" y="3980"/>
                </a:cubicBezTo>
                <a:cubicBezTo>
                  <a:pt x="1697" y="4042"/>
                  <a:pt x="1721" y="4093"/>
                  <a:pt x="1750" y="4093"/>
                </a:cubicBezTo>
                <a:cubicBezTo>
                  <a:pt x="1780" y="4093"/>
                  <a:pt x="1804" y="4042"/>
                  <a:pt x="1804" y="3980"/>
                </a:cubicBezTo>
                <a:cubicBezTo>
                  <a:pt x="1804" y="3917"/>
                  <a:pt x="1780" y="3867"/>
                  <a:pt x="1750" y="3867"/>
                </a:cubicBezTo>
                <a:close/>
                <a:moveTo>
                  <a:pt x="2830" y="4194"/>
                </a:moveTo>
                <a:cubicBezTo>
                  <a:pt x="2801" y="4194"/>
                  <a:pt x="2776" y="4244"/>
                  <a:pt x="2776" y="4307"/>
                </a:cubicBezTo>
                <a:cubicBezTo>
                  <a:pt x="2776" y="4369"/>
                  <a:pt x="2801" y="4420"/>
                  <a:pt x="2830" y="4420"/>
                </a:cubicBezTo>
                <a:cubicBezTo>
                  <a:pt x="2860" y="4420"/>
                  <a:pt x="2884" y="4369"/>
                  <a:pt x="2884" y="4307"/>
                </a:cubicBezTo>
                <a:cubicBezTo>
                  <a:pt x="2884" y="4244"/>
                  <a:pt x="2860" y="4194"/>
                  <a:pt x="2830" y="4194"/>
                </a:cubicBezTo>
                <a:close/>
                <a:moveTo>
                  <a:pt x="2830" y="3867"/>
                </a:moveTo>
                <a:cubicBezTo>
                  <a:pt x="2801" y="3867"/>
                  <a:pt x="2776" y="3917"/>
                  <a:pt x="2776" y="3980"/>
                </a:cubicBezTo>
                <a:cubicBezTo>
                  <a:pt x="2776" y="4042"/>
                  <a:pt x="2801" y="4093"/>
                  <a:pt x="2830" y="4093"/>
                </a:cubicBezTo>
                <a:cubicBezTo>
                  <a:pt x="2860" y="4093"/>
                  <a:pt x="2884" y="4042"/>
                  <a:pt x="2884" y="3980"/>
                </a:cubicBezTo>
                <a:cubicBezTo>
                  <a:pt x="2884" y="3917"/>
                  <a:pt x="2860" y="3867"/>
                  <a:pt x="2830" y="3867"/>
                </a:cubicBezTo>
                <a:close/>
                <a:moveTo>
                  <a:pt x="2678" y="4194"/>
                </a:moveTo>
                <a:cubicBezTo>
                  <a:pt x="2648" y="4194"/>
                  <a:pt x="2624" y="4244"/>
                  <a:pt x="2624" y="4307"/>
                </a:cubicBezTo>
                <a:cubicBezTo>
                  <a:pt x="2624" y="4369"/>
                  <a:pt x="2648" y="4420"/>
                  <a:pt x="2678" y="4420"/>
                </a:cubicBezTo>
                <a:cubicBezTo>
                  <a:pt x="2707" y="4420"/>
                  <a:pt x="2731" y="4369"/>
                  <a:pt x="2731" y="4307"/>
                </a:cubicBezTo>
                <a:cubicBezTo>
                  <a:pt x="2731" y="4244"/>
                  <a:pt x="2707" y="4194"/>
                  <a:pt x="2678" y="4194"/>
                </a:cubicBezTo>
                <a:close/>
                <a:moveTo>
                  <a:pt x="2678" y="3867"/>
                </a:moveTo>
                <a:cubicBezTo>
                  <a:pt x="2648" y="3867"/>
                  <a:pt x="2624" y="3917"/>
                  <a:pt x="2624" y="3980"/>
                </a:cubicBezTo>
                <a:cubicBezTo>
                  <a:pt x="2624" y="4042"/>
                  <a:pt x="2648" y="4093"/>
                  <a:pt x="2678" y="4093"/>
                </a:cubicBezTo>
                <a:cubicBezTo>
                  <a:pt x="2707" y="4093"/>
                  <a:pt x="2731" y="4042"/>
                  <a:pt x="2731" y="3980"/>
                </a:cubicBezTo>
                <a:cubicBezTo>
                  <a:pt x="2731" y="3917"/>
                  <a:pt x="2707" y="3867"/>
                  <a:pt x="2678" y="3867"/>
                </a:cubicBezTo>
                <a:close/>
                <a:moveTo>
                  <a:pt x="2522" y="4194"/>
                </a:moveTo>
                <a:cubicBezTo>
                  <a:pt x="2493" y="4194"/>
                  <a:pt x="2469" y="4244"/>
                  <a:pt x="2469" y="4307"/>
                </a:cubicBezTo>
                <a:cubicBezTo>
                  <a:pt x="2469" y="4369"/>
                  <a:pt x="2493" y="4420"/>
                  <a:pt x="2522" y="4420"/>
                </a:cubicBezTo>
                <a:cubicBezTo>
                  <a:pt x="2552" y="4420"/>
                  <a:pt x="2576" y="4369"/>
                  <a:pt x="2576" y="4307"/>
                </a:cubicBezTo>
                <a:cubicBezTo>
                  <a:pt x="2576" y="4244"/>
                  <a:pt x="2552" y="4194"/>
                  <a:pt x="2522" y="4194"/>
                </a:cubicBezTo>
                <a:close/>
                <a:moveTo>
                  <a:pt x="2522" y="3867"/>
                </a:moveTo>
                <a:cubicBezTo>
                  <a:pt x="2493" y="3867"/>
                  <a:pt x="2469" y="3917"/>
                  <a:pt x="2469" y="3980"/>
                </a:cubicBezTo>
                <a:cubicBezTo>
                  <a:pt x="2469" y="4042"/>
                  <a:pt x="2493" y="4093"/>
                  <a:pt x="2522" y="4093"/>
                </a:cubicBezTo>
                <a:cubicBezTo>
                  <a:pt x="2552" y="4093"/>
                  <a:pt x="2576" y="4042"/>
                  <a:pt x="2576" y="3980"/>
                </a:cubicBezTo>
                <a:cubicBezTo>
                  <a:pt x="2576" y="3917"/>
                  <a:pt x="2552" y="3867"/>
                  <a:pt x="2522" y="3867"/>
                </a:cubicBezTo>
                <a:close/>
                <a:moveTo>
                  <a:pt x="2368" y="4194"/>
                </a:moveTo>
                <a:cubicBezTo>
                  <a:pt x="2339" y="4194"/>
                  <a:pt x="2315" y="4244"/>
                  <a:pt x="2315" y="4307"/>
                </a:cubicBezTo>
                <a:cubicBezTo>
                  <a:pt x="2315" y="4369"/>
                  <a:pt x="2339" y="4420"/>
                  <a:pt x="2368" y="4420"/>
                </a:cubicBezTo>
                <a:cubicBezTo>
                  <a:pt x="2398" y="4420"/>
                  <a:pt x="2422" y="4369"/>
                  <a:pt x="2422" y="4307"/>
                </a:cubicBezTo>
                <a:cubicBezTo>
                  <a:pt x="2422" y="4244"/>
                  <a:pt x="2398" y="4194"/>
                  <a:pt x="2368" y="4194"/>
                </a:cubicBezTo>
                <a:close/>
                <a:moveTo>
                  <a:pt x="2368" y="3867"/>
                </a:moveTo>
                <a:cubicBezTo>
                  <a:pt x="2339" y="3867"/>
                  <a:pt x="2315" y="3917"/>
                  <a:pt x="2315" y="3980"/>
                </a:cubicBezTo>
                <a:cubicBezTo>
                  <a:pt x="2315" y="4042"/>
                  <a:pt x="2339" y="4093"/>
                  <a:pt x="2368" y="4093"/>
                </a:cubicBezTo>
                <a:cubicBezTo>
                  <a:pt x="2398" y="4093"/>
                  <a:pt x="2422" y="4042"/>
                  <a:pt x="2422" y="3980"/>
                </a:cubicBezTo>
                <a:cubicBezTo>
                  <a:pt x="2422" y="3917"/>
                  <a:pt x="2398" y="3867"/>
                  <a:pt x="2368" y="3867"/>
                </a:cubicBezTo>
                <a:close/>
                <a:moveTo>
                  <a:pt x="2216" y="4194"/>
                </a:moveTo>
                <a:cubicBezTo>
                  <a:pt x="2186" y="4194"/>
                  <a:pt x="2162" y="4244"/>
                  <a:pt x="2162" y="4307"/>
                </a:cubicBezTo>
                <a:cubicBezTo>
                  <a:pt x="2162" y="4369"/>
                  <a:pt x="2186" y="4420"/>
                  <a:pt x="2216" y="4420"/>
                </a:cubicBezTo>
                <a:cubicBezTo>
                  <a:pt x="2245" y="4420"/>
                  <a:pt x="2269" y="4369"/>
                  <a:pt x="2269" y="4307"/>
                </a:cubicBezTo>
                <a:cubicBezTo>
                  <a:pt x="2269" y="4244"/>
                  <a:pt x="2245" y="4194"/>
                  <a:pt x="2216" y="4194"/>
                </a:cubicBezTo>
                <a:close/>
                <a:moveTo>
                  <a:pt x="2216" y="3867"/>
                </a:moveTo>
                <a:cubicBezTo>
                  <a:pt x="2186" y="3867"/>
                  <a:pt x="2162" y="3917"/>
                  <a:pt x="2162" y="3980"/>
                </a:cubicBezTo>
                <a:cubicBezTo>
                  <a:pt x="2162" y="4042"/>
                  <a:pt x="2186" y="4093"/>
                  <a:pt x="2216" y="4093"/>
                </a:cubicBezTo>
                <a:cubicBezTo>
                  <a:pt x="2245" y="4093"/>
                  <a:pt x="2269" y="4042"/>
                  <a:pt x="2269" y="3980"/>
                </a:cubicBezTo>
                <a:cubicBezTo>
                  <a:pt x="2269" y="3917"/>
                  <a:pt x="2245" y="3867"/>
                  <a:pt x="2216" y="3867"/>
                </a:cubicBezTo>
                <a:close/>
                <a:moveTo>
                  <a:pt x="3598" y="4194"/>
                </a:moveTo>
                <a:cubicBezTo>
                  <a:pt x="3569" y="4194"/>
                  <a:pt x="3545" y="4244"/>
                  <a:pt x="3545" y="4307"/>
                </a:cubicBezTo>
                <a:cubicBezTo>
                  <a:pt x="3545" y="4369"/>
                  <a:pt x="3569" y="4420"/>
                  <a:pt x="3598" y="4420"/>
                </a:cubicBezTo>
                <a:cubicBezTo>
                  <a:pt x="3628" y="4420"/>
                  <a:pt x="3652" y="4369"/>
                  <a:pt x="3652" y="4307"/>
                </a:cubicBezTo>
                <a:cubicBezTo>
                  <a:pt x="3652" y="4244"/>
                  <a:pt x="3628" y="4194"/>
                  <a:pt x="3598" y="4194"/>
                </a:cubicBezTo>
                <a:close/>
                <a:moveTo>
                  <a:pt x="3598" y="3867"/>
                </a:moveTo>
                <a:cubicBezTo>
                  <a:pt x="3569" y="3867"/>
                  <a:pt x="3545" y="3917"/>
                  <a:pt x="3545" y="3980"/>
                </a:cubicBezTo>
                <a:cubicBezTo>
                  <a:pt x="3545" y="4042"/>
                  <a:pt x="3569" y="4093"/>
                  <a:pt x="3598" y="4093"/>
                </a:cubicBezTo>
                <a:cubicBezTo>
                  <a:pt x="3628" y="4093"/>
                  <a:pt x="3652" y="4042"/>
                  <a:pt x="3652" y="3980"/>
                </a:cubicBezTo>
                <a:cubicBezTo>
                  <a:pt x="3652" y="3917"/>
                  <a:pt x="3628" y="3867"/>
                  <a:pt x="3598" y="3867"/>
                </a:cubicBezTo>
                <a:close/>
                <a:moveTo>
                  <a:pt x="3446" y="4420"/>
                </a:moveTo>
                <a:cubicBezTo>
                  <a:pt x="3475" y="4420"/>
                  <a:pt x="3500" y="4369"/>
                  <a:pt x="3500" y="4307"/>
                </a:cubicBezTo>
                <a:cubicBezTo>
                  <a:pt x="3500" y="4244"/>
                  <a:pt x="3475" y="4194"/>
                  <a:pt x="3446" y="4194"/>
                </a:cubicBezTo>
                <a:cubicBezTo>
                  <a:pt x="3416" y="4194"/>
                  <a:pt x="3392" y="4244"/>
                  <a:pt x="3392" y="4307"/>
                </a:cubicBezTo>
                <a:cubicBezTo>
                  <a:pt x="3392" y="4369"/>
                  <a:pt x="3416" y="4420"/>
                  <a:pt x="3446" y="4420"/>
                </a:cubicBezTo>
                <a:close/>
                <a:moveTo>
                  <a:pt x="3446" y="4093"/>
                </a:moveTo>
                <a:cubicBezTo>
                  <a:pt x="3475" y="4093"/>
                  <a:pt x="3500" y="4042"/>
                  <a:pt x="3500" y="3980"/>
                </a:cubicBezTo>
                <a:cubicBezTo>
                  <a:pt x="3500" y="3917"/>
                  <a:pt x="3475" y="3867"/>
                  <a:pt x="3446" y="3867"/>
                </a:cubicBezTo>
                <a:cubicBezTo>
                  <a:pt x="3416" y="3867"/>
                  <a:pt x="3392" y="3917"/>
                  <a:pt x="3392" y="3980"/>
                </a:cubicBezTo>
                <a:cubicBezTo>
                  <a:pt x="3392" y="4042"/>
                  <a:pt x="3416" y="4093"/>
                  <a:pt x="3446" y="4093"/>
                </a:cubicBezTo>
                <a:close/>
                <a:moveTo>
                  <a:pt x="3290" y="4420"/>
                </a:moveTo>
                <a:cubicBezTo>
                  <a:pt x="3320" y="4420"/>
                  <a:pt x="3344" y="4369"/>
                  <a:pt x="3344" y="4307"/>
                </a:cubicBezTo>
                <a:cubicBezTo>
                  <a:pt x="3344" y="4244"/>
                  <a:pt x="3320" y="4194"/>
                  <a:pt x="3290" y="4194"/>
                </a:cubicBezTo>
                <a:cubicBezTo>
                  <a:pt x="3261" y="4194"/>
                  <a:pt x="3237" y="4244"/>
                  <a:pt x="3237" y="4307"/>
                </a:cubicBezTo>
                <a:cubicBezTo>
                  <a:pt x="3237" y="4369"/>
                  <a:pt x="3261" y="4420"/>
                  <a:pt x="3290" y="4420"/>
                </a:cubicBezTo>
                <a:close/>
                <a:moveTo>
                  <a:pt x="3290" y="4093"/>
                </a:moveTo>
                <a:cubicBezTo>
                  <a:pt x="3320" y="4093"/>
                  <a:pt x="3344" y="4042"/>
                  <a:pt x="3344" y="3980"/>
                </a:cubicBezTo>
                <a:cubicBezTo>
                  <a:pt x="3344" y="3917"/>
                  <a:pt x="3320" y="3867"/>
                  <a:pt x="3290" y="3867"/>
                </a:cubicBezTo>
                <a:cubicBezTo>
                  <a:pt x="3261" y="3867"/>
                  <a:pt x="3237" y="3917"/>
                  <a:pt x="3237" y="3980"/>
                </a:cubicBezTo>
                <a:cubicBezTo>
                  <a:pt x="3237" y="4042"/>
                  <a:pt x="3261" y="4093"/>
                  <a:pt x="3290" y="4093"/>
                </a:cubicBezTo>
                <a:close/>
                <a:moveTo>
                  <a:pt x="3136" y="4194"/>
                </a:moveTo>
                <a:cubicBezTo>
                  <a:pt x="3107" y="4194"/>
                  <a:pt x="3083" y="4244"/>
                  <a:pt x="3083" y="4307"/>
                </a:cubicBezTo>
                <a:cubicBezTo>
                  <a:pt x="3083" y="4369"/>
                  <a:pt x="3107" y="4420"/>
                  <a:pt x="3136" y="4420"/>
                </a:cubicBezTo>
                <a:cubicBezTo>
                  <a:pt x="3166" y="4420"/>
                  <a:pt x="3190" y="4369"/>
                  <a:pt x="3190" y="4307"/>
                </a:cubicBezTo>
                <a:cubicBezTo>
                  <a:pt x="3190" y="4244"/>
                  <a:pt x="3166" y="4194"/>
                  <a:pt x="3136" y="4194"/>
                </a:cubicBezTo>
                <a:close/>
                <a:moveTo>
                  <a:pt x="3136" y="3867"/>
                </a:moveTo>
                <a:cubicBezTo>
                  <a:pt x="3107" y="3867"/>
                  <a:pt x="3083" y="3917"/>
                  <a:pt x="3083" y="3980"/>
                </a:cubicBezTo>
                <a:cubicBezTo>
                  <a:pt x="3083" y="4042"/>
                  <a:pt x="3107" y="4093"/>
                  <a:pt x="3136" y="4093"/>
                </a:cubicBezTo>
                <a:cubicBezTo>
                  <a:pt x="3166" y="4093"/>
                  <a:pt x="3190" y="4042"/>
                  <a:pt x="3190" y="3980"/>
                </a:cubicBezTo>
                <a:cubicBezTo>
                  <a:pt x="3190" y="3917"/>
                  <a:pt x="3166" y="3867"/>
                  <a:pt x="3136" y="3867"/>
                </a:cubicBezTo>
                <a:close/>
                <a:moveTo>
                  <a:pt x="2984" y="4194"/>
                </a:moveTo>
                <a:cubicBezTo>
                  <a:pt x="2954" y="4194"/>
                  <a:pt x="2930" y="4244"/>
                  <a:pt x="2930" y="4307"/>
                </a:cubicBezTo>
                <a:cubicBezTo>
                  <a:pt x="2930" y="4369"/>
                  <a:pt x="2954" y="4420"/>
                  <a:pt x="2984" y="4420"/>
                </a:cubicBezTo>
                <a:cubicBezTo>
                  <a:pt x="3014" y="4420"/>
                  <a:pt x="3038" y="4369"/>
                  <a:pt x="3038" y="4307"/>
                </a:cubicBezTo>
                <a:cubicBezTo>
                  <a:pt x="3038" y="4244"/>
                  <a:pt x="3014" y="4194"/>
                  <a:pt x="2984" y="4194"/>
                </a:cubicBezTo>
                <a:close/>
                <a:moveTo>
                  <a:pt x="2984" y="3867"/>
                </a:moveTo>
                <a:cubicBezTo>
                  <a:pt x="2954" y="3867"/>
                  <a:pt x="2930" y="3917"/>
                  <a:pt x="2930" y="3980"/>
                </a:cubicBezTo>
                <a:cubicBezTo>
                  <a:pt x="2930" y="4042"/>
                  <a:pt x="2954" y="4093"/>
                  <a:pt x="2984" y="4093"/>
                </a:cubicBezTo>
                <a:cubicBezTo>
                  <a:pt x="3014" y="4093"/>
                  <a:pt x="3038" y="4042"/>
                  <a:pt x="3038" y="3980"/>
                </a:cubicBezTo>
                <a:cubicBezTo>
                  <a:pt x="3038" y="3917"/>
                  <a:pt x="3014" y="3867"/>
                  <a:pt x="2984" y="3867"/>
                </a:cubicBezTo>
                <a:close/>
                <a:moveTo>
                  <a:pt x="1597" y="4861"/>
                </a:moveTo>
                <a:cubicBezTo>
                  <a:pt x="1567" y="4861"/>
                  <a:pt x="1543" y="4912"/>
                  <a:pt x="1543" y="4974"/>
                </a:cubicBezTo>
                <a:cubicBezTo>
                  <a:pt x="1543" y="5037"/>
                  <a:pt x="1567" y="5087"/>
                  <a:pt x="1597" y="5087"/>
                </a:cubicBezTo>
                <a:cubicBezTo>
                  <a:pt x="1627" y="5087"/>
                  <a:pt x="1651" y="5037"/>
                  <a:pt x="1651" y="4974"/>
                </a:cubicBezTo>
                <a:cubicBezTo>
                  <a:pt x="1651" y="4912"/>
                  <a:pt x="1627" y="4861"/>
                  <a:pt x="1597" y="4861"/>
                </a:cubicBezTo>
                <a:close/>
                <a:moveTo>
                  <a:pt x="1597" y="4534"/>
                </a:moveTo>
                <a:cubicBezTo>
                  <a:pt x="1567" y="4534"/>
                  <a:pt x="1543" y="4585"/>
                  <a:pt x="1543" y="4647"/>
                </a:cubicBezTo>
                <a:cubicBezTo>
                  <a:pt x="1543" y="4710"/>
                  <a:pt x="1567" y="4760"/>
                  <a:pt x="1597" y="4760"/>
                </a:cubicBezTo>
                <a:cubicBezTo>
                  <a:pt x="1627" y="4760"/>
                  <a:pt x="1651" y="4710"/>
                  <a:pt x="1651" y="4647"/>
                </a:cubicBezTo>
                <a:cubicBezTo>
                  <a:pt x="1651" y="4585"/>
                  <a:pt x="1627" y="4534"/>
                  <a:pt x="1597" y="4534"/>
                </a:cubicBezTo>
                <a:close/>
                <a:moveTo>
                  <a:pt x="1444" y="5087"/>
                </a:moveTo>
                <a:cubicBezTo>
                  <a:pt x="1474" y="5087"/>
                  <a:pt x="1498" y="5037"/>
                  <a:pt x="1498" y="4974"/>
                </a:cubicBezTo>
                <a:cubicBezTo>
                  <a:pt x="1498" y="4912"/>
                  <a:pt x="1474" y="4861"/>
                  <a:pt x="1444" y="4861"/>
                </a:cubicBezTo>
                <a:cubicBezTo>
                  <a:pt x="1415" y="4861"/>
                  <a:pt x="1390" y="4912"/>
                  <a:pt x="1390" y="4974"/>
                </a:cubicBezTo>
                <a:cubicBezTo>
                  <a:pt x="1390" y="5037"/>
                  <a:pt x="1415" y="5087"/>
                  <a:pt x="1444" y="5087"/>
                </a:cubicBezTo>
                <a:close/>
                <a:moveTo>
                  <a:pt x="1444" y="4760"/>
                </a:moveTo>
                <a:cubicBezTo>
                  <a:pt x="1474" y="4760"/>
                  <a:pt x="1498" y="4710"/>
                  <a:pt x="1498" y="4647"/>
                </a:cubicBezTo>
                <a:cubicBezTo>
                  <a:pt x="1498" y="4585"/>
                  <a:pt x="1474" y="4534"/>
                  <a:pt x="1444" y="4534"/>
                </a:cubicBezTo>
                <a:cubicBezTo>
                  <a:pt x="1415" y="4534"/>
                  <a:pt x="1390" y="4585"/>
                  <a:pt x="1390" y="4647"/>
                </a:cubicBezTo>
                <a:cubicBezTo>
                  <a:pt x="1390" y="4710"/>
                  <a:pt x="1415" y="4760"/>
                  <a:pt x="1444" y="4760"/>
                </a:cubicBezTo>
                <a:close/>
                <a:moveTo>
                  <a:pt x="2057" y="4861"/>
                </a:moveTo>
                <a:cubicBezTo>
                  <a:pt x="2027" y="4861"/>
                  <a:pt x="2003" y="4912"/>
                  <a:pt x="2003" y="4974"/>
                </a:cubicBezTo>
                <a:cubicBezTo>
                  <a:pt x="2003" y="5037"/>
                  <a:pt x="2027" y="5087"/>
                  <a:pt x="2057" y="5087"/>
                </a:cubicBezTo>
                <a:cubicBezTo>
                  <a:pt x="2087" y="5087"/>
                  <a:pt x="2111" y="5037"/>
                  <a:pt x="2111" y="4974"/>
                </a:cubicBezTo>
                <a:cubicBezTo>
                  <a:pt x="2111" y="4912"/>
                  <a:pt x="2087" y="4861"/>
                  <a:pt x="2057" y="4861"/>
                </a:cubicBezTo>
                <a:close/>
                <a:moveTo>
                  <a:pt x="2057" y="4534"/>
                </a:moveTo>
                <a:cubicBezTo>
                  <a:pt x="2027" y="4534"/>
                  <a:pt x="2003" y="4585"/>
                  <a:pt x="2003" y="4647"/>
                </a:cubicBezTo>
                <a:cubicBezTo>
                  <a:pt x="2003" y="4710"/>
                  <a:pt x="2027" y="4760"/>
                  <a:pt x="2057" y="4760"/>
                </a:cubicBezTo>
                <a:cubicBezTo>
                  <a:pt x="2087" y="4760"/>
                  <a:pt x="2111" y="4710"/>
                  <a:pt x="2111" y="4647"/>
                </a:cubicBezTo>
                <a:cubicBezTo>
                  <a:pt x="2111" y="4585"/>
                  <a:pt x="2087" y="4534"/>
                  <a:pt x="2057" y="4534"/>
                </a:cubicBezTo>
                <a:close/>
                <a:moveTo>
                  <a:pt x="1903" y="4861"/>
                </a:moveTo>
                <a:cubicBezTo>
                  <a:pt x="1873" y="4861"/>
                  <a:pt x="1849" y="4912"/>
                  <a:pt x="1849" y="4974"/>
                </a:cubicBezTo>
                <a:cubicBezTo>
                  <a:pt x="1849" y="5037"/>
                  <a:pt x="1873" y="5087"/>
                  <a:pt x="1903" y="5087"/>
                </a:cubicBezTo>
                <a:cubicBezTo>
                  <a:pt x="1933" y="5087"/>
                  <a:pt x="1957" y="5037"/>
                  <a:pt x="1957" y="4974"/>
                </a:cubicBezTo>
                <a:cubicBezTo>
                  <a:pt x="1957" y="4912"/>
                  <a:pt x="1933" y="4861"/>
                  <a:pt x="1903" y="4861"/>
                </a:cubicBezTo>
                <a:close/>
                <a:moveTo>
                  <a:pt x="1903" y="4534"/>
                </a:moveTo>
                <a:cubicBezTo>
                  <a:pt x="1873" y="4534"/>
                  <a:pt x="1849" y="4585"/>
                  <a:pt x="1849" y="4647"/>
                </a:cubicBezTo>
                <a:cubicBezTo>
                  <a:pt x="1849" y="4710"/>
                  <a:pt x="1873" y="4760"/>
                  <a:pt x="1903" y="4760"/>
                </a:cubicBezTo>
                <a:cubicBezTo>
                  <a:pt x="1933" y="4760"/>
                  <a:pt x="1957" y="4710"/>
                  <a:pt x="1957" y="4647"/>
                </a:cubicBezTo>
                <a:cubicBezTo>
                  <a:pt x="1957" y="4585"/>
                  <a:pt x="1933" y="4534"/>
                  <a:pt x="1903" y="4534"/>
                </a:cubicBezTo>
                <a:close/>
                <a:moveTo>
                  <a:pt x="1750" y="4861"/>
                </a:moveTo>
                <a:cubicBezTo>
                  <a:pt x="1721" y="4861"/>
                  <a:pt x="1697" y="4912"/>
                  <a:pt x="1697" y="4974"/>
                </a:cubicBezTo>
                <a:cubicBezTo>
                  <a:pt x="1697" y="5037"/>
                  <a:pt x="1721" y="5087"/>
                  <a:pt x="1750" y="5087"/>
                </a:cubicBezTo>
                <a:cubicBezTo>
                  <a:pt x="1780" y="5087"/>
                  <a:pt x="1804" y="5037"/>
                  <a:pt x="1804" y="4974"/>
                </a:cubicBezTo>
                <a:cubicBezTo>
                  <a:pt x="1804" y="4912"/>
                  <a:pt x="1780" y="4861"/>
                  <a:pt x="1750" y="4861"/>
                </a:cubicBezTo>
                <a:close/>
                <a:moveTo>
                  <a:pt x="1750" y="4534"/>
                </a:moveTo>
                <a:cubicBezTo>
                  <a:pt x="1721" y="4534"/>
                  <a:pt x="1697" y="4585"/>
                  <a:pt x="1697" y="4647"/>
                </a:cubicBezTo>
                <a:cubicBezTo>
                  <a:pt x="1697" y="4710"/>
                  <a:pt x="1721" y="4760"/>
                  <a:pt x="1750" y="4760"/>
                </a:cubicBezTo>
                <a:cubicBezTo>
                  <a:pt x="1780" y="4760"/>
                  <a:pt x="1804" y="4710"/>
                  <a:pt x="1804" y="4647"/>
                </a:cubicBezTo>
                <a:cubicBezTo>
                  <a:pt x="1804" y="4585"/>
                  <a:pt x="1780" y="4534"/>
                  <a:pt x="1750" y="4534"/>
                </a:cubicBezTo>
                <a:close/>
                <a:moveTo>
                  <a:pt x="2830" y="4861"/>
                </a:moveTo>
                <a:cubicBezTo>
                  <a:pt x="2801" y="4861"/>
                  <a:pt x="2776" y="4912"/>
                  <a:pt x="2776" y="4974"/>
                </a:cubicBezTo>
                <a:cubicBezTo>
                  <a:pt x="2776" y="5037"/>
                  <a:pt x="2801" y="5087"/>
                  <a:pt x="2830" y="5087"/>
                </a:cubicBezTo>
                <a:cubicBezTo>
                  <a:pt x="2860" y="5087"/>
                  <a:pt x="2884" y="5037"/>
                  <a:pt x="2884" y="4974"/>
                </a:cubicBezTo>
                <a:cubicBezTo>
                  <a:pt x="2884" y="4912"/>
                  <a:pt x="2860" y="4861"/>
                  <a:pt x="2830" y="4861"/>
                </a:cubicBezTo>
                <a:close/>
                <a:moveTo>
                  <a:pt x="2830" y="4534"/>
                </a:moveTo>
                <a:cubicBezTo>
                  <a:pt x="2801" y="4534"/>
                  <a:pt x="2776" y="4585"/>
                  <a:pt x="2776" y="4647"/>
                </a:cubicBezTo>
                <a:cubicBezTo>
                  <a:pt x="2776" y="4710"/>
                  <a:pt x="2801" y="4760"/>
                  <a:pt x="2830" y="4760"/>
                </a:cubicBezTo>
                <a:cubicBezTo>
                  <a:pt x="2860" y="4760"/>
                  <a:pt x="2884" y="4710"/>
                  <a:pt x="2884" y="4647"/>
                </a:cubicBezTo>
                <a:cubicBezTo>
                  <a:pt x="2884" y="4585"/>
                  <a:pt x="2860" y="4534"/>
                  <a:pt x="2830" y="4534"/>
                </a:cubicBezTo>
                <a:close/>
                <a:moveTo>
                  <a:pt x="2678" y="4861"/>
                </a:moveTo>
                <a:cubicBezTo>
                  <a:pt x="2648" y="4861"/>
                  <a:pt x="2624" y="4912"/>
                  <a:pt x="2624" y="4974"/>
                </a:cubicBezTo>
                <a:cubicBezTo>
                  <a:pt x="2624" y="5037"/>
                  <a:pt x="2648" y="5087"/>
                  <a:pt x="2678" y="5087"/>
                </a:cubicBezTo>
                <a:cubicBezTo>
                  <a:pt x="2707" y="5087"/>
                  <a:pt x="2731" y="5037"/>
                  <a:pt x="2731" y="4974"/>
                </a:cubicBezTo>
                <a:cubicBezTo>
                  <a:pt x="2731" y="4912"/>
                  <a:pt x="2707" y="4861"/>
                  <a:pt x="2678" y="4861"/>
                </a:cubicBezTo>
                <a:close/>
                <a:moveTo>
                  <a:pt x="2678" y="4534"/>
                </a:moveTo>
                <a:cubicBezTo>
                  <a:pt x="2648" y="4534"/>
                  <a:pt x="2624" y="4585"/>
                  <a:pt x="2624" y="4647"/>
                </a:cubicBezTo>
                <a:cubicBezTo>
                  <a:pt x="2624" y="4710"/>
                  <a:pt x="2648" y="4760"/>
                  <a:pt x="2678" y="4760"/>
                </a:cubicBezTo>
                <a:cubicBezTo>
                  <a:pt x="2707" y="4760"/>
                  <a:pt x="2731" y="4710"/>
                  <a:pt x="2731" y="4647"/>
                </a:cubicBezTo>
                <a:cubicBezTo>
                  <a:pt x="2731" y="4585"/>
                  <a:pt x="2707" y="4534"/>
                  <a:pt x="2678" y="4534"/>
                </a:cubicBezTo>
                <a:close/>
                <a:moveTo>
                  <a:pt x="2522" y="4861"/>
                </a:moveTo>
                <a:cubicBezTo>
                  <a:pt x="2493" y="4861"/>
                  <a:pt x="2469" y="4912"/>
                  <a:pt x="2469" y="4974"/>
                </a:cubicBezTo>
                <a:cubicBezTo>
                  <a:pt x="2469" y="5037"/>
                  <a:pt x="2493" y="5087"/>
                  <a:pt x="2522" y="5087"/>
                </a:cubicBezTo>
                <a:cubicBezTo>
                  <a:pt x="2552" y="5087"/>
                  <a:pt x="2576" y="5037"/>
                  <a:pt x="2576" y="4974"/>
                </a:cubicBezTo>
                <a:cubicBezTo>
                  <a:pt x="2576" y="4912"/>
                  <a:pt x="2552" y="4861"/>
                  <a:pt x="2522" y="4861"/>
                </a:cubicBezTo>
                <a:close/>
                <a:moveTo>
                  <a:pt x="2522" y="4534"/>
                </a:moveTo>
                <a:cubicBezTo>
                  <a:pt x="2493" y="4534"/>
                  <a:pt x="2469" y="4585"/>
                  <a:pt x="2469" y="4647"/>
                </a:cubicBezTo>
                <a:cubicBezTo>
                  <a:pt x="2469" y="4710"/>
                  <a:pt x="2493" y="4760"/>
                  <a:pt x="2522" y="4760"/>
                </a:cubicBezTo>
                <a:cubicBezTo>
                  <a:pt x="2552" y="4760"/>
                  <a:pt x="2576" y="4710"/>
                  <a:pt x="2576" y="4647"/>
                </a:cubicBezTo>
                <a:cubicBezTo>
                  <a:pt x="2576" y="4585"/>
                  <a:pt x="2552" y="4534"/>
                  <a:pt x="2522" y="4534"/>
                </a:cubicBezTo>
                <a:close/>
                <a:moveTo>
                  <a:pt x="2368" y="4861"/>
                </a:moveTo>
                <a:cubicBezTo>
                  <a:pt x="2339" y="4861"/>
                  <a:pt x="2315" y="4912"/>
                  <a:pt x="2315" y="4974"/>
                </a:cubicBezTo>
                <a:cubicBezTo>
                  <a:pt x="2315" y="5037"/>
                  <a:pt x="2339" y="5087"/>
                  <a:pt x="2368" y="5087"/>
                </a:cubicBezTo>
                <a:cubicBezTo>
                  <a:pt x="2398" y="5087"/>
                  <a:pt x="2422" y="5037"/>
                  <a:pt x="2422" y="4974"/>
                </a:cubicBezTo>
                <a:cubicBezTo>
                  <a:pt x="2422" y="4912"/>
                  <a:pt x="2398" y="4861"/>
                  <a:pt x="2368" y="4861"/>
                </a:cubicBezTo>
                <a:close/>
                <a:moveTo>
                  <a:pt x="2368" y="4534"/>
                </a:moveTo>
                <a:cubicBezTo>
                  <a:pt x="2339" y="4534"/>
                  <a:pt x="2315" y="4585"/>
                  <a:pt x="2315" y="4647"/>
                </a:cubicBezTo>
                <a:cubicBezTo>
                  <a:pt x="2315" y="4710"/>
                  <a:pt x="2339" y="4760"/>
                  <a:pt x="2368" y="4760"/>
                </a:cubicBezTo>
                <a:cubicBezTo>
                  <a:pt x="2398" y="4760"/>
                  <a:pt x="2422" y="4710"/>
                  <a:pt x="2422" y="4647"/>
                </a:cubicBezTo>
                <a:cubicBezTo>
                  <a:pt x="2422" y="4585"/>
                  <a:pt x="2398" y="4534"/>
                  <a:pt x="2368" y="4534"/>
                </a:cubicBezTo>
                <a:close/>
                <a:moveTo>
                  <a:pt x="2216" y="4861"/>
                </a:moveTo>
                <a:cubicBezTo>
                  <a:pt x="2186" y="4861"/>
                  <a:pt x="2162" y="4912"/>
                  <a:pt x="2162" y="4974"/>
                </a:cubicBezTo>
                <a:cubicBezTo>
                  <a:pt x="2162" y="5037"/>
                  <a:pt x="2186" y="5087"/>
                  <a:pt x="2216" y="5087"/>
                </a:cubicBezTo>
                <a:cubicBezTo>
                  <a:pt x="2245" y="5087"/>
                  <a:pt x="2269" y="5037"/>
                  <a:pt x="2269" y="4974"/>
                </a:cubicBezTo>
                <a:cubicBezTo>
                  <a:pt x="2269" y="4912"/>
                  <a:pt x="2245" y="4861"/>
                  <a:pt x="2216" y="4861"/>
                </a:cubicBezTo>
                <a:close/>
                <a:moveTo>
                  <a:pt x="2216" y="4534"/>
                </a:moveTo>
                <a:cubicBezTo>
                  <a:pt x="2186" y="4534"/>
                  <a:pt x="2162" y="4585"/>
                  <a:pt x="2162" y="4647"/>
                </a:cubicBezTo>
                <a:cubicBezTo>
                  <a:pt x="2162" y="4710"/>
                  <a:pt x="2186" y="4760"/>
                  <a:pt x="2216" y="4760"/>
                </a:cubicBezTo>
                <a:cubicBezTo>
                  <a:pt x="2245" y="4760"/>
                  <a:pt x="2269" y="4710"/>
                  <a:pt x="2269" y="4647"/>
                </a:cubicBezTo>
                <a:cubicBezTo>
                  <a:pt x="2269" y="4585"/>
                  <a:pt x="2245" y="4534"/>
                  <a:pt x="2216" y="4534"/>
                </a:cubicBezTo>
                <a:close/>
                <a:moveTo>
                  <a:pt x="3598" y="4861"/>
                </a:moveTo>
                <a:cubicBezTo>
                  <a:pt x="3569" y="4861"/>
                  <a:pt x="3545" y="4912"/>
                  <a:pt x="3545" y="4974"/>
                </a:cubicBezTo>
                <a:cubicBezTo>
                  <a:pt x="3545" y="5037"/>
                  <a:pt x="3569" y="5087"/>
                  <a:pt x="3598" y="5087"/>
                </a:cubicBezTo>
                <a:cubicBezTo>
                  <a:pt x="3628" y="5087"/>
                  <a:pt x="3652" y="5037"/>
                  <a:pt x="3652" y="4974"/>
                </a:cubicBezTo>
                <a:cubicBezTo>
                  <a:pt x="3652" y="4912"/>
                  <a:pt x="3628" y="4861"/>
                  <a:pt x="3598" y="4861"/>
                </a:cubicBezTo>
                <a:close/>
                <a:moveTo>
                  <a:pt x="3598" y="4534"/>
                </a:moveTo>
                <a:cubicBezTo>
                  <a:pt x="3569" y="4534"/>
                  <a:pt x="3545" y="4585"/>
                  <a:pt x="3545" y="4647"/>
                </a:cubicBezTo>
                <a:cubicBezTo>
                  <a:pt x="3545" y="4710"/>
                  <a:pt x="3569" y="4760"/>
                  <a:pt x="3598" y="4760"/>
                </a:cubicBezTo>
                <a:cubicBezTo>
                  <a:pt x="3628" y="4760"/>
                  <a:pt x="3652" y="4710"/>
                  <a:pt x="3652" y="4647"/>
                </a:cubicBezTo>
                <a:cubicBezTo>
                  <a:pt x="3652" y="4585"/>
                  <a:pt x="3628" y="4534"/>
                  <a:pt x="3598" y="4534"/>
                </a:cubicBezTo>
                <a:close/>
                <a:moveTo>
                  <a:pt x="3446" y="5087"/>
                </a:moveTo>
                <a:cubicBezTo>
                  <a:pt x="3475" y="5087"/>
                  <a:pt x="3500" y="5037"/>
                  <a:pt x="3500" y="4974"/>
                </a:cubicBezTo>
                <a:cubicBezTo>
                  <a:pt x="3500" y="4912"/>
                  <a:pt x="3475" y="4861"/>
                  <a:pt x="3446" y="4861"/>
                </a:cubicBezTo>
                <a:cubicBezTo>
                  <a:pt x="3416" y="4861"/>
                  <a:pt x="3392" y="4912"/>
                  <a:pt x="3392" y="4974"/>
                </a:cubicBezTo>
                <a:cubicBezTo>
                  <a:pt x="3392" y="5037"/>
                  <a:pt x="3416" y="5087"/>
                  <a:pt x="3446" y="5087"/>
                </a:cubicBezTo>
                <a:close/>
                <a:moveTo>
                  <a:pt x="3446" y="4760"/>
                </a:moveTo>
                <a:cubicBezTo>
                  <a:pt x="3475" y="4760"/>
                  <a:pt x="3500" y="4710"/>
                  <a:pt x="3500" y="4647"/>
                </a:cubicBezTo>
                <a:cubicBezTo>
                  <a:pt x="3500" y="4585"/>
                  <a:pt x="3475" y="4534"/>
                  <a:pt x="3446" y="4534"/>
                </a:cubicBezTo>
                <a:cubicBezTo>
                  <a:pt x="3416" y="4534"/>
                  <a:pt x="3392" y="4585"/>
                  <a:pt x="3392" y="4647"/>
                </a:cubicBezTo>
                <a:cubicBezTo>
                  <a:pt x="3392" y="4710"/>
                  <a:pt x="3416" y="4760"/>
                  <a:pt x="3446" y="4760"/>
                </a:cubicBezTo>
                <a:close/>
                <a:moveTo>
                  <a:pt x="3290" y="5087"/>
                </a:moveTo>
                <a:cubicBezTo>
                  <a:pt x="3320" y="5087"/>
                  <a:pt x="3344" y="5037"/>
                  <a:pt x="3344" y="4974"/>
                </a:cubicBezTo>
                <a:cubicBezTo>
                  <a:pt x="3344" y="4912"/>
                  <a:pt x="3320" y="4861"/>
                  <a:pt x="3290" y="4861"/>
                </a:cubicBezTo>
                <a:cubicBezTo>
                  <a:pt x="3261" y="4861"/>
                  <a:pt x="3237" y="4912"/>
                  <a:pt x="3237" y="4974"/>
                </a:cubicBezTo>
                <a:cubicBezTo>
                  <a:pt x="3237" y="5037"/>
                  <a:pt x="3261" y="5087"/>
                  <a:pt x="3290" y="5087"/>
                </a:cubicBezTo>
                <a:close/>
                <a:moveTo>
                  <a:pt x="3290" y="4760"/>
                </a:moveTo>
                <a:cubicBezTo>
                  <a:pt x="3320" y="4760"/>
                  <a:pt x="3344" y="4710"/>
                  <a:pt x="3344" y="4647"/>
                </a:cubicBezTo>
                <a:cubicBezTo>
                  <a:pt x="3344" y="4585"/>
                  <a:pt x="3320" y="4534"/>
                  <a:pt x="3290" y="4534"/>
                </a:cubicBezTo>
                <a:cubicBezTo>
                  <a:pt x="3261" y="4534"/>
                  <a:pt x="3237" y="4585"/>
                  <a:pt x="3237" y="4647"/>
                </a:cubicBezTo>
                <a:cubicBezTo>
                  <a:pt x="3237" y="4710"/>
                  <a:pt x="3261" y="4760"/>
                  <a:pt x="3290" y="4760"/>
                </a:cubicBezTo>
                <a:close/>
                <a:moveTo>
                  <a:pt x="3136" y="4861"/>
                </a:moveTo>
                <a:cubicBezTo>
                  <a:pt x="3107" y="4861"/>
                  <a:pt x="3083" y="4912"/>
                  <a:pt x="3083" y="4974"/>
                </a:cubicBezTo>
                <a:cubicBezTo>
                  <a:pt x="3083" y="5037"/>
                  <a:pt x="3107" y="5087"/>
                  <a:pt x="3136" y="5087"/>
                </a:cubicBezTo>
                <a:cubicBezTo>
                  <a:pt x="3166" y="5087"/>
                  <a:pt x="3190" y="5037"/>
                  <a:pt x="3190" y="4974"/>
                </a:cubicBezTo>
                <a:cubicBezTo>
                  <a:pt x="3190" y="4912"/>
                  <a:pt x="3166" y="4861"/>
                  <a:pt x="3136" y="4861"/>
                </a:cubicBezTo>
                <a:close/>
                <a:moveTo>
                  <a:pt x="3136" y="4534"/>
                </a:moveTo>
                <a:cubicBezTo>
                  <a:pt x="3107" y="4534"/>
                  <a:pt x="3083" y="4585"/>
                  <a:pt x="3083" y="4647"/>
                </a:cubicBezTo>
                <a:cubicBezTo>
                  <a:pt x="3083" y="4710"/>
                  <a:pt x="3107" y="4760"/>
                  <a:pt x="3136" y="4760"/>
                </a:cubicBezTo>
                <a:cubicBezTo>
                  <a:pt x="3166" y="4760"/>
                  <a:pt x="3190" y="4710"/>
                  <a:pt x="3190" y="4647"/>
                </a:cubicBezTo>
                <a:cubicBezTo>
                  <a:pt x="3190" y="4585"/>
                  <a:pt x="3166" y="4534"/>
                  <a:pt x="3136" y="4534"/>
                </a:cubicBezTo>
                <a:close/>
                <a:moveTo>
                  <a:pt x="2984" y="4861"/>
                </a:moveTo>
                <a:cubicBezTo>
                  <a:pt x="2954" y="4861"/>
                  <a:pt x="2930" y="4912"/>
                  <a:pt x="2930" y="4974"/>
                </a:cubicBezTo>
                <a:cubicBezTo>
                  <a:pt x="2930" y="5037"/>
                  <a:pt x="2954" y="5087"/>
                  <a:pt x="2984" y="5087"/>
                </a:cubicBezTo>
                <a:cubicBezTo>
                  <a:pt x="3014" y="5087"/>
                  <a:pt x="3038" y="5037"/>
                  <a:pt x="3038" y="4974"/>
                </a:cubicBezTo>
                <a:cubicBezTo>
                  <a:pt x="3038" y="4912"/>
                  <a:pt x="3014" y="4861"/>
                  <a:pt x="2984" y="4861"/>
                </a:cubicBezTo>
                <a:close/>
                <a:moveTo>
                  <a:pt x="2984" y="4534"/>
                </a:moveTo>
                <a:cubicBezTo>
                  <a:pt x="2954" y="4534"/>
                  <a:pt x="2930" y="4585"/>
                  <a:pt x="2930" y="4647"/>
                </a:cubicBezTo>
                <a:cubicBezTo>
                  <a:pt x="2930" y="4710"/>
                  <a:pt x="2954" y="4760"/>
                  <a:pt x="2984" y="4760"/>
                </a:cubicBezTo>
                <a:cubicBezTo>
                  <a:pt x="3014" y="4760"/>
                  <a:pt x="3038" y="4710"/>
                  <a:pt x="3038" y="4647"/>
                </a:cubicBezTo>
                <a:cubicBezTo>
                  <a:pt x="3038" y="4585"/>
                  <a:pt x="3014" y="4534"/>
                  <a:pt x="2984" y="4534"/>
                </a:cubicBezTo>
                <a:close/>
                <a:moveTo>
                  <a:pt x="1139" y="5499"/>
                </a:moveTo>
                <a:cubicBezTo>
                  <a:pt x="1109" y="5499"/>
                  <a:pt x="1085" y="5549"/>
                  <a:pt x="1085" y="5612"/>
                </a:cubicBezTo>
                <a:cubicBezTo>
                  <a:pt x="1085" y="5674"/>
                  <a:pt x="1109" y="5725"/>
                  <a:pt x="1139" y="5725"/>
                </a:cubicBezTo>
                <a:cubicBezTo>
                  <a:pt x="1169" y="5725"/>
                  <a:pt x="1193" y="5674"/>
                  <a:pt x="1193" y="5612"/>
                </a:cubicBezTo>
                <a:cubicBezTo>
                  <a:pt x="1193" y="5549"/>
                  <a:pt x="1169" y="5499"/>
                  <a:pt x="1139" y="5499"/>
                </a:cubicBezTo>
                <a:close/>
                <a:moveTo>
                  <a:pt x="1291" y="5499"/>
                </a:moveTo>
                <a:cubicBezTo>
                  <a:pt x="1261" y="5499"/>
                  <a:pt x="1237" y="5549"/>
                  <a:pt x="1237" y="5612"/>
                </a:cubicBezTo>
                <a:cubicBezTo>
                  <a:pt x="1237" y="5674"/>
                  <a:pt x="1261" y="5725"/>
                  <a:pt x="1291" y="5725"/>
                </a:cubicBezTo>
                <a:cubicBezTo>
                  <a:pt x="1321" y="5725"/>
                  <a:pt x="1345" y="5674"/>
                  <a:pt x="1345" y="5612"/>
                </a:cubicBezTo>
                <a:cubicBezTo>
                  <a:pt x="1345" y="5549"/>
                  <a:pt x="1321" y="5499"/>
                  <a:pt x="1291" y="5499"/>
                </a:cubicBezTo>
                <a:close/>
                <a:moveTo>
                  <a:pt x="1291" y="5172"/>
                </a:moveTo>
                <a:cubicBezTo>
                  <a:pt x="1261" y="5172"/>
                  <a:pt x="1237" y="5223"/>
                  <a:pt x="1237" y="5285"/>
                </a:cubicBezTo>
                <a:cubicBezTo>
                  <a:pt x="1237" y="5348"/>
                  <a:pt x="1261" y="5398"/>
                  <a:pt x="1291" y="5398"/>
                </a:cubicBezTo>
                <a:cubicBezTo>
                  <a:pt x="1321" y="5398"/>
                  <a:pt x="1345" y="5348"/>
                  <a:pt x="1345" y="5285"/>
                </a:cubicBezTo>
                <a:cubicBezTo>
                  <a:pt x="1345" y="5223"/>
                  <a:pt x="1321" y="5172"/>
                  <a:pt x="1291" y="5172"/>
                </a:cubicBezTo>
                <a:close/>
                <a:moveTo>
                  <a:pt x="1445" y="5499"/>
                </a:moveTo>
                <a:cubicBezTo>
                  <a:pt x="1415" y="5499"/>
                  <a:pt x="1391" y="5549"/>
                  <a:pt x="1391" y="5612"/>
                </a:cubicBezTo>
                <a:cubicBezTo>
                  <a:pt x="1391" y="5674"/>
                  <a:pt x="1415" y="5725"/>
                  <a:pt x="1445" y="5725"/>
                </a:cubicBezTo>
                <a:cubicBezTo>
                  <a:pt x="1474" y="5725"/>
                  <a:pt x="1498" y="5674"/>
                  <a:pt x="1498" y="5612"/>
                </a:cubicBezTo>
                <a:cubicBezTo>
                  <a:pt x="1498" y="5549"/>
                  <a:pt x="1474" y="5499"/>
                  <a:pt x="1445" y="5499"/>
                </a:cubicBezTo>
                <a:close/>
                <a:moveTo>
                  <a:pt x="1445" y="5172"/>
                </a:moveTo>
                <a:cubicBezTo>
                  <a:pt x="1415" y="5172"/>
                  <a:pt x="1391" y="5223"/>
                  <a:pt x="1391" y="5285"/>
                </a:cubicBezTo>
                <a:cubicBezTo>
                  <a:pt x="1391" y="5348"/>
                  <a:pt x="1415" y="5398"/>
                  <a:pt x="1445" y="5398"/>
                </a:cubicBezTo>
                <a:cubicBezTo>
                  <a:pt x="1474" y="5398"/>
                  <a:pt x="1498" y="5348"/>
                  <a:pt x="1498" y="5285"/>
                </a:cubicBezTo>
                <a:cubicBezTo>
                  <a:pt x="1498" y="5223"/>
                  <a:pt x="1474" y="5172"/>
                  <a:pt x="1445" y="5172"/>
                </a:cubicBezTo>
                <a:close/>
                <a:moveTo>
                  <a:pt x="1597" y="5499"/>
                </a:moveTo>
                <a:cubicBezTo>
                  <a:pt x="1567" y="5499"/>
                  <a:pt x="1543" y="5549"/>
                  <a:pt x="1543" y="5612"/>
                </a:cubicBezTo>
                <a:cubicBezTo>
                  <a:pt x="1543" y="5674"/>
                  <a:pt x="1567" y="5725"/>
                  <a:pt x="1597" y="5725"/>
                </a:cubicBezTo>
                <a:cubicBezTo>
                  <a:pt x="1627" y="5725"/>
                  <a:pt x="1651" y="5674"/>
                  <a:pt x="1651" y="5612"/>
                </a:cubicBezTo>
                <a:cubicBezTo>
                  <a:pt x="1651" y="5549"/>
                  <a:pt x="1627" y="5499"/>
                  <a:pt x="1597" y="5499"/>
                </a:cubicBezTo>
                <a:close/>
                <a:moveTo>
                  <a:pt x="1597" y="5172"/>
                </a:moveTo>
                <a:cubicBezTo>
                  <a:pt x="1567" y="5172"/>
                  <a:pt x="1543" y="5223"/>
                  <a:pt x="1543" y="5285"/>
                </a:cubicBezTo>
                <a:cubicBezTo>
                  <a:pt x="1543" y="5348"/>
                  <a:pt x="1567" y="5398"/>
                  <a:pt x="1597" y="5398"/>
                </a:cubicBezTo>
                <a:cubicBezTo>
                  <a:pt x="1627" y="5398"/>
                  <a:pt x="1651" y="5348"/>
                  <a:pt x="1651" y="5285"/>
                </a:cubicBezTo>
                <a:cubicBezTo>
                  <a:pt x="1651" y="5223"/>
                  <a:pt x="1627" y="5172"/>
                  <a:pt x="1597" y="5172"/>
                </a:cubicBezTo>
                <a:close/>
                <a:moveTo>
                  <a:pt x="2057" y="5499"/>
                </a:moveTo>
                <a:cubicBezTo>
                  <a:pt x="2027" y="5499"/>
                  <a:pt x="2003" y="5549"/>
                  <a:pt x="2003" y="5612"/>
                </a:cubicBezTo>
                <a:cubicBezTo>
                  <a:pt x="2003" y="5674"/>
                  <a:pt x="2027" y="5725"/>
                  <a:pt x="2057" y="5725"/>
                </a:cubicBezTo>
                <a:cubicBezTo>
                  <a:pt x="2087" y="5725"/>
                  <a:pt x="2111" y="5674"/>
                  <a:pt x="2111" y="5612"/>
                </a:cubicBezTo>
                <a:cubicBezTo>
                  <a:pt x="2111" y="5549"/>
                  <a:pt x="2087" y="5499"/>
                  <a:pt x="2057" y="5499"/>
                </a:cubicBezTo>
                <a:close/>
                <a:moveTo>
                  <a:pt x="2057" y="5172"/>
                </a:moveTo>
                <a:cubicBezTo>
                  <a:pt x="2027" y="5172"/>
                  <a:pt x="2003" y="5223"/>
                  <a:pt x="2003" y="5285"/>
                </a:cubicBezTo>
                <a:cubicBezTo>
                  <a:pt x="2003" y="5348"/>
                  <a:pt x="2027" y="5398"/>
                  <a:pt x="2057" y="5398"/>
                </a:cubicBezTo>
                <a:cubicBezTo>
                  <a:pt x="2087" y="5398"/>
                  <a:pt x="2111" y="5348"/>
                  <a:pt x="2111" y="5285"/>
                </a:cubicBezTo>
                <a:cubicBezTo>
                  <a:pt x="2111" y="5223"/>
                  <a:pt x="2087" y="5172"/>
                  <a:pt x="2057" y="5172"/>
                </a:cubicBezTo>
                <a:close/>
                <a:moveTo>
                  <a:pt x="1903" y="5499"/>
                </a:moveTo>
                <a:cubicBezTo>
                  <a:pt x="1873" y="5499"/>
                  <a:pt x="1849" y="5549"/>
                  <a:pt x="1849" y="5612"/>
                </a:cubicBezTo>
                <a:cubicBezTo>
                  <a:pt x="1849" y="5674"/>
                  <a:pt x="1873" y="5725"/>
                  <a:pt x="1903" y="5725"/>
                </a:cubicBezTo>
                <a:cubicBezTo>
                  <a:pt x="1933" y="5725"/>
                  <a:pt x="1957" y="5674"/>
                  <a:pt x="1957" y="5612"/>
                </a:cubicBezTo>
                <a:cubicBezTo>
                  <a:pt x="1957" y="5549"/>
                  <a:pt x="1933" y="5499"/>
                  <a:pt x="1903" y="5499"/>
                </a:cubicBezTo>
                <a:close/>
                <a:moveTo>
                  <a:pt x="1903" y="5172"/>
                </a:moveTo>
                <a:cubicBezTo>
                  <a:pt x="1873" y="5172"/>
                  <a:pt x="1849" y="5223"/>
                  <a:pt x="1849" y="5285"/>
                </a:cubicBezTo>
                <a:cubicBezTo>
                  <a:pt x="1849" y="5348"/>
                  <a:pt x="1873" y="5398"/>
                  <a:pt x="1903" y="5398"/>
                </a:cubicBezTo>
                <a:cubicBezTo>
                  <a:pt x="1933" y="5398"/>
                  <a:pt x="1957" y="5348"/>
                  <a:pt x="1957" y="5285"/>
                </a:cubicBezTo>
                <a:cubicBezTo>
                  <a:pt x="1957" y="5223"/>
                  <a:pt x="1933" y="5172"/>
                  <a:pt x="1903" y="5172"/>
                </a:cubicBezTo>
                <a:close/>
                <a:moveTo>
                  <a:pt x="1750" y="5499"/>
                </a:moveTo>
                <a:cubicBezTo>
                  <a:pt x="1721" y="5499"/>
                  <a:pt x="1697" y="5549"/>
                  <a:pt x="1697" y="5612"/>
                </a:cubicBezTo>
                <a:cubicBezTo>
                  <a:pt x="1697" y="5674"/>
                  <a:pt x="1721" y="5725"/>
                  <a:pt x="1750" y="5725"/>
                </a:cubicBezTo>
                <a:cubicBezTo>
                  <a:pt x="1780" y="5725"/>
                  <a:pt x="1804" y="5674"/>
                  <a:pt x="1804" y="5612"/>
                </a:cubicBezTo>
                <a:cubicBezTo>
                  <a:pt x="1804" y="5549"/>
                  <a:pt x="1780" y="5499"/>
                  <a:pt x="1750" y="5499"/>
                </a:cubicBezTo>
                <a:close/>
                <a:moveTo>
                  <a:pt x="1750" y="5172"/>
                </a:moveTo>
                <a:cubicBezTo>
                  <a:pt x="1721" y="5172"/>
                  <a:pt x="1697" y="5223"/>
                  <a:pt x="1697" y="5285"/>
                </a:cubicBezTo>
                <a:cubicBezTo>
                  <a:pt x="1697" y="5348"/>
                  <a:pt x="1721" y="5398"/>
                  <a:pt x="1750" y="5398"/>
                </a:cubicBezTo>
                <a:cubicBezTo>
                  <a:pt x="1780" y="5398"/>
                  <a:pt x="1804" y="5348"/>
                  <a:pt x="1804" y="5285"/>
                </a:cubicBezTo>
                <a:cubicBezTo>
                  <a:pt x="1804" y="5223"/>
                  <a:pt x="1780" y="5172"/>
                  <a:pt x="1750" y="5172"/>
                </a:cubicBezTo>
                <a:close/>
                <a:moveTo>
                  <a:pt x="2830" y="5499"/>
                </a:moveTo>
                <a:cubicBezTo>
                  <a:pt x="2801" y="5499"/>
                  <a:pt x="2776" y="5549"/>
                  <a:pt x="2776" y="5612"/>
                </a:cubicBezTo>
                <a:cubicBezTo>
                  <a:pt x="2776" y="5674"/>
                  <a:pt x="2801" y="5725"/>
                  <a:pt x="2830" y="5725"/>
                </a:cubicBezTo>
                <a:cubicBezTo>
                  <a:pt x="2860" y="5725"/>
                  <a:pt x="2884" y="5674"/>
                  <a:pt x="2884" y="5612"/>
                </a:cubicBezTo>
                <a:cubicBezTo>
                  <a:pt x="2884" y="5549"/>
                  <a:pt x="2860" y="5499"/>
                  <a:pt x="2830" y="5499"/>
                </a:cubicBezTo>
                <a:close/>
                <a:moveTo>
                  <a:pt x="2830" y="5172"/>
                </a:moveTo>
                <a:cubicBezTo>
                  <a:pt x="2801" y="5172"/>
                  <a:pt x="2776" y="5223"/>
                  <a:pt x="2776" y="5285"/>
                </a:cubicBezTo>
                <a:cubicBezTo>
                  <a:pt x="2776" y="5348"/>
                  <a:pt x="2801" y="5398"/>
                  <a:pt x="2830" y="5398"/>
                </a:cubicBezTo>
                <a:cubicBezTo>
                  <a:pt x="2860" y="5398"/>
                  <a:pt x="2884" y="5348"/>
                  <a:pt x="2884" y="5285"/>
                </a:cubicBezTo>
                <a:cubicBezTo>
                  <a:pt x="2884" y="5223"/>
                  <a:pt x="2860" y="5172"/>
                  <a:pt x="2830" y="5172"/>
                </a:cubicBezTo>
                <a:close/>
                <a:moveTo>
                  <a:pt x="2678" y="5499"/>
                </a:moveTo>
                <a:cubicBezTo>
                  <a:pt x="2648" y="5499"/>
                  <a:pt x="2624" y="5549"/>
                  <a:pt x="2624" y="5612"/>
                </a:cubicBezTo>
                <a:cubicBezTo>
                  <a:pt x="2624" y="5674"/>
                  <a:pt x="2648" y="5725"/>
                  <a:pt x="2678" y="5725"/>
                </a:cubicBezTo>
                <a:cubicBezTo>
                  <a:pt x="2707" y="5725"/>
                  <a:pt x="2731" y="5674"/>
                  <a:pt x="2731" y="5612"/>
                </a:cubicBezTo>
                <a:cubicBezTo>
                  <a:pt x="2731" y="5549"/>
                  <a:pt x="2707" y="5499"/>
                  <a:pt x="2678" y="5499"/>
                </a:cubicBezTo>
                <a:close/>
                <a:moveTo>
                  <a:pt x="2678" y="5172"/>
                </a:moveTo>
                <a:cubicBezTo>
                  <a:pt x="2648" y="5172"/>
                  <a:pt x="2624" y="5223"/>
                  <a:pt x="2624" y="5285"/>
                </a:cubicBezTo>
                <a:cubicBezTo>
                  <a:pt x="2624" y="5348"/>
                  <a:pt x="2648" y="5398"/>
                  <a:pt x="2678" y="5398"/>
                </a:cubicBezTo>
                <a:cubicBezTo>
                  <a:pt x="2707" y="5398"/>
                  <a:pt x="2731" y="5348"/>
                  <a:pt x="2731" y="5285"/>
                </a:cubicBezTo>
                <a:cubicBezTo>
                  <a:pt x="2731" y="5223"/>
                  <a:pt x="2707" y="5172"/>
                  <a:pt x="2678" y="5172"/>
                </a:cubicBezTo>
                <a:close/>
                <a:moveTo>
                  <a:pt x="2522" y="5499"/>
                </a:moveTo>
                <a:cubicBezTo>
                  <a:pt x="2493" y="5499"/>
                  <a:pt x="2469" y="5549"/>
                  <a:pt x="2469" y="5612"/>
                </a:cubicBezTo>
                <a:cubicBezTo>
                  <a:pt x="2469" y="5674"/>
                  <a:pt x="2493" y="5725"/>
                  <a:pt x="2522" y="5725"/>
                </a:cubicBezTo>
                <a:cubicBezTo>
                  <a:pt x="2552" y="5725"/>
                  <a:pt x="2576" y="5674"/>
                  <a:pt x="2576" y="5612"/>
                </a:cubicBezTo>
                <a:cubicBezTo>
                  <a:pt x="2576" y="5549"/>
                  <a:pt x="2552" y="5499"/>
                  <a:pt x="2522" y="5499"/>
                </a:cubicBezTo>
                <a:close/>
                <a:moveTo>
                  <a:pt x="2522" y="5172"/>
                </a:moveTo>
                <a:cubicBezTo>
                  <a:pt x="2493" y="5172"/>
                  <a:pt x="2469" y="5223"/>
                  <a:pt x="2469" y="5285"/>
                </a:cubicBezTo>
                <a:cubicBezTo>
                  <a:pt x="2469" y="5348"/>
                  <a:pt x="2493" y="5398"/>
                  <a:pt x="2522" y="5398"/>
                </a:cubicBezTo>
                <a:cubicBezTo>
                  <a:pt x="2552" y="5398"/>
                  <a:pt x="2576" y="5348"/>
                  <a:pt x="2576" y="5285"/>
                </a:cubicBezTo>
                <a:cubicBezTo>
                  <a:pt x="2576" y="5223"/>
                  <a:pt x="2552" y="5172"/>
                  <a:pt x="2522" y="5172"/>
                </a:cubicBezTo>
                <a:close/>
                <a:moveTo>
                  <a:pt x="2368" y="5499"/>
                </a:moveTo>
                <a:cubicBezTo>
                  <a:pt x="2339" y="5499"/>
                  <a:pt x="2315" y="5549"/>
                  <a:pt x="2315" y="5612"/>
                </a:cubicBezTo>
                <a:cubicBezTo>
                  <a:pt x="2315" y="5674"/>
                  <a:pt x="2339" y="5725"/>
                  <a:pt x="2368" y="5725"/>
                </a:cubicBezTo>
                <a:cubicBezTo>
                  <a:pt x="2398" y="5725"/>
                  <a:pt x="2422" y="5674"/>
                  <a:pt x="2422" y="5612"/>
                </a:cubicBezTo>
                <a:cubicBezTo>
                  <a:pt x="2422" y="5549"/>
                  <a:pt x="2398" y="5499"/>
                  <a:pt x="2368" y="5499"/>
                </a:cubicBezTo>
                <a:close/>
                <a:moveTo>
                  <a:pt x="2368" y="5172"/>
                </a:moveTo>
                <a:cubicBezTo>
                  <a:pt x="2339" y="5172"/>
                  <a:pt x="2315" y="5223"/>
                  <a:pt x="2315" y="5285"/>
                </a:cubicBezTo>
                <a:cubicBezTo>
                  <a:pt x="2315" y="5348"/>
                  <a:pt x="2339" y="5398"/>
                  <a:pt x="2368" y="5398"/>
                </a:cubicBezTo>
                <a:cubicBezTo>
                  <a:pt x="2398" y="5398"/>
                  <a:pt x="2422" y="5348"/>
                  <a:pt x="2422" y="5285"/>
                </a:cubicBezTo>
                <a:cubicBezTo>
                  <a:pt x="2422" y="5223"/>
                  <a:pt x="2398" y="5172"/>
                  <a:pt x="2368" y="5172"/>
                </a:cubicBezTo>
                <a:close/>
                <a:moveTo>
                  <a:pt x="2216" y="5499"/>
                </a:moveTo>
                <a:cubicBezTo>
                  <a:pt x="2186" y="5499"/>
                  <a:pt x="2162" y="5549"/>
                  <a:pt x="2162" y="5612"/>
                </a:cubicBezTo>
                <a:cubicBezTo>
                  <a:pt x="2162" y="5674"/>
                  <a:pt x="2186" y="5725"/>
                  <a:pt x="2216" y="5725"/>
                </a:cubicBezTo>
                <a:cubicBezTo>
                  <a:pt x="2245" y="5725"/>
                  <a:pt x="2269" y="5674"/>
                  <a:pt x="2269" y="5612"/>
                </a:cubicBezTo>
                <a:cubicBezTo>
                  <a:pt x="2269" y="5549"/>
                  <a:pt x="2245" y="5499"/>
                  <a:pt x="2216" y="5499"/>
                </a:cubicBezTo>
                <a:close/>
                <a:moveTo>
                  <a:pt x="2216" y="5172"/>
                </a:moveTo>
                <a:cubicBezTo>
                  <a:pt x="2186" y="5172"/>
                  <a:pt x="2162" y="5223"/>
                  <a:pt x="2162" y="5285"/>
                </a:cubicBezTo>
                <a:cubicBezTo>
                  <a:pt x="2162" y="5348"/>
                  <a:pt x="2186" y="5398"/>
                  <a:pt x="2216" y="5398"/>
                </a:cubicBezTo>
                <a:cubicBezTo>
                  <a:pt x="2245" y="5398"/>
                  <a:pt x="2269" y="5348"/>
                  <a:pt x="2269" y="5285"/>
                </a:cubicBezTo>
                <a:cubicBezTo>
                  <a:pt x="2269" y="5223"/>
                  <a:pt x="2245" y="5172"/>
                  <a:pt x="2216" y="5172"/>
                </a:cubicBezTo>
                <a:close/>
                <a:moveTo>
                  <a:pt x="3598" y="5499"/>
                </a:moveTo>
                <a:cubicBezTo>
                  <a:pt x="3569" y="5499"/>
                  <a:pt x="3545" y="5549"/>
                  <a:pt x="3545" y="5612"/>
                </a:cubicBezTo>
                <a:cubicBezTo>
                  <a:pt x="3545" y="5674"/>
                  <a:pt x="3569" y="5725"/>
                  <a:pt x="3598" y="5725"/>
                </a:cubicBezTo>
                <a:cubicBezTo>
                  <a:pt x="3628" y="5725"/>
                  <a:pt x="3652" y="5674"/>
                  <a:pt x="3652" y="5612"/>
                </a:cubicBezTo>
                <a:cubicBezTo>
                  <a:pt x="3652" y="5549"/>
                  <a:pt x="3628" y="5499"/>
                  <a:pt x="3598" y="5499"/>
                </a:cubicBezTo>
                <a:close/>
                <a:moveTo>
                  <a:pt x="3598" y="5172"/>
                </a:moveTo>
                <a:cubicBezTo>
                  <a:pt x="3569" y="5172"/>
                  <a:pt x="3545" y="5223"/>
                  <a:pt x="3545" y="5285"/>
                </a:cubicBezTo>
                <a:cubicBezTo>
                  <a:pt x="3545" y="5348"/>
                  <a:pt x="3569" y="5398"/>
                  <a:pt x="3598" y="5398"/>
                </a:cubicBezTo>
                <a:cubicBezTo>
                  <a:pt x="3628" y="5398"/>
                  <a:pt x="3652" y="5348"/>
                  <a:pt x="3652" y="5285"/>
                </a:cubicBezTo>
                <a:cubicBezTo>
                  <a:pt x="3652" y="5223"/>
                  <a:pt x="3628" y="5172"/>
                  <a:pt x="3598" y="5172"/>
                </a:cubicBezTo>
                <a:close/>
                <a:moveTo>
                  <a:pt x="3446" y="5725"/>
                </a:moveTo>
                <a:cubicBezTo>
                  <a:pt x="3475" y="5725"/>
                  <a:pt x="3500" y="5674"/>
                  <a:pt x="3500" y="5612"/>
                </a:cubicBezTo>
                <a:cubicBezTo>
                  <a:pt x="3500" y="5549"/>
                  <a:pt x="3475" y="5499"/>
                  <a:pt x="3446" y="5499"/>
                </a:cubicBezTo>
                <a:cubicBezTo>
                  <a:pt x="3416" y="5499"/>
                  <a:pt x="3392" y="5549"/>
                  <a:pt x="3392" y="5612"/>
                </a:cubicBezTo>
                <a:cubicBezTo>
                  <a:pt x="3392" y="5674"/>
                  <a:pt x="3416" y="5725"/>
                  <a:pt x="3446" y="5725"/>
                </a:cubicBezTo>
                <a:close/>
                <a:moveTo>
                  <a:pt x="3446" y="5398"/>
                </a:moveTo>
                <a:cubicBezTo>
                  <a:pt x="3475" y="5398"/>
                  <a:pt x="3500" y="5348"/>
                  <a:pt x="3500" y="5285"/>
                </a:cubicBezTo>
                <a:cubicBezTo>
                  <a:pt x="3500" y="5223"/>
                  <a:pt x="3475" y="5172"/>
                  <a:pt x="3446" y="5172"/>
                </a:cubicBezTo>
                <a:cubicBezTo>
                  <a:pt x="3416" y="5172"/>
                  <a:pt x="3392" y="5223"/>
                  <a:pt x="3392" y="5285"/>
                </a:cubicBezTo>
                <a:cubicBezTo>
                  <a:pt x="3392" y="5348"/>
                  <a:pt x="3416" y="5398"/>
                  <a:pt x="3446" y="5398"/>
                </a:cubicBezTo>
                <a:close/>
                <a:moveTo>
                  <a:pt x="3290" y="5725"/>
                </a:moveTo>
                <a:cubicBezTo>
                  <a:pt x="3320" y="5725"/>
                  <a:pt x="3344" y="5674"/>
                  <a:pt x="3344" y="5612"/>
                </a:cubicBezTo>
                <a:cubicBezTo>
                  <a:pt x="3344" y="5549"/>
                  <a:pt x="3320" y="5499"/>
                  <a:pt x="3290" y="5499"/>
                </a:cubicBezTo>
                <a:cubicBezTo>
                  <a:pt x="3261" y="5499"/>
                  <a:pt x="3237" y="5549"/>
                  <a:pt x="3237" y="5612"/>
                </a:cubicBezTo>
                <a:cubicBezTo>
                  <a:pt x="3237" y="5674"/>
                  <a:pt x="3261" y="5725"/>
                  <a:pt x="3290" y="5725"/>
                </a:cubicBezTo>
                <a:close/>
                <a:moveTo>
                  <a:pt x="3290" y="5398"/>
                </a:moveTo>
                <a:cubicBezTo>
                  <a:pt x="3320" y="5398"/>
                  <a:pt x="3344" y="5348"/>
                  <a:pt x="3344" y="5285"/>
                </a:cubicBezTo>
                <a:cubicBezTo>
                  <a:pt x="3344" y="5223"/>
                  <a:pt x="3320" y="5172"/>
                  <a:pt x="3290" y="5172"/>
                </a:cubicBezTo>
                <a:cubicBezTo>
                  <a:pt x="3261" y="5172"/>
                  <a:pt x="3237" y="5223"/>
                  <a:pt x="3237" y="5285"/>
                </a:cubicBezTo>
                <a:cubicBezTo>
                  <a:pt x="3237" y="5348"/>
                  <a:pt x="3261" y="5398"/>
                  <a:pt x="3290" y="5398"/>
                </a:cubicBezTo>
                <a:close/>
                <a:moveTo>
                  <a:pt x="3136" y="5499"/>
                </a:moveTo>
                <a:cubicBezTo>
                  <a:pt x="3107" y="5499"/>
                  <a:pt x="3083" y="5549"/>
                  <a:pt x="3083" y="5612"/>
                </a:cubicBezTo>
                <a:cubicBezTo>
                  <a:pt x="3083" y="5674"/>
                  <a:pt x="3107" y="5725"/>
                  <a:pt x="3136" y="5725"/>
                </a:cubicBezTo>
                <a:cubicBezTo>
                  <a:pt x="3166" y="5725"/>
                  <a:pt x="3190" y="5674"/>
                  <a:pt x="3190" y="5612"/>
                </a:cubicBezTo>
                <a:cubicBezTo>
                  <a:pt x="3190" y="5549"/>
                  <a:pt x="3166" y="5499"/>
                  <a:pt x="3136" y="5499"/>
                </a:cubicBezTo>
                <a:close/>
                <a:moveTo>
                  <a:pt x="3136" y="5172"/>
                </a:moveTo>
                <a:cubicBezTo>
                  <a:pt x="3107" y="5172"/>
                  <a:pt x="3083" y="5223"/>
                  <a:pt x="3083" y="5285"/>
                </a:cubicBezTo>
                <a:cubicBezTo>
                  <a:pt x="3083" y="5348"/>
                  <a:pt x="3107" y="5398"/>
                  <a:pt x="3136" y="5398"/>
                </a:cubicBezTo>
                <a:cubicBezTo>
                  <a:pt x="3166" y="5398"/>
                  <a:pt x="3190" y="5348"/>
                  <a:pt x="3190" y="5285"/>
                </a:cubicBezTo>
                <a:cubicBezTo>
                  <a:pt x="3190" y="5223"/>
                  <a:pt x="3166" y="5172"/>
                  <a:pt x="3136" y="5172"/>
                </a:cubicBezTo>
                <a:close/>
                <a:moveTo>
                  <a:pt x="2984" y="5499"/>
                </a:moveTo>
                <a:cubicBezTo>
                  <a:pt x="2954" y="5499"/>
                  <a:pt x="2930" y="5549"/>
                  <a:pt x="2930" y="5612"/>
                </a:cubicBezTo>
                <a:cubicBezTo>
                  <a:pt x="2930" y="5674"/>
                  <a:pt x="2954" y="5725"/>
                  <a:pt x="2984" y="5725"/>
                </a:cubicBezTo>
                <a:cubicBezTo>
                  <a:pt x="3014" y="5725"/>
                  <a:pt x="3038" y="5674"/>
                  <a:pt x="3038" y="5612"/>
                </a:cubicBezTo>
                <a:cubicBezTo>
                  <a:pt x="3038" y="5549"/>
                  <a:pt x="3014" y="5499"/>
                  <a:pt x="2984" y="5499"/>
                </a:cubicBezTo>
                <a:close/>
                <a:moveTo>
                  <a:pt x="2984" y="5172"/>
                </a:moveTo>
                <a:cubicBezTo>
                  <a:pt x="2954" y="5172"/>
                  <a:pt x="2930" y="5223"/>
                  <a:pt x="2930" y="5285"/>
                </a:cubicBezTo>
                <a:cubicBezTo>
                  <a:pt x="2930" y="5348"/>
                  <a:pt x="2954" y="5398"/>
                  <a:pt x="2984" y="5398"/>
                </a:cubicBezTo>
                <a:cubicBezTo>
                  <a:pt x="3014" y="5398"/>
                  <a:pt x="3038" y="5348"/>
                  <a:pt x="3038" y="5285"/>
                </a:cubicBezTo>
                <a:cubicBezTo>
                  <a:pt x="3038" y="5223"/>
                  <a:pt x="3014" y="5172"/>
                  <a:pt x="2984" y="5172"/>
                </a:cubicBezTo>
                <a:close/>
                <a:moveTo>
                  <a:pt x="1597" y="6148"/>
                </a:moveTo>
                <a:cubicBezTo>
                  <a:pt x="1567" y="6148"/>
                  <a:pt x="1543" y="6198"/>
                  <a:pt x="1543" y="6261"/>
                </a:cubicBezTo>
                <a:cubicBezTo>
                  <a:pt x="1543" y="6323"/>
                  <a:pt x="1567" y="6374"/>
                  <a:pt x="1597" y="6374"/>
                </a:cubicBezTo>
                <a:cubicBezTo>
                  <a:pt x="1627" y="6374"/>
                  <a:pt x="1651" y="6323"/>
                  <a:pt x="1651" y="6261"/>
                </a:cubicBezTo>
                <a:cubicBezTo>
                  <a:pt x="1651" y="6198"/>
                  <a:pt x="1627" y="6148"/>
                  <a:pt x="1597" y="6148"/>
                </a:cubicBezTo>
                <a:close/>
                <a:moveTo>
                  <a:pt x="1597" y="5821"/>
                </a:moveTo>
                <a:cubicBezTo>
                  <a:pt x="1567" y="5821"/>
                  <a:pt x="1543" y="5872"/>
                  <a:pt x="1543" y="5934"/>
                </a:cubicBezTo>
                <a:cubicBezTo>
                  <a:pt x="1543" y="5996"/>
                  <a:pt x="1567" y="6047"/>
                  <a:pt x="1597" y="6047"/>
                </a:cubicBezTo>
                <a:cubicBezTo>
                  <a:pt x="1627" y="6047"/>
                  <a:pt x="1651" y="5996"/>
                  <a:pt x="1651" y="5934"/>
                </a:cubicBezTo>
                <a:cubicBezTo>
                  <a:pt x="1651" y="5872"/>
                  <a:pt x="1627" y="5821"/>
                  <a:pt x="1597" y="5821"/>
                </a:cubicBezTo>
                <a:close/>
                <a:moveTo>
                  <a:pt x="1444" y="6374"/>
                </a:moveTo>
                <a:cubicBezTo>
                  <a:pt x="1474" y="6374"/>
                  <a:pt x="1498" y="6323"/>
                  <a:pt x="1498" y="6261"/>
                </a:cubicBezTo>
                <a:cubicBezTo>
                  <a:pt x="1498" y="6198"/>
                  <a:pt x="1474" y="6148"/>
                  <a:pt x="1444" y="6148"/>
                </a:cubicBezTo>
                <a:cubicBezTo>
                  <a:pt x="1415" y="6148"/>
                  <a:pt x="1390" y="6198"/>
                  <a:pt x="1390" y="6261"/>
                </a:cubicBezTo>
                <a:cubicBezTo>
                  <a:pt x="1390" y="6323"/>
                  <a:pt x="1415" y="6374"/>
                  <a:pt x="1444" y="6374"/>
                </a:cubicBezTo>
                <a:close/>
                <a:moveTo>
                  <a:pt x="1444" y="6047"/>
                </a:moveTo>
                <a:cubicBezTo>
                  <a:pt x="1474" y="6047"/>
                  <a:pt x="1498" y="5996"/>
                  <a:pt x="1498" y="5934"/>
                </a:cubicBezTo>
                <a:cubicBezTo>
                  <a:pt x="1498" y="5872"/>
                  <a:pt x="1474" y="5821"/>
                  <a:pt x="1444" y="5821"/>
                </a:cubicBezTo>
                <a:cubicBezTo>
                  <a:pt x="1415" y="5821"/>
                  <a:pt x="1390" y="5872"/>
                  <a:pt x="1390" y="5934"/>
                </a:cubicBezTo>
                <a:cubicBezTo>
                  <a:pt x="1390" y="5996"/>
                  <a:pt x="1415" y="6047"/>
                  <a:pt x="1444" y="6047"/>
                </a:cubicBezTo>
                <a:close/>
                <a:moveTo>
                  <a:pt x="2057" y="6148"/>
                </a:moveTo>
                <a:cubicBezTo>
                  <a:pt x="2027" y="6148"/>
                  <a:pt x="2003" y="6198"/>
                  <a:pt x="2003" y="6261"/>
                </a:cubicBezTo>
                <a:cubicBezTo>
                  <a:pt x="2003" y="6323"/>
                  <a:pt x="2027" y="6374"/>
                  <a:pt x="2057" y="6374"/>
                </a:cubicBezTo>
                <a:cubicBezTo>
                  <a:pt x="2087" y="6374"/>
                  <a:pt x="2111" y="6323"/>
                  <a:pt x="2111" y="6261"/>
                </a:cubicBezTo>
                <a:cubicBezTo>
                  <a:pt x="2111" y="6198"/>
                  <a:pt x="2087" y="6148"/>
                  <a:pt x="2057" y="6148"/>
                </a:cubicBezTo>
                <a:close/>
                <a:moveTo>
                  <a:pt x="2057" y="5821"/>
                </a:moveTo>
                <a:cubicBezTo>
                  <a:pt x="2027" y="5821"/>
                  <a:pt x="2003" y="5872"/>
                  <a:pt x="2003" y="5934"/>
                </a:cubicBezTo>
                <a:cubicBezTo>
                  <a:pt x="2003" y="5996"/>
                  <a:pt x="2027" y="6047"/>
                  <a:pt x="2057" y="6047"/>
                </a:cubicBezTo>
                <a:cubicBezTo>
                  <a:pt x="2087" y="6047"/>
                  <a:pt x="2111" y="5996"/>
                  <a:pt x="2111" y="5934"/>
                </a:cubicBezTo>
                <a:cubicBezTo>
                  <a:pt x="2111" y="5872"/>
                  <a:pt x="2087" y="5821"/>
                  <a:pt x="2057" y="5821"/>
                </a:cubicBezTo>
                <a:close/>
                <a:moveTo>
                  <a:pt x="1903" y="6148"/>
                </a:moveTo>
                <a:cubicBezTo>
                  <a:pt x="1873" y="6148"/>
                  <a:pt x="1849" y="6198"/>
                  <a:pt x="1849" y="6261"/>
                </a:cubicBezTo>
                <a:cubicBezTo>
                  <a:pt x="1849" y="6323"/>
                  <a:pt x="1873" y="6374"/>
                  <a:pt x="1903" y="6374"/>
                </a:cubicBezTo>
                <a:cubicBezTo>
                  <a:pt x="1933" y="6374"/>
                  <a:pt x="1957" y="6323"/>
                  <a:pt x="1957" y="6261"/>
                </a:cubicBezTo>
                <a:cubicBezTo>
                  <a:pt x="1957" y="6198"/>
                  <a:pt x="1933" y="6148"/>
                  <a:pt x="1903" y="6148"/>
                </a:cubicBezTo>
                <a:close/>
                <a:moveTo>
                  <a:pt x="1903" y="5821"/>
                </a:moveTo>
                <a:cubicBezTo>
                  <a:pt x="1873" y="5821"/>
                  <a:pt x="1849" y="5872"/>
                  <a:pt x="1849" y="5934"/>
                </a:cubicBezTo>
                <a:cubicBezTo>
                  <a:pt x="1849" y="5996"/>
                  <a:pt x="1873" y="6047"/>
                  <a:pt x="1903" y="6047"/>
                </a:cubicBezTo>
                <a:cubicBezTo>
                  <a:pt x="1933" y="6047"/>
                  <a:pt x="1957" y="5996"/>
                  <a:pt x="1957" y="5934"/>
                </a:cubicBezTo>
                <a:cubicBezTo>
                  <a:pt x="1957" y="5872"/>
                  <a:pt x="1933" y="5821"/>
                  <a:pt x="1903" y="5821"/>
                </a:cubicBezTo>
                <a:close/>
                <a:moveTo>
                  <a:pt x="1750" y="6148"/>
                </a:moveTo>
                <a:cubicBezTo>
                  <a:pt x="1721" y="6148"/>
                  <a:pt x="1697" y="6198"/>
                  <a:pt x="1697" y="6261"/>
                </a:cubicBezTo>
                <a:cubicBezTo>
                  <a:pt x="1697" y="6323"/>
                  <a:pt x="1721" y="6374"/>
                  <a:pt x="1750" y="6374"/>
                </a:cubicBezTo>
                <a:cubicBezTo>
                  <a:pt x="1780" y="6374"/>
                  <a:pt x="1804" y="6323"/>
                  <a:pt x="1804" y="6261"/>
                </a:cubicBezTo>
                <a:cubicBezTo>
                  <a:pt x="1804" y="6198"/>
                  <a:pt x="1780" y="6148"/>
                  <a:pt x="1750" y="6148"/>
                </a:cubicBezTo>
                <a:close/>
                <a:moveTo>
                  <a:pt x="1750" y="5821"/>
                </a:moveTo>
                <a:cubicBezTo>
                  <a:pt x="1721" y="5821"/>
                  <a:pt x="1697" y="5872"/>
                  <a:pt x="1697" y="5934"/>
                </a:cubicBezTo>
                <a:cubicBezTo>
                  <a:pt x="1697" y="5996"/>
                  <a:pt x="1721" y="6047"/>
                  <a:pt x="1750" y="6047"/>
                </a:cubicBezTo>
                <a:cubicBezTo>
                  <a:pt x="1780" y="6047"/>
                  <a:pt x="1804" y="5996"/>
                  <a:pt x="1804" y="5934"/>
                </a:cubicBezTo>
                <a:cubicBezTo>
                  <a:pt x="1804" y="5872"/>
                  <a:pt x="1780" y="5821"/>
                  <a:pt x="1750" y="5821"/>
                </a:cubicBezTo>
                <a:close/>
                <a:moveTo>
                  <a:pt x="2830" y="6148"/>
                </a:moveTo>
                <a:cubicBezTo>
                  <a:pt x="2801" y="6148"/>
                  <a:pt x="2776" y="6198"/>
                  <a:pt x="2776" y="6261"/>
                </a:cubicBezTo>
                <a:cubicBezTo>
                  <a:pt x="2776" y="6323"/>
                  <a:pt x="2801" y="6374"/>
                  <a:pt x="2830" y="6374"/>
                </a:cubicBezTo>
                <a:cubicBezTo>
                  <a:pt x="2860" y="6374"/>
                  <a:pt x="2884" y="6323"/>
                  <a:pt x="2884" y="6261"/>
                </a:cubicBezTo>
                <a:cubicBezTo>
                  <a:pt x="2884" y="6198"/>
                  <a:pt x="2860" y="6148"/>
                  <a:pt x="2830" y="6148"/>
                </a:cubicBezTo>
                <a:close/>
                <a:moveTo>
                  <a:pt x="2830" y="5821"/>
                </a:moveTo>
                <a:cubicBezTo>
                  <a:pt x="2801" y="5821"/>
                  <a:pt x="2776" y="5872"/>
                  <a:pt x="2776" y="5934"/>
                </a:cubicBezTo>
                <a:cubicBezTo>
                  <a:pt x="2776" y="5996"/>
                  <a:pt x="2801" y="6047"/>
                  <a:pt x="2830" y="6047"/>
                </a:cubicBezTo>
                <a:cubicBezTo>
                  <a:pt x="2860" y="6047"/>
                  <a:pt x="2884" y="5996"/>
                  <a:pt x="2884" y="5934"/>
                </a:cubicBezTo>
                <a:cubicBezTo>
                  <a:pt x="2884" y="5872"/>
                  <a:pt x="2860" y="5821"/>
                  <a:pt x="2830" y="5821"/>
                </a:cubicBezTo>
                <a:close/>
                <a:moveTo>
                  <a:pt x="2678" y="6148"/>
                </a:moveTo>
                <a:cubicBezTo>
                  <a:pt x="2648" y="6148"/>
                  <a:pt x="2624" y="6198"/>
                  <a:pt x="2624" y="6261"/>
                </a:cubicBezTo>
                <a:cubicBezTo>
                  <a:pt x="2624" y="6323"/>
                  <a:pt x="2648" y="6374"/>
                  <a:pt x="2678" y="6374"/>
                </a:cubicBezTo>
                <a:cubicBezTo>
                  <a:pt x="2707" y="6374"/>
                  <a:pt x="2731" y="6323"/>
                  <a:pt x="2731" y="6261"/>
                </a:cubicBezTo>
                <a:cubicBezTo>
                  <a:pt x="2731" y="6198"/>
                  <a:pt x="2707" y="6148"/>
                  <a:pt x="2678" y="6148"/>
                </a:cubicBezTo>
                <a:close/>
                <a:moveTo>
                  <a:pt x="2678" y="5821"/>
                </a:moveTo>
                <a:cubicBezTo>
                  <a:pt x="2648" y="5821"/>
                  <a:pt x="2624" y="5872"/>
                  <a:pt x="2624" y="5934"/>
                </a:cubicBezTo>
                <a:cubicBezTo>
                  <a:pt x="2624" y="5996"/>
                  <a:pt x="2648" y="6047"/>
                  <a:pt x="2678" y="6047"/>
                </a:cubicBezTo>
                <a:cubicBezTo>
                  <a:pt x="2707" y="6047"/>
                  <a:pt x="2731" y="5996"/>
                  <a:pt x="2731" y="5934"/>
                </a:cubicBezTo>
                <a:cubicBezTo>
                  <a:pt x="2731" y="5872"/>
                  <a:pt x="2707" y="5821"/>
                  <a:pt x="2678" y="5821"/>
                </a:cubicBezTo>
                <a:close/>
                <a:moveTo>
                  <a:pt x="2522" y="6148"/>
                </a:moveTo>
                <a:cubicBezTo>
                  <a:pt x="2493" y="6148"/>
                  <a:pt x="2469" y="6198"/>
                  <a:pt x="2469" y="6261"/>
                </a:cubicBezTo>
                <a:cubicBezTo>
                  <a:pt x="2469" y="6323"/>
                  <a:pt x="2493" y="6374"/>
                  <a:pt x="2522" y="6374"/>
                </a:cubicBezTo>
                <a:cubicBezTo>
                  <a:pt x="2552" y="6374"/>
                  <a:pt x="2576" y="6323"/>
                  <a:pt x="2576" y="6261"/>
                </a:cubicBezTo>
                <a:cubicBezTo>
                  <a:pt x="2576" y="6198"/>
                  <a:pt x="2552" y="6148"/>
                  <a:pt x="2522" y="6148"/>
                </a:cubicBezTo>
                <a:close/>
                <a:moveTo>
                  <a:pt x="2522" y="5821"/>
                </a:moveTo>
                <a:cubicBezTo>
                  <a:pt x="2493" y="5821"/>
                  <a:pt x="2469" y="5872"/>
                  <a:pt x="2469" y="5934"/>
                </a:cubicBezTo>
                <a:cubicBezTo>
                  <a:pt x="2469" y="5996"/>
                  <a:pt x="2493" y="6047"/>
                  <a:pt x="2522" y="6047"/>
                </a:cubicBezTo>
                <a:cubicBezTo>
                  <a:pt x="2552" y="6047"/>
                  <a:pt x="2576" y="5996"/>
                  <a:pt x="2576" y="5934"/>
                </a:cubicBezTo>
                <a:cubicBezTo>
                  <a:pt x="2576" y="5872"/>
                  <a:pt x="2552" y="5821"/>
                  <a:pt x="2522" y="5821"/>
                </a:cubicBezTo>
                <a:close/>
                <a:moveTo>
                  <a:pt x="2368" y="6148"/>
                </a:moveTo>
                <a:cubicBezTo>
                  <a:pt x="2339" y="6148"/>
                  <a:pt x="2315" y="6198"/>
                  <a:pt x="2315" y="6261"/>
                </a:cubicBezTo>
                <a:cubicBezTo>
                  <a:pt x="2315" y="6323"/>
                  <a:pt x="2339" y="6374"/>
                  <a:pt x="2368" y="6374"/>
                </a:cubicBezTo>
                <a:cubicBezTo>
                  <a:pt x="2398" y="6374"/>
                  <a:pt x="2422" y="6323"/>
                  <a:pt x="2422" y="6261"/>
                </a:cubicBezTo>
                <a:cubicBezTo>
                  <a:pt x="2422" y="6198"/>
                  <a:pt x="2398" y="6148"/>
                  <a:pt x="2368" y="6148"/>
                </a:cubicBezTo>
                <a:close/>
                <a:moveTo>
                  <a:pt x="2368" y="5821"/>
                </a:moveTo>
                <a:cubicBezTo>
                  <a:pt x="2339" y="5821"/>
                  <a:pt x="2315" y="5872"/>
                  <a:pt x="2315" y="5934"/>
                </a:cubicBezTo>
                <a:cubicBezTo>
                  <a:pt x="2315" y="5996"/>
                  <a:pt x="2339" y="6047"/>
                  <a:pt x="2368" y="6047"/>
                </a:cubicBezTo>
                <a:cubicBezTo>
                  <a:pt x="2398" y="6047"/>
                  <a:pt x="2422" y="5996"/>
                  <a:pt x="2422" y="5934"/>
                </a:cubicBezTo>
                <a:cubicBezTo>
                  <a:pt x="2422" y="5872"/>
                  <a:pt x="2398" y="5821"/>
                  <a:pt x="2368" y="5821"/>
                </a:cubicBezTo>
                <a:close/>
                <a:moveTo>
                  <a:pt x="2216" y="6148"/>
                </a:moveTo>
                <a:cubicBezTo>
                  <a:pt x="2186" y="6148"/>
                  <a:pt x="2162" y="6198"/>
                  <a:pt x="2162" y="6261"/>
                </a:cubicBezTo>
                <a:cubicBezTo>
                  <a:pt x="2162" y="6323"/>
                  <a:pt x="2186" y="6374"/>
                  <a:pt x="2216" y="6374"/>
                </a:cubicBezTo>
                <a:cubicBezTo>
                  <a:pt x="2245" y="6374"/>
                  <a:pt x="2269" y="6323"/>
                  <a:pt x="2269" y="6261"/>
                </a:cubicBezTo>
                <a:cubicBezTo>
                  <a:pt x="2269" y="6198"/>
                  <a:pt x="2245" y="6148"/>
                  <a:pt x="2216" y="6148"/>
                </a:cubicBezTo>
                <a:close/>
                <a:moveTo>
                  <a:pt x="2216" y="5821"/>
                </a:moveTo>
                <a:cubicBezTo>
                  <a:pt x="2186" y="5821"/>
                  <a:pt x="2162" y="5872"/>
                  <a:pt x="2162" y="5934"/>
                </a:cubicBezTo>
                <a:cubicBezTo>
                  <a:pt x="2162" y="5996"/>
                  <a:pt x="2186" y="6047"/>
                  <a:pt x="2216" y="6047"/>
                </a:cubicBezTo>
                <a:cubicBezTo>
                  <a:pt x="2245" y="6047"/>
                  <a:pt x="2269" y="5996"/>
                  <a:pt x="2269" y="5934"/>
                </a:cubicBezTo>
                <a:cubicBezTo>
                  <a:pt x="2269" y="5872"/>
                  <a:pt x="2245" y="5821"/>
                  <a:pt x="2216" y="5821"/>
                </a:cubicBezTo>
                <a:close/>
                <a:moveTo>
                  <a:pt x="3598" y="6148"/>
                </a:moveTo>
                <a:cubicBezTo>
                  <a:pt x="3569" y="6148"/>
                  <a:pt x="3545" y="6198"/>
                  <a:pt x="3545" y="6261"/>
                </a:cubicBezTo>
                <a:cubicBezTo>
                  <a:pt x="3545" y="6323"/>
                  <a:pt x="3569" y="6374"/>
                  <a:pt x="3598" y="6374"/>
                </a:cubicBezTo>
                <a:cubicBezTo>
                  <a:pt x="3628" y="6374"/>
                  <a:pt x="3652" y="6323"/>
                  <a:pt x="3652" y="6261"/>
                </a:cubicBezTo>
                <a:cubicBezTo>
                  <a:pt x="3652" y="6198"/>
                  <a:pt x="3628" y="6148"/>
                  <a:pt x="3598" y="6148"/>
                </a:cubicBezTo>
                <a:close/>
                <a:moveTo>
                  <a:pt x="3598" y="5821"/>
                </a:moveTo>
                <a:cubicBezTo>
                  <a:pt x="3569" y="5821"/>
                  <a:pt x="3545" y="5872"/>
                  <a:pt x="3545" y="5934"/>
                </a:cubicBezTo>
                <a:cubicBezTo>
                  <a:pt x="3545" y="5996"/>
                  <a:pt x="3569" y="6047"/>
                  <a:pt x="3598" y="6047"/>
                </a:cubicBezTo>
                <a:cubicBezTo>
                  <a:pt x="3628" y="6047"/>
                  <a:pt x="3652" y="5996"/>
                  <a:pt x="3652" y="5934"/>
                </a:cubicBezTo>
                <a:cubicBezTo>
                  <a:pt x="3652" y="5872"/>
                  <a:pt x="3628" y="5821"/>
                  <a:pt x="3598" y="5821"/>
                </a:cubicBezTo>
                <a:close/>
                <a:moveTo>
                  <a:pt x="3446" y="6374"/>
                </a:moveTo>
                <a:cubicBezTo>
                  <a:pt x="3475" y="6374"/>
                  <a:pt x="3500" y="6323"/>
                  <a:pt x="3500" y="6261"/>
                </a:cubicBezTo>
                <a:cubicBezTo>
                  <a:pt x="3500" y="6198"/>
                  <a:pt x="3475" y="6148"/>
                  <a:pt x="3446" y="6148"/>
                </a:cubicBezTo>
                <a:cubicBezTo>
                  <a:pt x="3416" y="6148"/>
                  <a:pt x="3392" y="6198"/>
                  <a:pt x="3392" y="6261"/>
                </a:cubicBezTo>
                <a:cubicBezTo>
                  <a:pt x="3392" y="6323"/>
                  <a:pt x="3416" y="6374"/>
                  <a:pt x="3446" y="6374"/>
                </a:cubicBezTo>
                <a:close/>
                <a:moveTo>
                  <a:pt x="3446" y="6047"/>
                </a:moveTo>
                <a:cubicBezTo>
                  <a:pt x="3475" y="6047"/>
                  <a:pt x="3500" y="5996"/>
                  <a:pt x="3500" y="5934"/>
                </a:cubicBezTo>
                <a:cubicBezTo>
                  <a:pt x="3500" y="5872"/>
                  <a:pt x="3475" y="5821"/>
                  <a:pt x="3446" y="5821"/>
                </a:cubicBezTo>
                <a:cubicBezTo>
                  <a:pt x="3416" y="5821"/>
                  <a:pt x="3392" y="5872"/>
                  <a:pt x="3392" y="5934"/>
                </a:cubicBezTo>
                <a:cubicBezTo>
                  <a:pt x="3392" y="5996"/>
                  <a:pt x="3416" y="6047"/>
                  <a:pt x="3446" y="6047"/>
                </a:cubicBezTo>
                <a:close/>
                <a:moveTo>
                  <a:pt x="3290" y="6374"/>
                </a:moveTo>
                <a:cubicBezTo>
                  <a:pt x="3320" y="6374"/>
                  <a:pt x="3344" y="6323"/>
                  <a:pt x="3344" y="6261"/>
                </a:cubicBezTo>
                <a:cubicBezTo>
                  <a:pt x="3344" y="6198"/>
                  <a:pt x="3320" y="6148"/>
                  <a:pt x="3290" y="6148"/>
                </a:cubicBezTo>
                <a:cubicBezTo>
                  <a:pt x="3261" y="6148"/>
                  <a:pt x="3237" y="6198"/>
                  <a:pt x="3237" y="6261"/>
                </a:cubicBezTo>
                <a:cubicBezTo>
                  <a:pt x="3237" y="6323"/>
                  <a:pt x="3261" y="6374"/>
                  <a:pt x="3290" y="6374"/>
                </a:cubicBezTo>
                <a:close/>
                <a:moveTo>
                  <a:pt x="3290" y="6047"/>
                </a:moveTo>
                <a:cubicBezTo>
                  <a:pt x="3320" y="6047"/>
                  <a:pt x="3344" y="5996"/>
                  <a:pt x="3344" y="5934"/>
                </a:cubicBezTo>
                <a:cubicBezTo>
                  <a:pt x="3344" y="5872"/>
                  <a:pt x="3320" y="5821"/>
                  <a:pt x="3290" y="5821"/>
                </a:cubicBezTo>
                <a:cubicBezTo>
                  <a:pt x="3261" y="5821"/>
                  <a:pt x="3237" y="5872"/>
                  <a:pt x="3237" y="5934"/>
                </a:cubicBezTo>
                <a:cubicBezTo>
                  <a:pt x="3237" y="5996"/>
                  <a:pt x="3261" y="6047"/>
                  <a:pt x="3290" y="6047"/>
                </a:cubicBezTo>
                <a:close/>
                <a:moveTo>
                  <a:pt x="3136" y="6148"/>
                </a:moveTo>
                <a:cubicBezTo>
                  <a:pt x="3107" y="6148"/>
                  <a:pt x="3083" y="6198"/>
                  <a:pt x="3083" y="6261"/>
                </a:cubicBezTo>
                <a:cubicBezTo>
                  <a:pt x="3083" y="6323"/>
                  <a:pt x="3107" y="6374"/>
                  <a:pt x="3136" y="6374"/>
                </a:cubicBezTo>
                <a:cubicBezTo>
                  <a:pt x="3166" y="6374"/>
                  <a:pt x="3190" y="6323"/>
                  <a:pt x="3190" y="6261"/>
                </a:cubicBezTo>
                <a:cubicBezTo>
                  <a:pt x="3190" y="6198"/>
                  <a:pt x="3166" y="6148"/>
                  <a:pt x="3136" y="6148"/>
                </a:cubicBezTo>
                <a:close/>
                <a:moveTo>
                  <a:pt x="3136" y="5821"/>
                </a:moveTo>
                <a:cubicBezTo>
                  <a:pt x="3107" y="5821"/>
                  <a:pt x="3083" y="5872"/>
                  <a:pt x="3083" y="5934"/>
                </a:cubicBezTo>
                <a:cubicBezTo>
                  <a:pt x="3083" y="5996"/>
                  <a:pt x="3107" y="6047"/>
                  <a:pt x="3136" y="6047"/>
                </a:cubicBezTo>
                <a:cubicBezTo>
                  <a:pt x="3166" y="6047"/>
                  <a:pt x="3190" y="5996"/>
                  <a:pt x="3190" y="5934"/>
                </a:cubicBezTo>
                <a:cubicBezTo>
                  <a:pt x="3190" y="5872"/>
                  <a:pt x="3166" y="5821"/>
                  <a:pt x="3136" y="5821"/>
                </a:cubicBezTo>
                <a:close/>
                <a:moveTo>
                  <a:pt x="2984" y="6148"/>
                </a:moveTo>
                <a:cubicBezTo>
                  <a:pt x="2954" y="6148"/>
                  <a:pt x="2930" y="6198"/>
                  <a:pt x="2930" y="6261"/>
                </a:cubicBezTo>
                <a:cubicBezTo>
                  <a:pt x="2930" y="6323"/>
                  <a:pt x="2954" y="6374"/>
                  <a:pt x="2984" y="6374"/>
                </a:cubicBezTo>
                <a:cubicBezTo>
                  <a:pt x="3014" y="6374"/>
                  <a:pt x="3038" y="6323"/>
                  <a:pt x="3038" y="6261"/>
                </a:cubicBezTo>
                <a:cubicBezTo>
                  <a:pt x="3038" y="6198"/>
                  <a:pt x="3014" y="6148"/>
                  <a:pt x="2984" y="6148"/>
                </a:cubicBezTo>
                <a:close/>
                <a:moveTo>
                  <a:pt x="2984" y="5821"/>
                </a:moveTo>
                <a:cubicBezTo>
                  <a:pt x="2954" y="5821"/>
                  <a:pt x="2930" y="5872"/>
                  <a:pt x="2930" y="5934"/>
                </a:cubicBezTo>
                <a:cubicBezTo>
                  <a:pt x="2930" y="5996"/>
                  <a:pt x="2954" y="6047"/>
                  <a:pt x="2984" y="6047"/>
                </a:cubicBezTo>
                <a:cubicBezTo>
                  <a:pt x="3014" y="6047"/>
                  <a:pt x="3038" y="5996"/>
                  <a:pt x="3038" y="5934"/>
                </a:cubicBezTo>
                <a:cubicBezTo>
                  <a:pt x="3038" y="5872"/>
                  <a:pt x="3014" y="5821"/>
                  <a:pt x="2984" y="5821"/>
                </a:cubicBezTo>
                <a:close/>
                <a:moveTo>
                  <a:pt x="3901" y="6815"/>
                </a:moveTo>
                <a:cubicBezTo>
                  <a:pt x="3871" y="6815"/>
                  <a:pt x="3847" y="6866"/>
                  <a:pt x="3847" y="6928"/>
                </a:cubicBezTo>
                <a:cubicBezTo>
                  <a:pt x="3847" y="6991"/>
                  <a:pt x="3871" y="7041"/>
                  <a:pt x="3901" y="7041"/>
                </a:cubicBezTo>
                <a:cubicBezTo>
                  <a:pt x="3930" y="7041"/>
                  <a:pt x="3954" y="6991"/>
                  <a:pt x="3954" y="6928"/>
                </a:cubicBezTo>
                <a:cubicBezTo>
                  <a:pt x="3954" y="6866"/>
                  <a:pt x="3930" y="6815"/>
                  <a:pt x="3901" y="6815"/>
                </a:cubicBezTo>
                <a:close/>
                <a:moveTo>
                  <a:pt x="3901" y="6488"/>
                </a:moveTo>
                <a:cubicBezTo>
                  <a:pt x="3871" y="6488"/>
                  <a:pt x="3847" y="6539"/>
                  <a:pt x="3847" y="6601"/>
                </a:cubicBezTo>
                <a:cubicBezTo>
                  <a:pt x="3847" y="6664"/>
                  <a:pt x="3871" y="6715"/>
                  <a:pt x="3901" y="6715"/>
                </a:cubicBezTo>
                <a:cubicBezTo>
                  <a:pt x="3930" y="6715"/>
                  <a:pt x="3954" y="6664"/>
                  <a:pt x="3954" y="6601"/>
                </a:cubicBezTo>
                <a:cubicBezTo>
                  <a:pt x="3954" y="6539"/>
                  <a:pt x="3930" y="6488"/>
                  <a:pt x="3901" y="6488"/>
                </a:cubicBezTo>
                <a:close/>
                <a:moveTo>
                  <a:pt x="3752" y="6815"/>
                </a:moveTo>
                <a:cubicBezTo>
                  <a:pt x="3722" y="6815"/>
                  <a:pt x="3698" y="6866"/>
                  <a:pt x="3698" y="6928"/>
                </a:cubicBezTo>
                <a:cubicBezTo>
                  <a:pt x="3698" y="6991"/>
                  <a:pt x="3722" y="7041"/>
                  <a:pt x="3752" y="7041"/>
                </a:cubicBezTo>
                <a:cubicBezTo>
                  <a:pt x="3782" y="7041"/>
                  <a:pt x="3806" y="6991"/>
                  <a:pt x="3806" y="6928"/>
                </a:cubicBezTo>
                <a:cubicBezTo>
                  <a:pt x="3806" y="6866"/>
                  <a:pt x="3782" y="6815"/>
                  <a:pt x="3752" y="6815"/>
                </a:cubicBezTo>
                <a:close/>
                <a:moveTo>
                  <a:pt x="3752" y="6488"/>
                </a:moveTo>
                <a:cubicBezTo>
                  <a:pt x="3722" y="6488"/>
                  <a:pt x="3698" y="6539"/>
                  <a:pt x="3698" y="6601"/>
                </a:cubicBezTo>
                <a:cubicBezTo>
                  <a:pt x="3698" y="6664"/>
                  <a:pt x="3722" y="6715"/>
                  <a:pt x="3752" y="6715"/>
                </a:cubicBezTo>
                <a:cubicBezTo>
                  <a:pt x="3782" y="6715"/>
                  <a:pt x="3806" y="6664"/>
                  <a:pt x="3806" y="6601"/>
                </a:cubicBezTo>
                <a:cubicBezTo>
                  <a:pt x="3806" y="6539"/>
                  <a:pt x="3782" y="6488"/>
                  <a:pt x="3752" y="6488"/>
                </a:cubicBezTo>
                <a:close/>
                <a:moveTo>
                  <a:pt x="1597" y="6815"/>
                </a:moveTo>
                <a:cubicBezTo>
                  <a:pt x="1567" y="6815"/>
                  <a:pt x="1543" y="6866"/>
                  <a:pt x="1543" y="6928"/>
                </a:cubicBezTo>
                <a:cubicBezTo>
                  <a:pt x="1543" y="6991"/>
                  <a:pt x="1567" y="7041"/>
                  <a:pt x="1597" y="7041"/>
                </a:cubicBezTo>
                <a:cubicBezTo>
                  <a:pt x="1627" y="7041"/>
                  <a:pt x="1651" y="6991"/>
                  <a:pt x="1651" y="6928"/>
                </a:cubicBezTo>
                <a:cubicBezTo>
                  <a:pt x="1651" y="6866"/>
                  <a:pt x="1627" y="6815"/>
                  <a:pt x="1597" y="6815"/>
                </a:cubicBezTo>
                <a:close/>
                <a:moveTo>
                  <a:pt x="1597" y="6488"/>
                </a:moveTo>
                <a:cubicBezTo>
                  <a:pt x="1567" y="6488"/>
                  <a:pt x="1543" y="6539"/>
                  <a:pt x="1543" y="6601"/>
                </a:cubicBezTo>
                <a:cubicBezTo>
                  <a:pt x="1543" y="6664"/>
                  <a:pt x="1567" y="6715"/>
                  <a:pt x="1597" y="6715"/>
                </a:cubicBezTo>
                <a:cubicBezTo>
                  <a:pt x="1627" y="6715"/>
                  <a:pt x="1651" y="6664"/>
                  <a:pt x="1651" y="6601"/>
                </a:cubicBezTo>
                <a:cubicBezTo>
                  <a:pt x="1651" y="6539"/>
                  <a:pt x="1627" y="6488"/>
                  <a:pt x="1597" y="6488"/>
                </a:cubicBezTo>
                <a:close/>
                <a:moveTo>
                  <a:pt x="1444" y="7041"/>
                </a:moveTo>
                <a:cubicBezTo>
                  <a:pt x="1474" y="7041"/>
                  <a:pt x="1498" y="6991"/>
                  <a:pt x="1498" y="6928"/>
                </a:cubicBezTo>
                <a:cubicBezTo>
                  <a:pt x="1498" y="6866"/>
                  <a:pt x="1474" y="6815"/>
                  <a:pt x="1444" y="6815"/>
                </a:cubicBezTo>
                <a:cubicBezTo>
                  <a:pt x="1415" y="6815"/>
                  <a:pt x="1390" y="6866"/>
                  <a:pt x="1390" y="6928"/>
                </a:cubicBezTo>
                <a:cubicBezTo>
                  <a:pt x="1390" y="6991"/>
                  <a:pt x="1415" y="7041"/>
                  <a:pt x="1444" y="7041"/>
                </a:cubicBezTo>
                <a:close/>
                <a:moveTo>
                  <a:pt x="1444" y="6715"/>
                </a:moveTo>
                <a:cubicBezTo>
                  <a:pt x="1474" y="6715"/>
                  <a:pt x="1498" y="6664"/>
                  <a:pt x="1498" y="6601"/>
                </a:cubicBezTo>
                <a:cubicBezTo>
                  <a:pt x="1498" y="6539"/>
                  <a:pt x="1474" y="6488"/>
                  <a:pt x="1444" y="6488"/>
                </a:cubicBezTo>
                <a:cubicBezTo>
                  <a:pt x="1415" y="6488"/>
                  <a:pt x="1390" y="6539"/>
                  <a:pt x="1390" y="6601"/>
                </a:cubicBezTo>
                <a:cubicBezTo>
                  <a:pt x="1390" y="6664"/>
                  <a:pt x="1415" y="6715"/>
                  <a:pt x="1444" y="6715"/>
                </a:cubicBezTo>
                <a:close/>
                <a:moveTo>
                  <a:pt x="2057" y="6815"/>
                </a:moveTo>
                <a:cubicBezTo>
                  <a:pt x="2027" y="6815"/>
                  <a:pt x="2003" y="6866"/>
                  <a:pt x="2003" y="6928"/>
                </a:cubicBezTo>
                <a:cubicBezTo>
                  <a:pt x="2003" y="6991"/>
                  <a:pt x="2027" y="7041"/>
                  <a:pt x="2057" y="7041"/>
                </a:cubicBezTo>
                <a:cubicBezTo>
                  <a:pt x="2087" y="7041"/>
                  <a:pt x="2111" y="6991"/>
                  <a:pt x="2111" y="6928"/>
                </a:cubicBezTo>
                <a:cubicBezTo>
                  <a:pt x="2111" y="6866"/>
                  <a:pt x="2087" y="6815"/>
                  <a:pt x="2057" y="6815"/>
                </a:cubicBezTo>
                <a:close/>
                <a:moveTo>
                  <a:pt x="2057" y="6488"/>
                </a:moveTo>
                <a:cubicBezTo>
                  <a:pt x="2027" y="6488"/>
                  <a:pt x="2003" y="6539"/>
                  <a:pt x="2003" y="6601"/>
                </a:cubicBezTo>
                <a:cubicBezTo>
                  <a:pt x="2003" y="6664"/>
                  <a:pt x="2027" y="6715"/>
                  <a:pt x="2057" y="6715"/>
                </a:cubicBezTo>
                <a:cubicBezTo>
                  <a:pt x="2087" y="6715"/>
                  <a:pt x="2111" y="6664"/>
                  <a:pt x="2111" y="6601"/>
                </a:cubicBezTo>
                <a:cubicBezTo>
                  <a:pt x="2111" y="6539"/>
                  <a:pt x="2087" y="6488"/>
                  <a:pt x="2057" y="6488"/>
                </a:cubicBezTo>
                <a:close/>
                <a:moveTo>
                  <a:pt x="1903" y="8079"/>
                </a:moveTo>
                <a:cubicBezTo>
                  <a:pt x="1873" y="8079"/>
                  <a:pt x="1849" y="8130"/>
                  <a:pt x="1849" y="8193"/>
                </a:cubicBezTo>
                <a:cubicBezTo>
                  <a:pt x="1849" y="8255"/>
                  <a:pt x="1873" y="8306"/>
                  <a:pt x="1903" y="8306"/>
                </a:cubicBezTo>
                <a:cubicBezTo>
                  <a:pt x="1933" y="8306"/>
                  <a:pt x="1957" y="8255"/>
                  <a:pt x="1957" y="8193"/>
                </a:cubicBezTo>
                <a:cubicBezTo>
                  <a:pt x="1957" y="8130"/>
                  <a:pt x="1933" y="8079"/>
                  <a:pt x="1903" y="8079"/>
                </a:cubicBezTo>
                <a:close/>
                <a:moveTo>
                  <a:pt x="1903" y="7753"/>
                </a:moveTo>
                <a:cubicBezTo>
                  <a:pt x="1873" y="7753"/>
                  <a:pt x="1849" y="7803"/>
                  <a:pt x="1849" y="7866"/>
                </a:cubicBezTo>
                <a:cubicBezTo>
                  <a:pt x="1849" y="7928"/>
                  <a:pt x="1873" y="7979"/>
                  <a:pt x="1903" y="7979"/>
                </a:cubicBezTo>
                <a:cubicBezTo>
                  <a:pt x="1933" y="7979"/>
                  <a:pt x="1957" y="7928"/>
                  <a:pt x="1957" y="7866"/>
                </a:cubicBezTo>
                <a:cubicBezTo>
                  <a:pt x="1957" y="7803"/>
                  <a:pt x="1933" y="7753"/>
                  <a:pt x="1903" y="7753"/>
                </a:cubicBezTo>
                <a:close/>
                <a:moveTo>
                  <a:pt x="1750" y="8079"/>
                </a:moveTo>
                <a:cubicBezTo>
                  <a:pt x="1721" y="8079"/>
                  <a:pt x="1697" y="8130"/>
                  <a:pt x="1697" y="8193"/>
                </a:cubicBezTo>
                <a:cubicBezTo>
                  <a:pt x="1697" y="8255"/>
                  <a:pt x="1721" y="8306"/>
                  <a:pt x="1750" y="8306"/>
                </a:cubicBezTo>
                <a:cubicBezTo>
                  <a:pt x="1780" y="8306"/>
                  <a:pt x="1804" y="8255"/>
                  <a:pt x="1804" y="8193"/>
                </a:cubicBezTo>
                <a:cubicBezTo>
                  <a:pt x="1804" y="8130"/>
                  <a:pt x="1780" y="8079"/>
                  <a:pt x="1750" y="8079"/>
                </a:cubicBezTo>
                <a:close/>
                <a:moveTo>
                  <a:pt x="1750" y="7753"/>
                </a:moveTo>
                <a:cubicBezTo>
                  <a:pt x="1721" y="7753"/>
                  <a:pt x="1697" y="7803"/>
                  <a:pt x="1697" y="7866"/>
                </a:cubicBezTo>
                <a:cubicBezTo>
                  <a:pt x="1697" y="7928"/>
                  <a:pt x="1721" y="7979"/>
                  <a:pt x="1750" y="7979"/>
                </a:cubicBezTo>
                <a:cubicBezTo>
                  <a:pt x="1780" y="7979"/>
                  <a:pt x="1804" y="7928"/>
                  <a:pt x="1804" y="7866"/>
                </a:cubicBezTo>
                <a:cubicBezTo>
                  <a:pt x="1804" y="7803"/>
                  <a:pt x="1780" y="7753"/>
                  <a:pt x="1750" y="7753"/>
                </a:cubicBezTo>
                <a:close/>
                <a:moveTo>
                  <a:pt x="1903" y="8717"/>
                </a:moveTo>
                <a:cubicBezTo>
                  <a:pt x="1873" y="8717"/>
                  <a:pt x="1849" y="8768"/>
                  <a:pt x="1849" y="8830"/>
                </a:cubicBezTo>
                <a:cubicBezTo>
                  <a:pt x="1849" y="8893"/>
                  <a:pt x="1873" y="8944"/>
                  <a:pt x="1903" y="8944"/>
                </a:cubicBezTo>
                <a:cubicBezTo>
                  <a:pt x="1933" y="8944"/>
                  <a:pt x="1957" y="8893"/>
                  <a:pt x="1957" y="8830"/>
                </a:cubicBezTo>
                <a:cubicBezTo>
                  <a:pt x="1957" y="8768"/>
                  <a:pt x="1933" y="8717"/>
                  <a:pt x="1903" y="8717"/>
                </a:cubicBezTo>
                <a:close/>
                <a:moveTo>
                  <a:pt x="1903" y="8390"/>
                </a:moveTo>
                <a:cubicBezTo>
                  <a:pt x="1873" y="8390"/>
                  <a:pt x="1849" y="8441"/>
                  <a:pt x="1849" y="8504"/>
                </a:cubicBezTo>
                <a:cubicBezTo>
                  <a:pt x="1849" y="8566"/>
                  <a:pt x="1873" y="8617"/>
                  <a:pt x="1903" y="8617"/>
                </a:cubicBezTo>
                <a:cubicBezTo>
                  <a:pt x="1933" y="8617"/>
                  <a:pt x="1957" y="8566"/>
                  <a:pt x="1957" y="8504"/>
                </a:cubicBezTo>
                <a:cubicBezTo>
                  <a:pt x="1957" y="8441"/>
                  <a:pt x="1933" y="8390"/>
                  <a:pt x="1903" y="8390"/>
                </a:cubicBezTo>
                <a:close/>
                <a:moveTo>
                  <a:pt x="1750" y="8717"/>
                </a:moveTo>
                <a:cubicBezTo>
                  <a:pt x="1721" y="8717"/>
                  <a:pt x="1697" y="8768"/>
                  <a:pt x="1697" y="8830"/>
                </a:cubicBezTo>
                <a:cubicBezTo>
                  <a:pt x="1697" y="8893"/>
                  <a:pt x="1721" y="8944"/>
                  <a:pt x="1750" y="8944"/>
                </a:cubicBezTo>
                <a:cubicBezTo>
                  <a:pt x="1780" y="8944"/>
                  <a:pt x="1804" y="8893"/>
                  <a:pt x="1804" y="8830"/>
                </a:cubicBezTo>
                <a:cubicBezTo>
                  <a:pt x="1804" y="8768"/>
                  <a:pt x="1780" y="8717"/>
                  <a:pt x="1750" y="8717"/>
                </a:cubicBezTo>
                <a:close/>
                <a:moveTo>
                  <a:pt x="1750" y="8390"/>
                </a:moveTo>
                <a:cubicBezTo>
                  <a:pt x="1721" y="8390"/>
                  <a:pt x="1697" y="8441"/>
                  <a:pt x="1697" y="8504"/>
                </a:cubicBezTo>
                <a:cubicBezTo>
                  <a:pt x="1697" y="8566"/>
                  <a:pt x="1721" y="8617"/>
                  <a:pt x="1750" y="8617"/>
                </a:cubicBezTo>
                <a:cubicBezTo>
                  <a:pt x="1780" y="8617"/>
                  <a:pt x="1804" y="8566"/>
                  <a:pt x="1804" y="8504"/>
                </a:cubicBezTo>
                <a:cubicBezTo>
                  <a:pt x="1804" y="8441"/>
                  <a:pt x="1780" y="8390"/>
                  <a:pt x="1750" y="8390"/>
                </a:cubicBezTo>
                <a:close/>
                <a:moveTo>
                  <a:pt x="1903" y="6815"/>
                </a:moveTo>
                <a:cubicBezTo>
                  <a:pt x="1873" y="6815"/>
                  <a:pt x="1849" y="6866"/>
                  <a:pt x="1849" y="6928"/>
                </a:cubicBezTo>
                <a:cubicBezTo>
                  <a:pt x="1849" y="6991"/>
                  <a:pt x="1873" y="7041"/>
                  <a:pt x="1903" y="7041"/>
                </a:cubicBezTo>
                <a:cubicBezTo>
                  <a:pt x="1933" y="7041"/>
                  <a:pt x="1957" y="6991"/>
                  <a:pt x="1957" y="6928"/>
                </a:cubicBezTo>
                <a:cubicBezTo>
                  <a:pt x="1957" y="6866"/>
                  <a:pt x="1933" y="6815"/>
                  <a:pt x="1903" y="6815"/>
                </a:cubicBezTo>
                <a:close/>
                <a:moveTo>
                  <a:pt x="1903" y="6488"/>
                </a:moveTo>
                <a:cubicBezTo>
                  <a:pt x="1873" y="6488"/>
                  <a:pt x="1849" y="6539"/>
                  <a:pt x="1849" y="6601"/>
                </a:cubicBezTo>
                <a:cubicBezTo>
                  <a:pt x="1849" y="6664"/>
                  <a:pt x="1873" y="6715"/>
                  <a:pt x="1903" y="6715"/>
                </a:cubicBezTo>
                <a:cubicBezTo>
                  <a:pt x="1933" y="6715"/>
                  <a:pt x="1957" y="6664"/>
                  <a:pt x="1957" y="6601"/>
                </a:cubicBezTo>
                <a:cubicBezTo>
                  <a:pt x="1957" y="6539"/>
                  <a:pt x="1933" y="6488"/>
                  <a:pt x="1903" y="6488"/>
                </a:cubicBezTo>
                <a:close/>
                <a:moveTo>
                  <a:pt x="1750" y="6815"/>
                </a:moveTo>
                <a:cubicBezTo>
                  <a:pt x="1721" y="6815"/>
                  <a:pt x="1697" y="6866"/>
                  <a:pt x="1697" y="6928"/>
                </a:cubicBezTo>
                <a:cubicBezTo>
                  <a:pt x="1697" y="6991"/>
                  <a:pt x="1721" y="7041"/>
                  <a:pt x="1750" y="7041"/>
                </a:cubicBezTo>
                <a:cubicBezTo>
                  <a:pt x="1780" y="7041"/>
                  <a:pt x="1804" y="6991"/>
                  <a:pt x="1804" y="6928"/>
                </a:cubicBezTo>
                <a:cubicBezTo>
                  <a:pt x="1804" y="6866"/>
                  <a:pt x="1780" y="6815"/>
                  <a:pt x="1750" y="6815"/>
                </a:cubicBezTo>
                <a:close/>
                <a:moveTo>
                  <a:pt x="1750" y="6488"/>
                </a:moveTo>
                <a:cubicBezTo>
                  <a:pt x="1721" y="6488"/>
                  <a:pt x="1697" y="6539"/>
                  <a:pt x="1697" y="6601"/>
                </a:cubicBezTo>
                <a:cubicBezTo>
                  <a:pt x="1697" y="6664"/>
                  <a:pt x="1721" y="6715"/>
                  <a:pt x="1750" y="6715"/>
                </a:cubicBezTo>
                <a:cubicBezTo>
                  <a:pt x="1780" y="6715"/>
                  <a:pt x="1804" y="6664"/>
                  <a:pt x="1804" y="6601"/>
                </a:cubicBezTo>
                <a:cubicBezTo>
                  <a:pt x="1804" y="6539"/>
                  <a:pt x="1780" y="6488"/>
                  <a:pt x="1750" y="6488"/>
                </a:cubicBezTo>
                <a:close/>
                <a:moveTo>
                  <a:pt x="2830" y="6815"/>
                </a:moveTo>
                <a:cubicBezTo>
                  <a:pt x="2801" y="6815"/>
                  <a:pt x="2776" y="6866"/>
                  <a:pt x="2776" y="6928"/>
                </a:cubicBezTo>
                <a:cubicBezTo>
                  <a:pt x="2776" y="6991"/>
                  <a:pt x="2801" y="7041"/>
                  <a:pt x="2830" y="7041"/>
                </a:cubicBezTo>
                <a:cubicBezTo>
                  <a:pt x="2860" y="7041"/>
                  <a:pt x="2884" y="6991"/>
                  <a:pt x="2884" y="6928"/>
                </a:cubicBezTo>
                <a:cubicBezTo>
                  <a:pt x="2884" y="6866"/>
                  <a:pt x="2860" y="6815"/>
                  <a:pt x="2830" y="6815"/>
                </a:cubicBezTo>
                <a:close/>
                <a:moveTo>
                  <a:pt x="2830" y="6488"/>
                </a:moveTo>
                <a:cubicBezTo>
                  <a:pt x="2801" y="6488"/>
                  <a:pt x="2776" y="6539"/>
                  <a:pt x="2776" y="6601"/>
                </a:cubicBezTo>
                <a:cubicBezTo>
                  <a:pt x="2776" y="6664"/>
                  <a:pt x="2801" y="6715"/>
                  <a:pt x="2830" y="6715"/>
                </a:cubicBezTo>
                <a:cubicBezTo>
                  <a:pt x="2860" y="6715"/>
                  <a:pt x="2884" y="6664"/>
                  <a:pt x="2884" y="6601"/>
                </a:cubicBezTo>
                <a:cubicBezTo>
                  <a:pt x="2884" y="6539"/>
                  <a:pt x="2860" y="6488"/>
                  <a:pt x="2830" y="6488"/>
                </a:cubicBezTo>
                <a:close/>
                <a:moveTo>
                  <a:pt x="2678" y="6815"/>
                </a:moveTo>
                <a:cubicBezTo>
                  <a:pt x="2648" y="6815"/>
                  <a:pt x="2624" y="6866"/>
                  <a:pt x="2624" y="6928"/>
                </a:cubicBezTo>
                <a:cubicBezTo>
                  <a:pt x="2624" y="6991"/>
                  <a:pt x="2648" y="7041"/>
                  <a:pt x="2678" y="7041"/>
                </a:cubicBezTo>
                <a:cubicBezTo>
                  <a:pt x="2707" y="7041"/>
                  <a:pt x="2731" y="6991"/>
                  <a:pt x="2731" y="6928"/>
                </a:cubicBezTo>
                <a:cubicBezTo>
                  <a:pt x="2731" y="6866"/>
                  <a:pt x="2707" y="6815"/>
                  <a:pt x="2678" y="6815"/>
                </a:cubicBezTo>
                <a:close/>
                <a:moveTo>
                  <a:pt x="2678" y="6488"/>
                </a:moveTo>
                <a:cubicBezTo>
                  <a:pt x="2648" y="6488"/>
                  <a:pt x="2624" y="6539"/>
                  <a:pt x="2624" y="6601"/>
                </a:cubicBezTo>
                <a:cubicBezTo>
                  <a:pt x="2624" y="6664"/>
                  <a:pt x="2648" y="6715"/>
                  <a:pt x="2678" y="6715"/>
                </a:cubicBezTo>
                <a:cubicBezTo>
                  <a:pt x="2707" y="6715"/>
                  <a:pt x="2731" y="6664"/>
                  <a:pt x="2731" y="6601"/>
                </a:cubicBezTo>
                <a:cubicBezTo>
                  <a:pt x="2731" y="6539"/>
                  <a:pt x="2707" y="6488"/>
                  <a:pt x="2678" y="6488"/>
                </a:cubicBezTo>
                <a:close/>
                <a:moveTo>
                  <a:pt x="2522" y="6815"/>
                </a:moveTo>
                <a:cubicBezTo>
                  <a:pt x="2493" y="6815"/>
                  <a:pt x="2469" y="6866"/>
                  <a:pt x="2469" y="6928"/>
                </a:cubicBezTo>
                <a:cubicBezTo>
                  <a:pt x="2469" y="6991"/>
                  <a:pt x="2493" y="7041"/>
                  <a:pt x="2522" y="7041"/>
                </a:cubicBezTo>
                <a:cubicBezTo>
                  <a:pt x="2552" y="7041"/>
                  <a:pt x="2576" y="6991"/>
                  <a:pt x="2576" y="6928"/>
                </a:cubicBezTo>
                <a:cubicBezTo>
                  <a:pt x="2576" y="6866"/>
                  <a:pt x="2552" y="6815"/>
                  <a:pt x="2522" y="6815"/>
                </a:cubicBezTo>
                <a:close/>
                <a:moveTo>
                  <a:pt x="2522" y="6488"/>
                </a:moveTo>
                <a:cubicBezTo>
                  <a:pt x="2493" y="6488"/>
                  <a:pt x="2469" y="6539"/>
                  <a:pt x="2469" y="6601"/>
                </a:cubicBezTo>
                <a:cubicBezTo>
                  <a:pt x="2469" y="6664"/>
                  <a:pt x="2493" y="6715"/>
                  <a:pt x="2522" y="6715"/>
                </a:cubicBezTo>
                <a:cubicBezTo>
                  <a:pt x="2552" y="6715"/>
                  <a:pt x="2576" y="6664"/>
                  <a:pt x="2576" y="6601"/>
                </a:cubicBezTo>
                <a:cubicBezTo>
                  <a:pt x="2576" y="6539"/>
                  <a:pt x="2552" y="6488"/>
                  <a:pt x="2522" y="6488"/>
                </a:cubicBezTo>
                <a:close/>
                <a:moveTo>
                  <a:pt x="2368" y="6815"/>
                </a:moveTo>
                <a:cubicBezTo>
                  <a:pt x="2339" y="6815"/>
                  <a:pt x="2315" y="6866"/>
                  <a:pt x="2315" y="6928"/>
                </a:cubicBezTo>
                <a:cubicBezTo>
                  <a:pt x="2315" y="6991"/>
                  <a:pt x="2339" y="7041"/>
                  <a:pt x="2368" y="7041"/>
                </a:cubicBezTo>
                <a:cubicBezTo>
                  <a:pt x="2398" y="7041"/>
                  <a:pt x="2422" y="6991"/>
                  <a:pt x="2422" y="6928"/>
                </a:cubicBezTo>
                <a:cubicBezTo>
                  <a:pt x="2422" y="6866"/>
                  <a:pt x="2398" y="6815"/>
                  <a:pt x="2368" y="6815"/>
                </a:cubicBezTo>
                <a:close/>
                <a:moveTo>
                  <a:pt x="2368" y="6488"/>
                </a:moveTo>
                <a:cubicBezTo>
                  <a:pt x="2339" y="6488"/>
                  <a:pt x="2315" y="6539"/>
                  <a:pt x="2315" y="6601"/>
                </a:cubicBezTo>
                <a:cubicBezTo>
                  <a:pt x="2315" y="6664"/>
                  <a:pt x="2339" y="6715"/>
                  <a:pt x="2368" y="6715"/>
                </a:cubicBezTo>
                <a:cubicBezTo>
                  <a:pt x="2398" y="6715"/>
                  <a:pt x="2422" y="6664"/>
                  <a:pt x="2422" y="6601"/>
                </a:cubicBezTo>
                <a:cubicBezTo>
                  <a:pt x="2422" y="6539"/>
                  <a:pt x="2398" y="6488"/>
                  <a:pt x="2368" y="6488"/>
                </a:cubicBezTo>
                <a:close/>
                <a:moveTo>
                  <a:pt x="2216" y="6815"/>
                </a:moveTo>
                <a:cubicBezTo>
                  <a:pt x="2186" y="6815"/>
                  <a:pt x="2162" y="6866"/>
                  <a:pt x="2162" y="6928"/>
                </a:cubicBezTo>
                <a:cubicBezTo>
                  <a:pt x="2162" y="6991"/>
                  <a:pt x="2186" y="7041"/>
                  <a:pt x="2216" y="7041"/>
                </a:cubicBezTo>
                <a:cubicBezTo>
                  <a:pt x="2245" y="7041"/>
                  <a:pt x="2269" y="6991"/>
                  <a:pt x="2269" y="6928"/>
                </a:cubicBezTo>
                <a:cubicBezTo>
                  <a:pt x="2269" y="6866"/>
                  <a:pt x="2245" y="6815"/>
                  <a:pt x="2216" y="6815"/>
                </a:cubicBezTo>
                <a:close/>
                <a:moveTo>
                  <a:pt x="2216" y="6488"/>
                </a:moveTo>
                <a:cubicBezTo>
                  <a:pt x="2186" y="6488"/>
                  <a:pt x="2162" y="6539"/>
                  <a:pt x="2162" y="6601"/>
                </a:cubicBezTo>
                <a:cubicBezTo>
                  <a:pt x="2162" y="6664"/>
                  <a:pt x="2186" y="6715"/>
                  <a:pt x="2216" y="6715"/>
                </a:cubicBezTo>
                <a:cubicBezTo>
                  <a:pt x="2245" y="6715"/>
                  <a:pt x="2269" y="6664"/>
                  <a:pt x="2269" y="6601"/>
                </a:cubicBezTo>
                <a:cubicBezTo>
                  <a:pt x="2269" y="6539"/>
                  <a:pt x="2245" y="6488"/>
                  <a:pt x="2216" y="6488"/>
                </a:cubicBezTo>
                <a:close/>
                <a:moveTo>
                  <a:pt x="3598" y="6815"/>
                </a:moveTo>
                <a:cubicBezTo>
                  <a:pt x="3569" y="6815"/>
                  <a:pt x="3545" y="6866"/>
                  <a:pt x="3545" y="6928"/>
                </a:cubicBezTo>
                <a:cubicBezTo>
                  <a:pt x="3545" y="6991"/>
                  <a:pt x="3569" y="7041"/>
                  <a:pt x="3598" y="7041"/>
                </a:cubicBezTo>
                <a:cubicBezTo>
                  <a:pt x="3628" y="7041"/>
                  <a:pt x="3652" y="6991"/>
                  <a:pt x="3652" y="6928"/>
                </a:cubicBezTo>
                <a:cubicBezTo>
                  <a:pt x="3652" y="6866"/>
                  <a:pt x="3628" y="6815"/>
                  <a:pt x="3598" y="6815"/>
                </a:cubicBezTo>
                <a:close/>
                <a:moveTo>
                  <a:pt x="3598" y="6488"/>
                </a:moveTo>
                <a:cubicBezTo>
                  <a:pt x="3569" y="6488"/>
                  <a:pt x="3545" y="6539"/>
                  <a:pt x="3545" y="6601"/>
                </a:cubicBezTo>
                <a:cubicBezTo>
                  <a:pt x="3545" y="6664"/>
                  <a:pt x="3569" y="6715"/>
                  <a:pt x="3598" y="6715"/>
                </a:cubicBezTo>
                <a:cubicBezTo>
                  <a:pt x="3628" y="6715"/>
                  <a:pt x="3652" y="6664"/>
                  <a:pt x="3652" y="6601"/>
                </a:cubicBezTo>
                <a:cubicBezTo>
                  <a:pt x="3652" y="6539"/>
                  <a:pt x="3628" y="6488"/>
                  <a:pt x="3598" y="6488"/>
                </a:cubicBezTo>
                <a:close/>
                <a:moveTo>
                  <a:pt x="3446" y="7041"/>
                </a:moveTo>
                <a:cubicBezTo>
                  <a:pt x="3475" y="7041"/>
                  <a:pt x="3500" y="6991"/>
                  <a:pt x="3500" y="6928"/>
                </a:cubicBezTo>
                <a:cubicBezTo>
                  <a:pt x="3500" y="6866"/>
                  <a:pt x="3475" y="6815"/>
                  <a:pt x="3446" y="6815"/>
                </a:cubicBezTo>
                <a:cubicBezTo>
                  <a:pt x="3416" y="6815"/>
                  <a:pt x="3392" y="6866"/>
                  <a:pt x="3392" y="6928"/>
                </a:cubicBezTo>
                <a:cubicBezTo>
                  <a:pt x="3392" y="6991"/>
                  <a:pt x="3416" y="7041"/>
                  <a:pt x="3446" y="7041"/>
                </a:cubicBezTo>
                <a:close/>
                <a:moveTo>
                  <a:pt x="3446" y="6715"/>
                </a:moveTo>
                <a:cubicBezTo>
                  <a:pt x="3475" y="6715"/>
                  <a:pt x="3500" y="6664"/>
                  <a:pt x="3500" y="6601"/>
                </a:cubicBezTo>
                <a:cubicBezTo>
                  <a:pt x="3500" y="6539"/>
                  <a:pt x="3475" y="6488"/>
                  <a:pt x="3446" y="6488"/>
                </a:cubicBezTo>
                <a:cubicBezTo>
                  <a:pt x="3416" y="6488"/>
                  <a:pt x="3392" y="6539"/>
                  <a:pt x="3392" y="6601"/>
                </a:cubicBezTo>
                <a:cubicBezTo>
                  <a:pt x="3392" y="6664"/>
                  <a:pt x="3416" y="6715"/>
                  <a:pt x="3446" y="6715"/>
                </a:cubicBezTo>
                <a:close/>
                <a:moveTo>
                  <a:pt x="3290" y="7041"/>
                </a:moveTo>
                <a:cubicBezTo>
                  <a:pt x="3320" y="7041"/>
                  <a:pt x="3344" y="6991"/>
                  <a:pt x="3344" y="6928"/>
                </a:cubicBezTo>
                <a:cubicBezTo>
                  <a:pt x="3344" y="6866"/>
                  <a:pt x="3320" y="6815"/>
                  <a:pt x="3290" y="6815"/>
                </a:cubicBezTo>
                <a:cubicBezTo>
                  <a:pt x="3261" y="6815"/>
                  <a:pt x="3237" y="6866"/>
                  <a:pt x="3237" y="6928"/>
                </a:cubicBezTo>
                <a:cubicBezTo>
                  <a:pt x="3237" y="6991"/>
                  <a:pt x="3261" y="7041"/>
                  <a:pt x="3290" y="7041"/>
                </a:cubicBezTo>
                <a:close/>
                <a:moveTo>
                  <a:pt x="3290" y="6715"/>
                </a:moveTo>
                <a:cubicBezTo>
                  <a:pt x="3320" y="6715"/>
                  <a:pt x="3344" y="6664"/>
                  <a:pt x="3344" y="6601"/>
                </a:cubicBezTo>
                <a:cubicBezTo>
                  <a:pt x="3344" y="6539"/>
                  <a:pt x="3320" y="6488"/>
                  <a:pt x="3290" y="6488"/>
                </a:cubicBezTo>
                <a:cubicBezTo>
                  <a:pt x="3261" y="6488"/>
                  <a:pt x="3237" y="6539"/>
                  <a:pt x="3237" y="6601"/>
                </a:cubicBezTo>
                <a:cubicBezTo>
                  <a:pt x="3237" y="6664"/>
                  <a:pt x="3261" y="6715"/>
                  <a:pt x="3290" y="6715"/>
                </a:cubicBezTo>
                <a:close/>
                <a:moveTo>
                  <a:pt x="3136" y="6815"/>
                </a:moveTo>
                <a:cubicBezTo>
                  <a:pt x="3107" y="6815"/>
                  <a:pt x="3083" y="6866"/>
                  <a:pt x="3083" y="6928"/>
                </a:cubicBezTo>
                <a:cubicBezTo>
                  <a:pt x="3083" y="6991"/>
                  <a:pt x="3107" y="7041"/>
                  <a:pt x="3136" y="7041"/>
                </a:cubicBezTo>
                <a:cubicBezTo>
                  <a:pt x="3166" y="7041"/>
                  <a:pt x="3190" y="6991"/>
                  <a:pt x="3190" y="6928"/>
                </a:cubicBezTo>
                <a:cubicBezTo>
                  <a:pt x="3190" y="6866"/>
                  <a:pt x="3166" y="6815"/>
                  <a:pt x="3136" y="6815"/>
                </a:cubicBezTo>
                <a:close/>
                <a:moveTo>
                  <a:pt x="3136" y="6488"/>
                </a:moveTo>
                <a:cubicBezTo>
                  <a:pt x="3107" y="6488"/>
                  <a:pt x="3083" y="6539"/>
                  <a:pt x="3083" y="6601"/>
                </a:cubicBezTo>
                <a:cubicBezTo>
                  <a:pt x="3083" y="6664"/>
                  <a:pt x="3107" y="6715"/>
                  <a:pt x="3136" y="6715"/>
                </a:cubicBezTo>
                <a:cubicBezTo>
                  <a:pt x="3166" y="6715"/>
                  <a:pt x="3190" y="6664"/>
                  <a:pt x="3190" y="6601"/>
                </a:cubicBezTo>
                <a:cubicBezTo>
                  <a:pt x="3190" y="6539"/>
                  <a:pt x="3166" y="6488"/>
                  <a:pt x="3136" y="6488"/>
                </a:cubicBezTo>
                <a:close/>
                <a:moveTo>
                  <a:pt x="2984" y="6815"/>
                </a:moveTo>
                <a:cubicBezTo>
                  <a:pt x="2954" y="6815"/>
                  <a:pt x="2930" y="6866"/>
                  <a:pt x="2930" y="6928"/>
                </a:cubicBezTo>
                <a:cubicBezTo>
                  <a:pt x="2930" y="6991"/>
                  <a:pt x="2954" y="7041"/>
                  <a:pt x="2984" y="7041"/>
                </a:cubicBezTo>
                <a:cubicBezTo>
                  <a:pt x="3014" y="7041"/>
                  <a:pt x="3038" y="6991"/>
                  <a:pt x="3038" y="6928"/>
                </a:cubicBezTo>
                <a:cubicBezTo>
                  <a:pt x="3038" y="6866"/>
                  <a:pt x="3014" y="6815"/>
                  <a:pt x="2984" y="6815"/>
                </a:cubicBezTo>
                <a:close/>
                <a:moveTo>
                  <a:pt x="2984" y="6488"/>
                </a:moveTo>
                <a:cubicBezTo>
                  <a:pt x="2954" y="6488"/>
                  <a:pt x="2930" y="6539"/>
                  <a:pt x="2930" y="6601"/>
                </a:cubicBezTo>
                <a:cubicBezTo>
                  <a:pt x="2930" y="6664"/>
                  <a:pt x="2954" y="6715"/>
                  <a:pt x="2984" y="6715"/>
                </a:cubicBezTo>
                <a:cubicBezTo>
                  <a:pt x="3014" y="6715"/>
                  <a:pt x="3038" y="6664"/>
                  <a:pt x="3038" y="6601"/>
                </a:cubicBezTo>
                <a:cubicBezTo>
                  <a:pt x="3038" y="6539"/>
                  <a:pt x="3014" y="6488"/>
                  <a:pt x="2984" y="6488"/>
                </a:cubicBezTo>
                <a:close/>
                <a:moveTo>
                  <a:pt x="3752" y="7126"/>
                </a:moveTo>
                <a:cubicBezTo>
                  <a:pt x="3722" y="7126"/>
                  <a:pt x="3698" y="7177"/>
                  <a:pt x="3698" y="7239"/>
                </a:cubicBezTo>
                <a:cubicBezTo>
                  <a:pt x="3698" y="7302"/>
                  <a:pt x="3722" y="7352"/>
                  <a:pt x="3752" y="7352"/>
                </a:cubicBezTo>
                <a:cubicBezTo>
                  <a:pt x="3782" y="7352"/>
                  <a:pt x="3806" y="7302"/>
                  <a:pt x="3806" y="7239"/>
                </a:cubicBezTo>
                <a:cubicBezTo>
                  <a:pt x="3806" y="7177"/>
                  <a:pt x="3782" y="7126"/>
                  <a:pt x="3752" y="7126"/>
                </a:cubicBezTo>
                <a:close/>
                <a:moveTo>
                  <a:pt x="1291" y="7453"/>
                </a:moveTo>
                <a:cubicBezTo>
                  <a:pt x="1261" y="7453"/>
                  <a:pt x="1237" y="7504"/>
                  <a:pt x="1237" y="7566"/>
                </a:cubicBezTo>
                <a:cubicBezTo>
                  <a:pt x="1237" y="7629"/>
                  <a:pt x="1261" y="7679"/>
                  <a:pt x="1291" y="7679"/>
                </a:cubicBezTo>
                <a:cubicBezTo>
                  <a:pt x="1321" y="7679"/>
                  <a:pt x="1345" y="7629"/>
                  <a:pt x="1345" y="7566"/>
                </a:cubicBezTo>
                <a:cubicBezTo>
                  <a:pt x="1345" y="7504"/>
                  <a:pt x="1321" y="7453"/>
                  <a:pt x="1291" y="7453"/>
                </a:cubicBezTo>
                <a:close/>
                <a:moveTo>
                  <a:pt x="1131" y="7126"/>
                </a:moveTo>
                <a:cubicBezTo>
                  <a:pt x="1102" y="7126"/>
                  <a:pt x="1078" y="7177"/>
                  <a:pt x="1078" y="7239"/>
                </a:cubicBezTo>
                <a:cubicBezTo>
                  <a:pt x="1078" y="7302"/>
                  <a:pt x="1102" y="7352"/>
                  <a:pt x="1131" y="7352"/>
                </a:cubicBezTo>
                <a:cubicBezTo>
                  <a:pt x="1161" y="7352"/>
                  <a:pt x="1185" y="7302"/>
                  <a:pt x="1185" y="7239"/>
                </a:cubicBezTo>
                <a:cubicBezTo>
                  <a:pt x="1185" y="7177"/>
                  <a:pt x="1161" y="7126"/>
                  <a:pt x="1131" y="7126"/>
                </a:cubicBezTo>
                <a:close/>
                <a:moveTo>
                  <a:pt x="1291" y="7126"/>
                </a:moveTo>
                <a:cubicBezTo>
                  <a:pt x="1261" y="7126"/>
                  <a:pt x="1237" y="7177"/>
                  <a:pt x="1237" y="7239"/>
                </a:cubicBezTo>
                <a:cubicBezTo>
                  <a:pt x="1237" y="7302"/>
                  <a:pt x="1261" y="7352"/>
                  <a:pt x="1291" y="7352"/>
                </a:cubicBezTo>
                <a:cubicBezTo>
                  <a:pt x="1321" y="7352"/>
                  <a:pt x="1345" y="7302"/>
                  <a:pt x="1345" y="7239"/>
                </a:cubicBezTo>
                <a:cubicBezTo>
                  <a:pt x="1345" y="7177"/>
                  <a:pt x="1321" y="7126"/>
                  <a:pt x="1291" y="7126"/>
                </a:cubicBezTo>
                <a:close/>
                <a:moveTo>
                  <a:pt x="1445" y="7453"/>
                </a:moveTo>
                <a:cubicBezTo>
                  <a:pt x="1415" y="7453"/>
                  <a:pt x="1391" y="7504"/>
                  <a:pt x="1391" y="7566"/>
                </a:cubicBezTo>
                <a:cubicBezTo>
                  <a:pt x="1391" y="7629"/>
                  <a:pt x="1415" y="7679"/>
                  <a:pt x="1445" y="7679"/>
                </a:cubicBezTo>
                <a:cubicBezTo>
                  <a:pt x="1474" y="7679"/>
                  <a:pt x="1498" y="7629"/>
                  <a:pt x="1498" y="7566"/>
                </a:cubicBezTo>
                <a:cubicBezTo>
                  <a:pt x="1498" y="7504"/>
                  <a:pt x="1474" y="7453"/>
                  <a:pt x="1445" y="7453"/>
                </a:cubicBezTo>
                <a:close/>
                <a:moveTo>
                  <a:pt x="1445" y="7126"/>
                </a:moveTo>
                <a:cubicBezTo>
                  <a:pt x="1415" y="7126"/>
                  <a:pt x="1391" y="7177"/>
                  <a:pt x="1391" y="7239"/>
                </a:cubicBezTo>
                <a:cubicBezTo>
                  <a:pt x="1391" y="7302"/>
                  <a:pt x="1415" y="7352"/>
                  <a:pt x="1445" y="7352"/>
                </a:cubicBezTo>
                <a:cubicBezTo>
                  <a:pt x="1474" y="7352"/>
                  <a:pt x="1498" y="7302"/>
                  <a:pt x="1498" y="7239"/>
                </a:cubicBezTo>
                <a:cubicBezTo>
                  <a:pt x="1498" y="7177"/>
                  <a:pt x="1474" y="7126"/>
                  <a:pt x="1445" y="7126"/>
                </a:cubicBezTo>
                <a:close/>
                <a:moveTo>
                  <a:pt x="1597" y="7453"/>
                </a:moveTo>
                <a:cubicBezTo>
                  <a:pt x="1567" y="7453"/>
                  <a:pt x="1543" y="7504"/>
                  <a:pt x="1543" y="7566"/>
                </a:cubicBezTo>
                <a:cubicBezTo>
                  <a:pt x="1543" y="7629"/>
                  <a:pt x="1567" y="7679"/>
                  <a:pt x="1597" y="7679"/>
                </a:cubicBezTo>
                <a:cubicBezTo>
                  <a:pt x="1627" y="7679"/>
                  <a:pt x="1651" y="7629"/>
                  <a:pt x="1651" y="7566"/>
                </a:cubicBezTo>
                <a:cubicBezTo>
                  <a:pt x="1651" y="7504"/>
                  <a:pt x="1627" y="7453"/>
                  <a:pt x="1597" y="7453"/>
                </a:cubicBezTo>
                <a:close/>
                <a:moveTo>
                  <a:pt x="1597" y="7126"/>
                </a:moveTo>
                <a:cubicBezTo>
                  <a:pt x="1567" y="7126"/>
                  <a:pt x="1543" y="7177"/>
                  <a:pt x="1543" y="7239"/>
                </a:cubicBezTo>
                <a:cubicBezTo>
                  <a:pt x="1543" y="7302"/>
                  <a:pt x="1567" y="7352"/>
                  <a:pt x="1597" y="7352"/>
                </a:cubicBezTo>
                <a:cubicBezTo>
                  <a:pt x="1627" y="7352"/>
                  <a:pt x="1651" y="7302"/>
                  <a:pt x="1651" y="7239"/>
                </a:cubicBezTo>
                <a:cubicBezTo>
                  <a:pt x="1651" y="7177"/>
                  <a:pt x="1627" y="7126"/>
                  <a:pt x="1597" y="7126"/>
                </a:cubicBezTo>
                <a:close/>
                <a:moveTo>
                  <a:pt x="2057" y="8417"/>
                </a:moveTo>
                <a:cubicBezTo>
                  <a:pt x="2027" y="8417"/>
                  <a:pt x="2003" y="8467"/>
                  <a:pt x="2003" y="8530"/>
                </a:cubicBezTo>
                <a:cubicBezTo>
                  <a:pt x="2003" y="8592"/>
                  <a:pt x="2027" y="8643"/>
                  <a:pt x="2057" y="8643"/>
                </a:cubicBezTo>
                <a:cubicBezTo>
                  <a:pt x="2087" y="8643"/>
                  <a:pt x="2111" y="8592"/>
                  <a:pt x="2111" y="8530"/>
                </a:cubicBezTo>
                <a:cubicBezTo>
                  <a:pt x="2111" y="8467"/>
                  <a:pt x="2087" y="8417"/>
                  <a:pt x="2057" y="8417"/>
                </a:cubicBezTo>
                <a:close/>
                <a:moveTo>
                  <a:pt x="1597" y="8417"/>
                </a:moveTo>
                <a:cubicBezTo>
                  <a:pt x="1567" y="8417"/>
                  <a:pt x="1543" y="8467"/>
                  <a:pt x="1543" y="8530"/>
                </a:cubicBezTo>
                <a:cubicBezTo>
                  <a:pt x="1543" y="8592"/>
                  <a:pt x="1567" y="8643"/>
                  <a:pt x="1597" y="8643"/>
                </a:cubicBezTo>
                <a:cubicBezTo>
                  <a:pt x="1627" y="8643"/>
                  <a:pt x="1651" y="8592"/>
                  <a:pt x="1651" y="8530"/>
                </a:cubicBezTo>
                <a:cubicBezTo>
                  <a:pt x="1651" y="8467"/>
                  <a:pt x="1627" y="8417"/>
                  <a:pt x="1597" y="8417"/>
                </a:cubicBezTo>
                <a:close/>
                <a:moveTo>
                  <a:pt x="1431" y="8006"/>
                </a:moveTo>
                <a:cubicBezTo>
                  <a:pt x="1461" y="8006"/>
                  <a:pt x="1485" y="7955"/>
                  <a:pt x="1485" y="7893"/>
                </a:cubicBezTo>
                <a:cubicBezTo>
                  <a:pt x="1485" y="7831"/>
                  <a:pt x="1461" y="7780"/>
                  <a:pt x="1431" y="7780"/>
                </a:cubicBezTo>
                <a:cubicBezTo>
                  <a:pt x="1402" y="7780"/>
                  <a:pt x="1378" y="7831"/>
                  <a:pt x="1378" y="7893"/>
                </a:cubicBezTo>
                <a:cubicBezTo>
                  <a:pt x="1378" y="7955"/>
                  <a:pt x="1402" y="8006"/>
                  <a:pt x="1431" y="8006"/>
                </a:cubicBezTo>
                <a:close/>
                <a:moveTo>
                  <a:pt x="1277" y="8107"/>
                </a:moveTo>
                <a:cubicBezTo>
                  <a:pt x="1248" y="8107"/>
                  <a:pt x="1224" y="8157"/>
                  <a:pt x="1224" y="8220"/>
                </a:cubicBezTo>
                <a:cubicBezTo>
                  <a:pt x="1224" y="8282"/>
                  <a:pt x="1248" y="8333"/>
                  <a:pt x="1277" y="8333"/>
                </a:cubicBezTo>
                <a:cubicBezTo>
                  <a:pt x="1307" y="8333"/>
                  <a:pt x="1331" y="8282"/>
                  <a:pt x="1331" y="8220"/>
                </a:cubicBezTo>
                <a:cubicBezTo>
                  <a:pt x="1331" y="8157"/>
                  <a:pt x="1307" y="8107"/>
                  <a:pt x="1277" y="8107"/>
                </a:cubicBezTo>
                <a:close/>
                <a:moveTo>
                  <a:pt x="1277" y="7780"/>
                </a:moveTo>
                <a:cubicBezTo>
                  <a:pt x="1248" y="7780"/>
                  <a:pt x="1224" y="7831"/>
                  <a:pt x="1224" y="7893"/>
                </a:cubicBezTo>
                <a:cubicBezTo>
                  <a:pt x="1224" y="7955"/>
                  <a:pt x="1248" y="8006"/>
                  <a:pt x="1277" y="8006"/>
                </a:cubicBezTo>
                <a:cubicBezTo>
                  <a:pt x="1307" y="8006"/>
                  <a:pt x="1331" y="7955"/>
                  <a:pt x="1331" y="7893"/>
                </a:cubicBezTo>
                <a:cubicBezTo>
                  <a:pt x="1331" y="7831"/>
                  <a:pt x="1307" y="7780"/>
                  <a:pt x="1277" y="7780"/>
                </a:cubicBezTo>
                <a:close/>
                <a:moveTo>
                  <a:pt x="2057" y="7453"/>
                </a:moveTo>
                <a:cubicBezTo>
                  <a:pt x="2027" y="7453"/>
                  <a:pt x="2003" y="7504"/>
                  <a:pt x="2003" y="7566"/>
                </a:cubicBezTo>
                <a:cubicBezTo>
                  <a:pt x="2003" y="7629"/>
                  <a:pt x="2027" y="7679"/>
                  <a:pt x="2057" y="7679"/>
                </a:cubicBezTo>
                <a:cubicBezTo>
                  <a:pt x="2087" y="7679"/>
                  <a:pt x="2111" y="7629"/>
                  <a:pt x="2111" y="7566"/>
                </a:cubicBezTo>
                <a:cubicBezTo>
                  <a:pt x="2111" y="7504"/>
                  <a:pt x="2087" y="7453"/>
                  <a:pt x="2057" y="7453"/>
                </a:cubicBezTo>
                <a:close/>
                <a:moveTo>
                  <a:pt x="2057" y="7126"/>
                </a:moveTo>
                <a:cubicBezTo>
                  <a:pt x="2027" y="7126"/>
                  <a:pt x="2003" y="7177"/>
                  <a:pt x="2003" y="7239"/>
                </a:cubicBezTo>
                <a:cubicBezTo>
                  <a:pt x="2003" y="7302"/>
                  <a:pt x="2027" y="7352"/>
                  <a:pt x="2057" y="7352"/>
                </a:cubicBezTo>
                <a:cubicBezTo>
                  <a:pt x="2087" y="7352"/>
                  <a:pt x="2111" y="7302"/>
                  <a:pt x="2111" y="7239"/>
                </a:cubicBezTo>
                <a:cubicBezTo>
                  <a:pt x="2111" y="7177"/>
                  <a:pt x="2087" y="7126"/>
                  <a:pt x="2057" y="7126"/>
                </a:cubicBezTo>
                <a:close/>
                <a:moveTo>
                  <a:pt x="1903" y="7453"/>
                </a:moveTo>
                <a:cubicBezTo>
                  <a:pt x="1873" y="7453"/>
                  <a:pt x="1849" y="7504"/>
                  <a:pt x="1849" y="7566"/>
                </a:cubicBezTo>
                <a:cubicBezTo>
                  <a:pt x="1849" y="7629"/>
                  <a:pt x="1873" y="7679"/>
                  <a:pt x="1903" y="7679"/>
                </a:cubicBezTo>
                <a:cubicBezTo>
                  <a:pt x="1933" y="7679"/>
                  <a:pt x="1957" y="7629"/>
                  <a:pt x="1957" y="7566"/>
                </a:cubicBezTo>
                <a:cubicBezTo>
                  <a:pt x="1957" y="7504"/>
                  <a:pt x="1933" y="7453"/>
                  <a:pt x="1903" y="7453"/>
                </a:cubicBezTo>
                <a:close/>
                <a:moveTo>
                  <a:pt x="1903" y="7126"/>
                </a:moveTo>
                <a:cubicBezTo>
                  <a:pt x="1873" y="7126"/>
                  <a:pt x="1849" y="7177"/>
                  <a:pt x="1849" y="7239"/>
                </a:cubicBezTo>
                <a:cubicBezTo>
                  <a:pt x="1849" y="7302"/>
                  <a:pt x="1873" y="7352"/>
                  <a:pt x="1903" y="7352"/>
                </a:cubicBezTo>
                <a:cubicBezTo>
                  <a:pt x="1933" y="7352"/>
                  <a:pt x="1957" y="7302"/>
                  <a:pt x="1957" y="7239"/>
                </a:cubicBezTo>
                <a:cubicBezTo>
                  <a:pt x="1957" y="7177"/>
                  <a:pt x="1933" y="7126"/>
                  <a:pt x="1903" y="7126"/>
                </a:cubicBezTo>
                <a:close/>
                <a:moveTo>
                  <a:pt x="1750" y="7453"/>
                </a:moveTo>
                <a:cubicBezTo>
                  <a:pt x="1721" y="7453"/>
                  <a:pt x="1697" y="7504"/>
                  <a:pt x="1697" y="7566"/>
                </a:cubicBezTo>
                <a:cubicBezTo>
                  <a:pt x="1697" y="7629"/>
                  <a:pt x="1721" y="7679"/>
                  <a:pt x="1750" y="7679"/>
                </a:cubicBezTo>
                <a:cubicBezTo>
                  <a:pt x="1780" y="7679"/>
                  <a:pt x="1804" y="7629"/>
                  <a:pt x="1804" y="7566"/>
                </a:cubicBezTo>
                <a:cubicBezTo>
                  <a:pt x="1804" y="7504"/>
                  <a:pt x="1780" y="7453"/>
                  <a:pt x="1750" y="7453"/>
                </a:cubicBezTo>
                <a:close/>
                <a:moveTo>
                  <a:pt x="1750" y="7126"/>
                </a:moveTo>
                <a:cubicBezTo>
                  <a:pt x="1721" y="7126"/>
                  <a:pt x="1697" y="7177"/>
                  <a:pt x="1697" y="7239"/>
                </a:cubicBezTo>
                <a:cubicBezTo>
                  <a:pt x="1697" y="7302"/>
                  <a:pt x="1721" y="7352"/>
                  <a:pt x="1750" y="7352"/>
                </a:cubicBezTo>
                <a:cubicBezTo>
                  <a:pt x="1780" y="7352"/>
                  <a:pt x="1804" y="7302"/>
                  <a:pt x="1804" y="7239"/>
                </a:cubicBezTo>
                <a:cubicBezTo>
                  <a:pt x="1804" y="7177"/>
                  <a:pt x="1780" y="7126"/>
                  <a:pt x="1750" y="7126"/>
                </a:cubicBezTo>
                <a:close/>
                <a:moveTo>
                  <a:pt x="2216" y="8743"/>
                </a:moveTo>
                <a:cubicBezTo>
                  <a:pt x="2186" y="8743"/>
                  <a:pt x="2162" y="8794"/>
                  <a:pt x="2162" y="8857"/>
                </a:cubicBezTo>
                <a:cubicBezTo>
                  <a:pt x="2162" y="8919"/>
                  <a:pt x="2186" y="8970"/>
                  <a:pt x="2216" y="8970"/>
                </a:cubicBezTo>
                <a:cubicBezTo>
                  <a:pt x="2245" y="8970"/>
                  <a:pt x="2269" y="8919"/>
                  <a:pt x="2269" y="8857"/>
                </a:cubicBezTo>
                <a:cubicBezTo>
                  <a:pt x="2269" y="8794"/>
                  <a:pt x="2245" y="8743"/>
                  <a:pt x="2216" y="8743"/>
                </a:cubicBezTo>
                <a:close/>
                <a:moveTo>
                  <a:pt x="2216" y="8417"/>
                </a:moveTo>
                <a:cubicBezTo>
                  <a:pt x="2186" y="8417"/>
                  <a:pt x="2162" y="8467"/>
                  <a:pt x="2162" y="8530"/>
                </a:cubicBezTo>
                <a:cubicBezTo>
                  <a:pt x="2162" y="8592"/>
                  <a:pt x="2186" y="8643"/>
                  <a:pt x="2216" y="8643"/>
                </a:cubicBezTo>
                <a:cubicBezTo>
                  <a:pt x="2245" y="8643"/>
                  <a:pt x="2269" y="8592"/>
                  <a:pt x="2269" y="8530"/>
                </a:cubicBezTo>
                <a:cubicBezTo>
                  <a:pt x="2269" y="8467"/>
                  <a:pt x="2245" y="8417"/>
                  <a:pt x="2216" y="8417"/>
                </a:cubicBezTo>
                <a:close/>
                <a:moveTo>
                  <a:pt x="2830" y="7780"/>
                </a:moveTo>
                <a:cubicBezTo>
                  <a:pt x="2801" y="7780"/>
                  <a:pt x="2776" y="7831"/>
                  <a:pt x="2776" y="7893"/>
                </a:cubicBezTo>
                <a:cubicBezTo>
                  <a:pt x="2776" y="7955"/>
                  <a:pt x="2801" y="8006"/>
                  <a:pt x="2830" y="8006"/>
                </a:cubicBezTo>
                <a:cubicBezTo>
                  <a:pt x="2860" y="8006"/>
                  <a:pt x="2884" y="7955"/>
                  <a:pt x="2884" y="7893"/>
                </a:cubicBezTo>
                <a:cubicBezTo>
                  <a:pt x="2884" y="7831"/>
                  <a:pt x="2860" y="7780"/>
                  <a:pt x="2830" y="7780"/>
                </a:cubicBezTo>
                <a:close/>
                <a:moveTo>
                  <a:pt x="2678" y="7780"/>
                </a:moveTo>
                <a:cubicBezTo>
                  <a:pt x="2648" y="7780"/>
                  <a:pt x="2624" y="7831"/>
                  <a:pt x="2624" y="7893"/>
                </a:cubicBezTo>
                <a:cubicBezTo>
                  <a:pt x="2624" y="7955"/>
                  <a:pt x="2648" y="8006"/>
                  <a:pt x="2678" y="8006"/>
                </a:cubicBezTo>
                <a:cubicBezTo>
                  <a:pt x="2707" y="8006"/>
                  <a:pt x="2731" y="7955"/>
                  <a:pt x="2731" y="7893"/>
                </a:cubicBezTo>
                <a:cubicBezTo>
                  <a:pt x="2731" y="7831"/>
                  <a:pt x="2707" y="7780"/>
                  <a:pt x="2678" y="7780"/>
                </a:cubicBezTo>
                <a:close/>
                <a:moveTo>
                  <a:pt x="2522" y="7780"/>
                </a:moveTo>
                <a:cubicBezTo>
                  <a:pt x="2493" y="7780"/>
                  <a:pt x="2469" y="7831"/>
                  <a:pt x="2469" y="7893"/>
                </a:cubicBezTo>
                <a:cubicBezTo>
                  <a:pt x="2469" y="7955"/>
                  <a:pt x="2493" y="8006"/>
                  <a:pt x="2522" y="8006"/>
                </a:cubicBezTo>
                <a:cubicBezTo>
                  <a:pt x="2552" y="8006"/>
                  <a:pt x="2576" y="7955"/>
                  <a:pt x="2576" y="7893"/>
                </a:cubicBezTo>
                <a:cubicBezTo>
                  <a:pt x="2576" y="7831"/>
                  <a:pt x="2552" y="7780"/>
                  <a:pt x="2522" y="7780"/>
                </a:cubicBezTo>
                <a:close/>
                <a:moveTo>
                  <a:pt x="2368" y="8107"/>
                </a:moveTo>
                <a:cubicBezTo>
                  <a:pt x="2339" y="8107"/>
                  <a:pt x="2315" y="8157"/>
                  <a:pt x="2315" y="8220"/>
                </a:cubicBezTo>
                <a:cubicBezTo>
                  <a:pt x="2315" y="8282"/>
                  <a:pt x="2339" y="8333"/>
                  <a:pt x="2368" y="8333"/>
                </a:cubicBezTo>
                <a:cubicBezTo>
                  <a:pt x="2398" y="8333"/>
                  <a:pt x="2422" y="8282"/>
                  <a:pt x="2422" y="8220"/>
                </a:cubicBezTo>
                <a:cubicBezTo>
                  <a:pt x="2422" y="8157"/>
                  <a:pt x="2398" y="8107"/>
                  <a:pt x="2368" y="8107"/>
                </a:cubicBezTo>
                <a:close/>
                <a:moveTo>
                  <a:pt x="2368" y="7780"/>
                </a:moveTo>
                <a:cubicBezTo>
                  <a:pt x="2339" y="7780"/>
                  <a:pt x="2315" y="7831"/>
                  <a:pt x="2315" y="7893"/>
                </a:cubicBezTo>
                <a:cubicBezTo>
                  <a:pt x="2315" y="7955"/>
                  <a:pt x="2339" y="8006"/>
                  <a:pt x="2368" y="8006"/>
                </a:cubicBezTo>
                <a:cubicBezTo>
                  <a:pt x="2398" y="8006"/>
                  <a:pt x="2422" y="7955"/>
                  <a:pt x="2422" y="7893"/>
                </a:cubicBezTo>
                <a:cubicBezTo>
                  <a:pt x="2422" y="7831"/>
                  <a:pt x="2398" y="7780"/>
                  <a:pt x="2368" y="7780"/>
                </a:cubicBezTo>
                <a:close/>
                <a:moveTo>
                  <a:pt x="1590" y="8333"/>
                </a:moveTo>
                <a:cubicBezTo>
                  <a:pt x="1620" y="8333"/>
                  <a:pt x="1644" y="8282"/>
                  <a:pt x="1644" y="8220"/>
                </a:cubicBezTo>
                <a:cubicBezTo>
                  <a:pt x="1644" y="8157"/>
                  <a:pt x="1620" y="8107"/>
                  <a:pt x="1590" y="8107"/>
                </a:cubicBezTo>
                <a:cubicBezTo>
                  <a:pt x="1560" y="8107"/>
                  <a:pt x="1536" y="8157"/>
                  <a:pt x="1536" y="8220"/>
                </a:cubicBezTo>
                <a:cubicBezTo>
                  <a:pt x="1536" y="8282"/>
                  <a:pt x="1560" y="8333"/>
                  <a:pt x="1590" y="8333"/>
                </a:cubicBezTo>
                <a:close/>
                <a:moveTo>
                  <a:pt x="1590" y="8006"/>
                </a:moveTo>
                <a:cubicBezTo>
                  <a:pt x="1620" y="8006"/>
                  <a:pt x="1644" y="7955"/>
                  <a:pt x="1644" y="7893"/>
                </a:cubicBezTo>
                <a:cubicBezTo>
                  <a:pt x="1644" y="7831"/>
                  <a:pt x="1620" y="7780"/>
                  <a:pt x="1590" y="7780"/>
                </a:cubicBezTo>
                <a:cubicBezTo>
                  <a:pt x="1560" y="7780"/>
                  <a:pt x="1536" y="7831"/>
                  <a:pt x="1536" y="7893"/>
                </a:cubicBezTo>
                <a:cubicBezTo>
                  <a:pt x="1536" y="7955"/>
                  <a:pt x="1560" y="8006"/>
                  <a:pt x="1590" y="8006"/>
                </a:cubicBezTo>
                <a:close/>
                <a:moveTo>
                  <a:pt x="2830" y="7453"/>
                </a:moveTo>
                <a:cubicBezTo>
                  <a:pt x="2801" y="7453"/>
                  <a:pt x="2776" y="7504"/>
                  <a:pt x="2776" y="7566"/>
                </a:cubicBezTo>
                <a:cubicBezTo>
                  <a:pt x="2776" y="7629"/>
                  <a:pt x="2801" y="7679"/>
                  <a:pt x="2830" y="7679"/>
                </a:cubicBezTo>
                <a:cubicBezTo>
                  <a:pt x="2860" y="7679"/>
                  <a:pt x="2884" y="7629"/>
                  <a:pt x="2884" y="7566"/>
                </a:cubicBezTo>
                <a:cubicBezTo>
                  <a:pt x="2884" y="7504"/>
                  <a:pt x="2860" y="7453"/>
                  <a:pt x="2830" y="7453"/>
                </a:cubicBezTo>
                <a:close/>
                <a:moveTo>
                  <a:pt x="2830" y="7126"/>
                </a:moveTo>
                <a:cubicBezTo>
                  <a:pt x="2801" y="7126"/>
                  <a:pt x="2776" y="7177"/>
                  <a:pt x="2776" y="7239"/>
                </a:cubicBezTo>
                <a:cubicBezTo>
                  <a:pt x="2776" y="7302"/>
                  <a:pt x="2801" y="7352"/>
                  <a:pt x="2830" y="7352"/>
                </a:cubicBezTo>
                <a:cubicBezTo>
                  <a:pt x="2860" y="7352"/>
                  <a:pt x="2884" y="7302"/>
                  <a:pt x="2884" y="7239"/>
                </a:cubicBezTo>
                <a:cubicBezTo>
                  <a:pt x="2884" y="7177"/>
                  <a:pt x="2860" y="7126"/>
                  <a:pt x="2830" y="7126"/>
                </a:cubicBezTo>
                <a:close/>
                <a:moveTo>
                  <a:pt x="2678" y="7453"/>
                </a:moveTo>
                <a:cubicBezTo>
                  <a:pt x="2648" y="7453"/>
                  <a:pt x="2624" y="7504"/>
                  <a:pt x="2624" y="7566"/>
                </a:cubicBezTo>
                <a:cubicBezTo>
                  <a:pt x="2624" y="7629"/>
                  <a:pt x="2648" y="7679"/>
                  <a:pt x="2678" y="7679"/>
                </a:cubicBezTo>
                <a:cubicBezTo>
                  <a:pt x="2707" y="7679"/>
                  <a:pt x="2731" y="7629"/>
                  <a:pt x="2731" y="7566"/>
                </a:cubicBezTo>
                <a:cubicBezTo>
                  <a:pt x="2731" y="7504"/>
                  <a:pt x="2707" y="7453"/>
                  <a:pt x="2678" y="7453"/>
                </a:cubicBezTo>
                <a:close/>
                <a:moveTo>
                  <a:pt x="2678" y="7126"/>
                </a:moveTo>
                <a:cubicBezTo>
                  <a:pt x="2648" y="7126"/>
                  <a:pt x="2624" y="7177"/>
                  <a:pt x="2624" y="7239"/>
                </a:cubicBezTo>
                <a:cubicBezTo>
                  <a:pt x="2624" y="7302"/>
                  <a:pt x="2648" y="7352"/>
                  <a:pt x="2678" y="7352"/>
                </a:cubicBezTo>
                <a:cubicBezTo>
                  <a:pt x="2707" y="7352"/>
                  <a:pt x="2731" y="7302"/>
                  <a:pt x="2731" y="7239"/>
                </a:cubicBezTo>
                <a:cubicBezTo>
                  <a:pt x="2731" y="7177"/>
                  <a:pt x="2707" y="7126"/>
                  <a:pt x="2678" y="7126"/>
                </a:cubicBezTo>
                <a:close/>
                <a:moveTo>
                  <a:pt x="2522" y="7453"/>
                </a:moveTo>
                <a:cubicBezTo>
                  <a:pt x="2493" y="7453"/>
                  <a:pt x="2469" y="7504"/>
                  <a:pt x="2469" y="7566"/>
                </a:cubicBezTo>
                <a:cubicBezTo>
                  <a:pt x="2469" y="7629"/>
                  <a:pt x="2493" y="7679"/>
                  <a:pt x="2522" y="7679"/>
                </a:cubicBezTo>
                <a:cubicBezTo>
                  <a:pt x="2552" y="7679"/>
                  <a:pt x="2576" y="7629"/>
                  <a:pt x="2576" y="7566"/>
                </a:cubicBezTo>
                <a:cubicBezTo>
                  <a:pt x="2576" y="7504"/>
                  <a:pt x="2552" y="7453"/>
                  <a:pt x="2522" y="7453"/>
                </a:cubicBezTo>
                <a:close/>
                <a:moveTo>
                  <a:pt x="2522" y="7126"/>
                </a:moveTo>
                <a:cubicBezTo>
                  <a:pt x="2493" y="7126"/>
                  <a:pt x="2469" y="7177"/>
                  <a:pt x="2469" y="7239"/>
                </a:cubicBezTo>
                <a:cubicBezTo>
                  <a:pt x="2469" y="7302"/>
                  <a:pt x="2493" y="7352"/>
                  <a:pt x="2522" y="7352"/>
                </a:cubicBezTo>
                <a:cubicBezTo>
                  <a:pt x="2552" y="7352"/>
                  <a:pt x="2576" y="7302"/>
                  <a:pt x="2576" y="7239"/>
                </a:cubicBezTo>
                <a:cubicBezTo>
                  <a:pt x="2576" y="7177"/>
                  <a:pt x="2552" y="7126"/>
                  <a:pt x="2522" y="7126"/>
                </a:cubicBezTo>
                <a:close/>
                <a:moveTo>
                  <a:pt x="2368" y="7453"/>
                </a:moveTo>
                <a:cubicBezTo>
                  <a:pt x="2339" y="7453"/>
                  <a:pt x="2315" y="7504"/>
                  <a:pt x="2315" y="7566"/>
                </a:cubicBezTo>
                <a:cubicBezTo>
                  <a:pt x="2315" y="7629"/>
                  <a:pt x="2339" y="7679"/>
                  <a:pt x="2368" y="7679"/>
                </a:cubicBezTo>
                <a:cubicBezTo>
                  <a:pt x="2398" y="7679"/>
                  <a:pt x="2422" y="7629"/>
                  <a:pt x="2422" y="7566"/>
                </a:cubicBezTo>
                <a:cubicBezTo>
                  <a:pt x="2422" y="7504"/>
                  <a:pt x="2398" y="7453"/>
                  <a:pt x="2368" y="7453"/>
                </a:cubicBezTo>
                <a:close/>
                <a:moveTo>
                  <a:pt x="2368" y="7126"/>
                </a:moveTo>
                <a:cubicBezTo>
                  <a:pt x="2339" y="7126"/>
                  <a:pt x="2315" y="7177"/>
                  <a:pt x="2315" y="7239"/>
                </a:cubicBezTo>
                <a:cubicBezTo>
                  <a:pt x="2315" y="7302"/>
                  <a:pt x="2339" y="7352"/>
                  <a:pt x="2368" y="7352"/>
                </a:cubicBezTo>
                <a:cubicBezTo>
                  <a:pt x="2398" y="7352"/>
                  <a:pt x="2422" y="7302"/>
                  <a:pt x="2422" y="7239"/>
                </a:cubicBezTo>
                <a:cubicBezTo>
                  <a:pt x="2422" y="7177"/>
                  <a:pt x="2398" y="7126"/>
                  <a:pt x="2368" y="7126"/>
                </a:cubicBezTo>
                <a:close/>
                <a:moveTo>
                  <a:pt x="2216" y="7453"/>
                </a:moveTo>
                <a:cubicBezTo>
                  <a:pt x="2186" y="7453"/>
                  <a:pt x="2162" y="7504"/>
                  <a:pt x="2162" y="7566"/>
                </a:cubicBezTo>
                <a:cubicBezTo>
                  <a:pt x="2162" y="7629"/>
                  <a:pt x="2186" y="7679"/>
                  <a:pt x="2216" y="7679"/>
                </a:cubicBezTo>
                <a:cubicBezTo>
                  <a:pt x="2245" y="7679"/>
                  <a:pt x="2269" y="7629"/>
                  <a:pt x="2269" y="7566"/>
                </a:cubicBezTo>
                <a:cubicBezTo>
                  <a:pt x="2269" y="7504"/>
                  <a:pt x="2245" y="7453"/>
                  <a:pt x="2216" y="7453"/>
                </a:cubicBezTo>
                <a:close/>
                <a:moveTo>
                  <a:pt x="2216" y="7126"/>
                </a:moveTo>
                <a:cubicBezTo>
                  <a:pt x="2186" y="7126"/>
                  <a:pt x="2162" y="7177"/>
                  <a:pt x="2162" y="7239"/>
                </a:cubicBezTo>
                <a:cubicBezTo>
                  <a:pt x="2162" y="7302"/>
                  <a:pt x="2186" y="7352"/>
                  <a:pt x="2216" y="7352"/>
                </a:cubicBezTo>
                <a:cubicBezTo>
                  <a:pt x="2245" y="7352"/>
                  <a:pt x="2269" y="7302"/>
                  <a:pt x="2269" y="7239"/>
                </a:cubicBezTo>
                <a:cubicBezTo>
                  <a:pt x="2269" y="7177"/>
                  <a:pt x="2245" y="7126"/>
                  <a:pt x="2216" y="7126"/>
                </a:cubicBezTo>
                <a:close/>
                <a:moveTo>
                  <a:pt x="4044" y="9608"/>
                </a:moveTo>
                <a:cubicBezTo>
                  <a:pt x="4074" y="9608"/>
                  <a:pt x="4098" y="9558"/>
                  <a:pt x="4098" y="9495"/>
                </a:cubicBezTo>
                <a:cubicBezTo>
                  <a:pt x="4098" y="9433"/>
                  <a:pt x="4074" y="9382"/>
                  <a:pt x="4044" y="9382"/>
                </a:cubicBezTo>
                <a:cubicBezTo>
                  <a:pt x="4014" y="9382"/>
                  <a:pt x="3990" y="9433"/>
                  <a:pt x="3990" y="9495"/>
                </a:cubicBezTo>
                <a:cubicBezTo>
                  <a:pt x="3990" y="9558"/>
                  <a:pt x="4014" y="9608"/>
                  <a:pt x="4044" y="9608"/>
                </a:cubicBezTo>
                <a:close/>
                <a:moveTo>
                  <a:pt x="3743" y="9279"/>
                </a:moveTo>
                <a:cubicBezTo>
                  <a:pt x="3773" y="9279"/>
                  <a:pt x="3797" y="9229"/>
                  <a:pt x="3797" y="9166"/>
                </a:cubicBezTo>
                <a:cubicBezTo>
                  <a:pt x="3797" y="9104"/>
                  <a:pt x="3773" y="9053"/>
                  <a:pt x="3743" y="9053"/>
                </a:cubicBezTo>
                <a:cubicBezTo>
                  <a:pt x="3713" y="9053"/>
                  <a:pt x="3689" y="9104"/>
                  <a:pt x="3689" y="9166"/>
                </a:cubicBezTo>
                <a:cubicBezTo>
                  <a:pt x="3689" y="9229"/>
                  <a:pt x="3713" y="9279"/>
                  <a:pt x="3743" y="9279"/>
                </a:cubicBezTo>
                <a:close/>
                <a:moveTo>
                  <a:pt x="3594" y="9053"/>
                </a:moveTo>
                <a:cubicBezTo>
                  <a:pt x="3565" y="9053"/>
                  <a:pt x="3541" y="9104"/>
                  <a:pt x="3541" y="9166"/>
                </a:cubicBezTo>
                <a:cubicBezTo>
                  <a:pt x="3541" y="9229"/>
                  <a:pt x="3565" y="9279"/>
                  <a:pt x="3594" y="9279"/>
                </a:cubicBezTo>
                <a:cubicBezTo>
                  <a:pt x="3624" y="9279"/>
                  <a:pt x="3648" y="9229"/>
                  <a:pt x="3648" y="9166"/>
                </a:cubicBezTo>
                <a:cubicBezTo>
                  <a:pt x="3648" y="9104"/>
                  <a:pt x="3624" y="9053"/>
                  <a:pt x="3594" y="9053"/>
                </a:cubicBezTo>
                <a:close/>
                <a:moveTo>
                  <a:pt x="3446" y="8333"/>
                </a:moveTo>
                <a:cubicBezTo>
                  <a:pt x="3475" y="8333"/>
                  <a:pt x="3500" y="8282"/>
                  <a:pt x="3500" y="8220"/>
                </a:cubicBezTo>
                <a:cubicBezTo>
                  <a:pt x="3500" y="8157"/>
                  <a:pt x="3475" y="8107"/>
                  <a:pt x="3446" y="8107"/>
                </a:cubicBezTo>
                <a:cubicBezTo>
                  <a:pt x="3416" y="8107"/>
                  <a:pt x="3392" y="8157"/>
                  <a:pt x="3392" y="8220"/>
                </a:cubicBezTo>
                <a:cubicBezTo>
                  <a:pt x="3392" y="8282"/>
                  <a:pt x="3416" y="8333"/>
                  <a:pt x="3446" y="8333"/>
                </a:cubicBezTo>
                <a:close/>
                <a:moveTo>
                  <a:pt x="3446" y="8006"/>
                </a:moveTo>
                <a:cubicBezTo>
                  <a:pt x="3475" y="8006"/>
                  <a:pt x="3500" y="7955"/>
                  <a:pt x="3500" y="7893"/>
                </a:cubicBezTo>
                <a:cubicBezTo>
                  <a:pt x="3500" y="7831"/>
                  <a:pt x="3475" y="7780"/>
                  <a:pt x="3446" y="7780"/>
                </a:cubicBezTo>
                <a:cubicBezTo>
                  <a:pt x="3416" y="7780"/>
                  <a:pt x="3392" y="7831"/>
                  <a:pt x="3392" y="7893"/>
                </a:cubicBezTo>
                <a:cubicBezTo>
                  <a:pt x="3392" y="7955"/>
                  <a:pt x="3416" y="8006"/>
                  <a:pt x="3446" y="8006"/>
                </a:cubicBezTo>
                <a:close/>
                <a:moveTo>
                  <a:pt x="2984" y="7780"/>
                </a:moveTo>
                <a:cubicBezTo>
                  <a:pt x="2954" y="7780"/>
                  <a:pt x="2930" y="7831"/>
                  <a:pt x="2930" y="7893"/>
                </a:cubicBezTo>
                <a:cubicBezTo>
                  <a:pt x="2930" y="7955"/>
                  <a:pt x="2954" y="8006"/>
                  <a:pt x="2984" y="8006"/>
                </a:cubicBezTo>
                <a:cubicBezTo>
                  <a:pt x="3014" y="8006"/>
                  <a:pt x="3038" y="7955"/>
                  <a:pt x="3038" y="7893"/>
                </a:cubicBezTo>
                <a:cubicBezTo>
                  <a:pt x="3038" y="7831"/>
                  <a:pt x="3014" y="7780"/>
                  <a:pt x="2984" y="7780"/>
                </a:cubicBezTo>
                <a:close/>
                <a:moveTo>
                  <a:pt x="3598" y="7453"/>
                </a:moveTo>
                <a:cubicBezTo>
                  <a:pt x="3569" y="7453"/>
                  <a:pt x="3545" y="7504"/>
                  <a:pt x="3545" y="7566"/>
                </a:cubicBezTo>
                <a:cubicBezTo>
                  <a:pt x="3545" y="7629"/>
                  <a:pt x="3569" y="7679"/>
                  <a:pt x="3598" y="7679"/>
                </a:cubicBezTo>
                <a:cubicBezTo>
                  <a:pt x="3628" y="7679"/>
                  <a:pt x="3652" y="7629"/>
                  <a:pt x="3652" y="7566"/>
                </a:cubicBezTo>
                <a:cubicBezTo>
                  <a:pt x="3652" y="7504"/>
                  <a:pt x="3628" y="7453"/>
                  <a:pt x="3598" y="7453"/>
                </a:cubicBezTo>
                <a:close/>
                <a:moveTo>
                  <a:pt x="3598" y="7126"/>
                </a:moveTo>
                <a:cubicBezTo>
                  <a:pt x="3569" y="7126"/>
                  <a:pt x="3545" y="7177"/>
                  <a:pt x="3545" y="7239"/>
                </a:cubicBezTo>
                <a:cubicBezTo>
                  <a:pt x="3545" y="7302"/>
                  <a:pt x="3569" y="7352"/>
                  <a:pt x="3598" y="7352"/>
                </a:cubicBezTo>
                <a:cubicBezTo>
                  <a:pt x="3628" y="7352"/>
                  <a:pt x="3652" y="7302"/>
                  <a:pt x="3652" y="7239"/>
                </a:cubicBezTo>
                <a:cubicBezTo>
                  <a:pt x="3652" y="7177"/>
                  <a:pt x="3628" y="7126"/>
                  <a:pt x="3598" y="7126"/>
                </a:cubicBezTo>
                <a:close/>
                <a:moveTo>
                  <a:pt x="3446" y="7679"/>
                </a:moveTo>
                <a:cubicBezTo>
                  <a:pt x="3475" y="7679"/>
                  <a:pt x="3500" y="7629"/>
                  <a:pt x="3500" y="7566"/>
                </a:cubicBezTo>
                <a:cubicBezTo>
                  <a:pt x="3500" y="7504"/>
                  <a:pt x="3475" y="7453"/>
                  <a:pt x="3446" y="7453"/>
                </a:cubicBezTo>
                <a:cubicBezTo>
                  <a:pt x="3416" y="7453"/>
                  <a:pt x="3392" y="7504"/>
                  <a:pt x="3392" y="7566"/>
                </a:cubicBezTo>
                <a:cubicBezTo>
                  <a:pt x="3392" y="7629"/>
                  <a:pt x="3416" y="7679"/>
                  <a:pt x="3446" y="7679"/>
                </a:cubicBezTo>
                <a:close/>
                <a:moveTo>
                  <a:pt x="3446" y="7352"/>
                </a:moveTo>
                <a:cubicBezTo>
                  <a:pt x="3475" y="7352"/>
                  <a:pt x="3500" y="7302"/>
                  <a:pt x="3500" y="7239"/>
                </a:cubicBezTo>
                <a:cubicBezTo>
                  <a:pt x="3500" y="7177"/>
                  <a:pt x="3475" y="7126"/>
                  <a:pt x="3446" y="7126"/>
                </a:cubicBezTo>
                <a:cubicBezTo>
                  <a:pt x="3416" y="7126"/>
                  <a:pt x="3392" y="7177"/>
                  <a:pt x="3392" y="7239"/>
                </a:cubicBezTo>
                <a:cubicBezTo>
                  <a:pt x="3392" y="7302"/>
                  <a:pt x="3416" y="7352"/>
                  <a:pt x="3446" y="7352"/>
                </a:cubicBezTo>
                <a:close/>
                <a:moveTo>
                  <a:pt x="3290" y="7679"/>
                </a:moveTo>
                <a:cubicBezTo>
                  <a:pt x="3320" y="7679"/>
                  <a:pt x="3344" y="7629"/>
                  <a:pt x="3344" y="7566"/>
                </a:cubicBezTo>
                <a:cubicBezTo>
                  <a:pt x="3344" y="7504"/>
                  <a:pt x="3320" y="7453"/>
                  <a:pt x="3290" y="7453"/>
                </a:cubicBezTo>
                <a:cubicBezTo>
                  <a:pt x="3261" y="7453"/>
                  <a:pt x="3237" y="7504"/>
                  <a:pt x="3237" y="7566"/>
                </a:cubicBezTo>
                <a:cubicBezTo>
                  <a:pt x="3237" y="7629"/>
                  <a:pt x="3261" y="7679"/>
                  <a:pt x="3290" y="7679"/>
                </a:cubicBezTo>
                <a:close/>
                <a:moveTo>
                  <a:pt x="3290" y="7352"/>
                </a:moveTo>
                <a:cubicBezTo>
                  <a:pt x="3320" y="7352"/>
                  <a:pt x="3344" y="7302"/>
                  <a:pt x="3344" y="7239"/>
                </a:cubicBezTo>
                <a:cubicBezTo>
                  <a:pt x="3344" y="7177"/>
                  <a:pt x="3320" y="7126"/>
                  <a:pt x="3290" y="7126"/>
                </a:cubicBezTo>
                <a:cubicBezTo>
                  <a:pt x="3261" y="7126"/>
                  <a:pt x="3237" y="7177"/>
                  <a:pt x="3237" y="7239"/>
                </a:cubicBezTo>
                <a:cubicBezTo>
                  <a:pt x="3237" y="7302"/>
                  <a:pt x="3261" y="7352"/>
                  <a:pt x="3290" y="7352"/>
                </a:cubicBezTo>
                <a:close/>
                <a:moveTo>
                  <a:pt x="3136" y="7453"/>
                </a:moveTo>
                <a:cubicBezTo>
                  <a:pt x="3107" y="7453"/>
                  <a:pt x="3083" y="7504"/>
                  <a:pt x="3083" y="7566"/>
                </a:cubicBezTo>
                <a:cubicBezTo>
                  <a:pt x="3083" y="7629"/>
                  <a:pt x="3107" y="7679"/>
                  <a:pt x="3136" y="7679"/>
                </a:cubicBezTo>
                <a:cubicBezTo>
                  <a:pt x="3166" y="7679"/>
                  <a:pt x="3190" y="7629"/>
                  <a:pt x="3190" y="7566"/>
                </a:cubicBezTo>
                <a:cubicBezTo>
                  <a:pt x="3190" y="7504"/>
                  <a:pt x="3166" y="7453"/>
                  <a:pt x="3136" y="7453"/>
                </a:cubicBezTo>
                <a:close/>
                <a:moveTo>
                  <a:pt x="3136" y="7126"/>
                </a:moveTo>
                <a:cubicBezTo>
                  <a:pt x="3107" y="7126"/>
                  <a:pt x="3083" y="7177"/>
                  <a:pt x="3083" y="7239"/>
                </a:cubicBezTo>
                <a:cubicBezTo>
                  <a:pt x="3083" y="7302"/>
                  <a:pt x="3107" y="7352"/>
                  <a:pt x="3136" y="7352"/>
                </a:cubicBezTo>
                <a:cubicBezTo>
                  <a:pt x="3166" y="7352"/>
                  <a:pt x="3190" y="7302"/>
                  <a:pt x="3190" y="7239"/>
                </a:cubicBezTo>
                <a:cubicBezTo>
                  <a:pt x="3190" y="7177"/>
                  <a:pt x="3166" y="7126"/>
                  <a:pt x="3136" y="7126"/>
                </a:cubicBezTo>
                <a:close/>
                <a:moveTo>
                  <a:pt x="2984" y="7453"/>
                </a:moveTo>
                <a:cubicBezTo>
                  <a:pt x="2954" y="7453"/>
                  <a:pt x="2930" y="7504"/>
                  <a:pt x="2930" y="7566"/>
                </a:cubicBezTo>
                <a:cubicBezTo>
                  <a:pt x="2930" y="7629"/>
                  <a:pt x="2954" y="7679"/>
                  <a:pt x="2984" y="7679"/>
                </a:cubicBezTo>
                <a:cubicBezTo>
                  <a:pt x="3014" y="7679"/>
                  <a:pt x="3038" y="7629"/>
                  <a:pt x="3038" y="7566"/>
                </a:cubicBezTo>
                <a:cubicBezTo>
                  <a:pt x="3038" y="7504"/>
                  <a:pt x="3014" y="7453"/>
                  <a:pt x="2984" y="7453"/>
                </a:cubicBezTo>
                <a:close/>
                <a:moveTo>
                  <a:pt x="2984" y="7126"/>
                </a:moveTo>
                <a:cubicBezTo>
                  <a:pt x="2954" y="7126"/>
                  <a:pt x="2930" y="7177"/>
                  <a:pt x="2930" y="7239"/>
                </a:cubicBezTo>
                <a:cubicBezTo>
                  <a:pt x="2930" y="7302"/>
                  <a:pt x="2954" y="7352"/>
                  <a:pt x="2984" y="7352"/>
                </a:cubicBezTo>
                <a:cubicBezTo>
                  <a:pt x="3014" y="7352"/>
                  <a:pt x="3038" y="7302"/>
                  <a:pt x="3038" y="7239"/>
                </a:cubicBezTo>
                <a:cubicBezTo>
                  <a:pt x="3038" y="7177"/>
                  <a:pt x="3014" y="7126"/>
                  <a:pt x="2984" y="7126"/>
                </a:cubicBezTo>
                <a:close/>
                <a:moveTo>
                  <a:pt x="5746" y="12918"/>
                </a:moveTo>
                <a:cubicBezTo>
                  <a:pt x="5717" y="12918"/>
                  <a:pt x="5692" y="12969"/>
                  <a:pt x="5692" y="13031"/>
                </a:cubicBezTo>
                <a:cubicBezTo>
                  <a:pt x="5692" y="13094"/>
                  <a:pt x="5717" y="13145"/>
                  <a:pt x="5746" y="13145"/>
                </a:cubicBezTo>
                <a:cubicBezTo>
                  <a:pt x="5776" y="13145"/>
                  <a:pt x="5800" y="13094"/>
                  <a:pt x="5800" y="13031"/>
                </a:cubicBezTo>
                <a:cubicBezTo>
                  <a:pt x="5800" y="12969"/>
                  <a:pt x="5776" y="12918"/>
                  <a:pt x="5746" y="12918"/>
                </a:cubicBezTo>
                <a:close/>
                <a:moveTo>
                  <a:pt x="3591" y="12918"/>
                </a:moveTo>
                <a:cubicBezTo>
                  <a:pt x="3561" y="12918"/>
                  <a:pt x="3537" y="12969"/>
                  <a:pt x="3537" y="13031"/>
                </a:cubicBezTo>
                <a:cubicBezTo>
                  <a:pt x="3537" y="13094"/>
                  <a:pt x="3561" y="13145"/>
                  <a:pt x="3591" y="13145"/>
                </a:cubicBezTo>
                <a:cubicBezTo>
                  <a:pt x="3621" y="13145"/>
                  <a:pt x="3645" y="13094"/>
                  <a:pt x="3645" y="13031"/>
                </a:cubicBezTo>
                <a:cubicBezTo>
                  <a:pt x="3645" y="12969"/>
                  <a:pt x="3621" y="12918"/>
                  <a:pt x="3591" y="12918"/>
                </a:cubicBezTo>
                <a:close/>
                <a:moveTo>
                  <a:pt x="3591" y="12591"/>
                </a:moveTo>
                <a:cubicBezTo>
                  <a:pt x="3561" y="12591"/>
                  <a:pt x="3537" y="12642"/>
                  <a:pt x="3537" y="12705"/>
                </a:cubicBezTo>
                <a:cubicBezTo>
                  <a:pt x="3537" y="12767"/>
                  <a:pt x="3561" y="12818"/>
                  <a:pt x="3591" y="12818"/>
                </a:cubicBezTo>
                <a:cubicBezTo>
                  <a:pt x="3621" y="12818"/>
                  <a:pt x="3645" y="12767"/>
                  <a:pt x="3645" y="12705"/>
                </a:cubicBezTo>
                <a:cubicBezTo>
                  <a:pt x="3645" y="12642"/>
                  <a:pt x="3621" y="12591"/>
                  <a:pt x="3591" y="12591"/>
                </a:cubicBezTo>
                <a:close/>
                <a:moveTo>
                  <a:pt x="3438" y="12918"/>
                </a:moveTo>
                <a:cubicBezTo>
                  <a:pt x="3409" y="12918"/>
                  <a:pt x="3385" y="12969"/>
                  <a:pt x="3385" y="13031"/>
                </a:cubicBezTo>
                <a:cubicBezTo>
                  <a:pt x="3385" y="13094"/>
                  <a:pt x="3409" y="13145"/>
                  <a:pt x="3438" y="13145"/>
                </a:cubicBezTo>
                <a:cubicBezTo>
                  <a:pt x="3468" y="13145"/>
                  <a:pt x="3492" y="13094"/>
                  <a:pt x="3492" y="13031"/>
                </a:cubicBezTo>
                <a:cubicBezTo>
                  <a:pt x="3492" y="12969"/>
                  <a:pt x="3468" y="12918"/>
                  <a:pt x="3438" y="12918"/>
                </a:cubicBezTo>
                <a:close/>
                <a:moveTo>
                  <a:pt x="3438" y="12591"/>
                </a:moveTo>
                <a:cubicBezTo>
                  <a:pt x="3409" y="12591"/>
                  <a:pt x="3385" y="12642"/>
                  <a:pt x="3385" y="12705"/>
                </a:cubicBezTo>
                <a:cubicBezTo>
                  <a:pt x="3385" y="12767"/>
                  <a:pt x="3409" y="12818"/>
                  <a:pt x="3438" y="12818"/>
                </a:cubicBezTo>
                <a:cubicBezTo>
                  <a:pt x="3468" y="12818"/>
                  <a:pt x="3492" y="12767"/>
                  <a:pt x="3492" y="12705"/>
                </a:cubicBezTo>
                <a:cubicBezTo>
                  <a:pt x="3492" y="12642"/>
                  <a:pt x="3468" y="12591"/>
                  <a:pt x="3438" y="12591"/>
                </a:cubicBezTo>
                <a:close/>
                <a:moveTo>
                  <a:pt x="4051" y="12918"/>
                </a:moveTo>
                <a:cubicBezTo>
                  <a:pt x="4022" y="12918"/>
                  <a:pt x="3998" y="12969"/>
                  <a:pt x="3998" y="13031"/>
                </a:cubicBezTo>
                <a:cubicBezTo>
                  <a:pt x="3998" y="13094"/>
                  <a:pt x="4022" y="13145"/>
                  <a:pt x="4051" y="13145"/>
                </a:cubicBezTo>
                <a:cubicBezTo>
                  <a:pt x="4081" y="13145"/>
                  <a:pt x="4105" y="13094"/>
                  <a:pt x="4105" y="13031"/>
                </a:cubicBezTo>
                <a:cubicBezTo>
                  <a:pt x="4105" y="12969"/>
                  <a:pt x="4081" y="12918"/>
                  <a:pt x="4051" y="12918"/>
                </a:cubicBezTo>
                <a:close/>
                <a:moveTo>
                  <a:pt x="4051" y="12591"/>
                </a:moveTo>
                <a:cubicBezTo>
                  <a:pt x="4022" y="12591"/>
                  <a:pt x="3998" y="12642"/>
                  <a:pt x="3998" y="12705"/>
                </a:cubicBezTo>
                <a:cubicBezTo>
                  <a:pt x="3998" y="12767"/>
                  <a:pt x="4022" y="12818"/>
                  <a:pt x="4051" y="12818"/>
                </a:cubicBezTo>
                <a:cubicBezTo>
                  <a:pt x="4081" y="12818"/>
                  <a:pt x="4105" y="12767"/>
                  <a:pt x="4105" y="12705"/>
                </a:cubicBezTo>
                <a:cubicBezTo>
                  <a:pt x="4105" y="12642"/>
                  <a:pt x="4081" y="12591"/>
                  <a:pt x="4051" y="12591"/>
                </a:cubicBezTo>
                <a:close/>
                <a:moveTo>
                  <a:pt x="3897" y="12918"/>
                </a:moveTo>
                <a:cubicBezTo>
                  <a:pt x="3868" y="12918"/>
                  <a:pt x="3844" y="12969"/>
                  <a:pt x="3844" y="13031"/>
                </a:cubicBezTo>
                <a:cubicBezTo>
                  <a:pt x="3844" y="13094"/>
                  <a:pt x="3868" y="13145"/>
                  <a:pt x="3897" y="13145"/>
                </a:cubicBezTo>
                <a:cubicBezTo>
                  <a:pt x="3927" y="13145"/>
                  <a:pt x="3951" y="13094"/>
                  <a:pt x="3951" y="13031"/>
                </a:cubicBezTo>
                <a:cubicBezTo>
                  <a:pt x="3951" y="12969"/>
                  <a:pt x="3927" y="12918"/>
                  <a:pt x="3897" y="12918"/>
                </a:cubicBezTo>
                <a:close/>
                <a:moveTo>
                  <a:pt x="3897" y="12591"/>
                </a:moveTo>
                <a:cubicBezTo>
                  <a:pt x="3868" y="12591"/>
                  <a:pt x="3844" y="12642"/>
                  <a:pt x="3844" y="12705"/>
                </a:cubicBezTo>
                <a:cubicBezTo>
                  <a:pt x="3844" y="12767"/>
                  <a:pt x="3868" y="12818"/>
                  <a:pt x="3897" y="12818"/>
                </a:cubicBezTo>
                <a:cubicBezTo>
                  <a:pt x="3927" y="12818"/>
                  <a:pt x="3951" y="12767"/>
                  <a:pt x="3951" y="12705"/>
                </a:cubicBezTo>
                <a:cubicBezTo>
                  <a:pt x="3951" y="12642"/>
                  <a:pt x="3927" y="12591"/>
                  <a:pt x="3897" y="12591"/>
                </a:cubicBezTo>
                <a:close/>
                <a:moveTo>
                  <a:pt x="3745" y="12918"/>
                </a:moveTo>
                <a:cubicBezTo>
                  <a:pt x="3715" y="12918"/>
                  <a:pt x="3691" y="12969"/>
                  <a:pt x="3691" y="13031"/>
                </a:cubicBezTo>
                <a:cubicBezTo>
                  <a:pt x="3691" y="13094"/>
                  <a:pt x="3715" y="13145"/>
                  <a:pt x="3745" y="13145"/>
                </a:cubicBezTo>
                <a:cubicBezTo>
                  <a:pt x="3774" y="13145"/>
                  <a:pt x="3798" y="13094"/>
                  <a:pt x="3798" y="13031"/>
                </a:cubicBezTo>
                <a:cubicBezTo>
                  <a:pt x="3798" y="12969"/>
                  <a:pt x="3774" y="12918"/>
                  <a:pt x="3745" y="12918"/>
                </a:cubicBezTo>
                <a:close/>
                <a:moveTo>
                  <a:pt x="3745" y="12591"/>
                </a:moveTo>
                <a:cubicBezTo>
                  <a:pt x="3715" y="12591"/>
                  <a:pt x="3691" y="12642"/>
                  <a:pt x="3691" y="12705"/>
                </a:cubicBezTo>
                <a:cubicBezTo>
                  <a:pt x="3691" y="12767"/>
                  <a:pt x="3715" y="12818"/>
                  <a:pt x="3745" y="12818"/>
                </a:cubicBezTo>
                <a:cubicBezTo>
                  <a:pt x="3774" y="12818"/>
                  <a:pt x="3798" y="12767"/>
                  <a:pt x="3798" y="12705"/>
                </a:cubicBezTo>
                <a:cubicBezTo>
                  <a:pt x="3798" y="12642"/>
                  <a:pt x="3774" y="12591"/>
                  <a:pt x="3745" y="12591"/>
                </a:cubicBezTo>
                <a:close/>
                <a:moveTo>
                  <a:pt x="4824" y="12918"/>
                </a:moveTo>
                <a:cubicBezTo>
                  <a:pt x="4795" y="12918"/>
                  <a:pt x="4771" y="12969"/>
                  <a:pt x="4771" y="13031"/>
                </a:cubicBezTo>
                <a:cubicBezTo>
                  <a:pt x="4771" y="13094"/>
                  <a:pt x="4795" y="13145"/>
                  <a:pt x="4824" y="13145"/>
                </a:cubicBezTo>
                <a:cubicBezTo>
                  <a:pt x="4854" y="13145"/>
                  <a:pt x="4878" y="13094"/>
                  <a:pt x="4878" y="13031"/>
                </a:cubicBezTo>
                <a:cubicBezTo>
                  <a:pt x="4878" y="12969"/>
                  <a:pt x="4854" y="12918"/>
                  <a:pt x="4824" y="12918"/>
                </a:cubicBezTo>
                <a:close/>
                <a:moveTo>
                  <a:pt x="4824" y="12591"/>
                </a:moveTo>
                <a:cubicBezTo>
                  <a:pt x="4795" y="12591"/>
                  <a:pt x="4771" y="12642"/>
                  <a:pt x="4771" y="12705"/>
                </a:cubicBezTo>
                <a:cubicBezTo>
                  <a:pt x="4771" y="12767"/>
                  <a:pt x="4795" y="12818"/>
                  <a:pt x="4824" y="12818"/>
                </a:cubicBezTo>
                <a:cubicBezTo>
                  <a:pt x="4854" y="12818"/>
                  <a:pt x="4878" y="12767"/>
                  <a:pt x="4878" y="12705"/>
                </a:cubicBezTo>
                <a:cubicBezTo>
                  <a:pt x="4878" y="12642"/>
                  <a:pt x="4854" y="12591"/>
                  <a:pt x="4824" y="12591"/>
                </a:cubicBezTo>
                <a:close/>
                <a:moveTo>
                  <a:pt x="4672" y="12918"/>
                </a:moveTo>
                <a:cubicBezTo>
                  <a:pt x="4642" y="12918"/>
                  <a:pt x="4618" y="12969"/>
                  <a:pt x="4618" y="13031"/>
                </a:cubicBezTo>
                <a:cubicBezTo>
                  <a:pt x="4618" y="13094"/>
                  <a:pt x="4642" y="13145"/>
                  <a:pt x="4672" y="13145"/>
                </a:cubicBezTo>
                <a:cubicBezTo>
                  <a:pt x="4701" y="13145"/>
                  <a:pt x="4726" y="13094"/>
                  <a:pt x="4726" y="13031"/>
                </a:cubicBezTo>
                <a:cubicBezTo>
                  <a:pt x="4726" y="12969"/>
                  <a:pt x="4701" y="12918"/>
                  <a:pt x="4672" y="12918"/>
                </a:cubicBezTo>
                <a:close/>
                <a:moveTo>
                  <a:pt x="4672" y="12591"/>
                </a:moveTo>
                <a:cubicBezTo>
                  <a:pt x="4642" y="12591"/>
                  <a:pt x="4618" y="12642"/>
                  <a:pt x="4618" y="12705"/>
                </a:cubicBezTo>
                <a:cubicBezTo>
                  <a:pt x="4618" y="12767"/>
                  <a:pt x="4642" y="12818"/>
                  <a:pt x="4672" y="12818"/>
                </a:cubicBezTo>
                <a:cubicBezTo>
                  <a:pt x="4701" y="12818"/>
                  <a:pt x="4726" y="12767"/>
                  <a:pt x="4726" y="12705"/>
                </a:cubicBezTo>
                <a:cubicBezTo>
                  <a:pt x="4726" y="12642"/>
                  <a:pt x="4701" y="12591"/>
                  <a:pt x="4672" y="12591"/>
                </a:cubicBezTo>
                <a:close/>
                <a:moveTo>
                  <a:pt x="4516" y="12918"/>
                </a:moveTo>
                <a:cubicBezTo>
                  <a:pt x="4487" y="12918"/>
                  <a:pt x="4463" y="12969"/>
                  <a:pt x="4463" y="13031"/>
                </a:cubicBezTo>
                <a:cubicBezTo>
                  <a:pt x="4463" y="13094"/>
                  <a:pt x="4487" y="13145"/>
                  <a:pt x="4516" y="13145"/>
                </a:cubicBezTo>
                <a:cubicBezTo>
                  <a:pt x="4546" y="13145"/>
                  <a:pt x="4570" y="13094"/>
                  <a:pt x="4570" y="13031"/>
                </a:cubicBezTo>
                <a:cubicBezTo>
                  <a:pt x="4570" y="12969"/>
                  <a:pt x="4546" y="12918"/>
                  <a:pt x="4516" y="12918"/>
                </a:cubicBezTo>
                <a:close/>
                <a:moveTo>
                  <a:pt x="4516" y="12591"/>
                </a:moveTo>
                <a:cubicBezTo>
                  <a:pt x="4487" y="12591"/>
                  <a:pt x="4463" y="12642"/>
                  <a:pt x="4463" y="12705"/>
                </a:cubicBezTo>
                <a:cubicBezTo>
                  <a:pt x="4463" y="12767"/>
                  <a:pt x="4487" y="12818"/>
                  <a:pt x="4516" y="12818"/>
                </a:cubicBezTo>
                <a:cubicBezTo>
                  <a:pt x="4546" y="12818"/>
                  <a:pt x="4570" y="12767"/>
                  <a:pt x="4570" y="12705"/>
                </a:cubicBezTo>
                <a:cubicBezTo>
                  <a:pt x="4570" y="12642"/>
                  <a:pt x="4546" y="12591"/>
                  <a:pt x="4516" y="12591"/>
                </a:cubicBezTo>
                <a:close/>
                <a:moveTo>
                  <a:pt x="4362" y="13145"/>
                </a:moveTo>
                <a:cubicBezTo>
                  <a:pt x="4392" y="13145"/>
                  <a:pt x="4416" y="13094"/>
                  <a:pt x="4416" y="13031"/>
                </a:cubicBezTo>
                <a:cubicBezTo>
                  <a:pt x="4416" y="12969"/>
                  <a:pt x="4392" y="12918"/>
                  <a:pt x="4362" y="12918"/>
                </a:cubicBezTo>
                <a:cubicBezTo>
                  <a:pt x="4333" y="12918"/>
                  <a:pt x="4309" y="12969"/>
                  <a:pt x="4309" y="13031"/>
                </a:cubicBezTo>
                <a:cubicBezTo>
                  <a:pt x="4309" y="13094"/>
                  <a:pt x="4333" y="13145"/>
                  <a:pt x="4362" y="13145"/>
                </a:cubicBezTo>
                <a:close/>
                <a:moveTo>
                  <a:pt x="4362" y="12818"/>
                </a:moveTo>
                <a:cubicBezTo>
                  <a:pt x="4392" y="12818"/>
                  <a:pt x="4416" y="12767"/>
                  <a:pt x="4416" y="12705"/>
                </a:cubicBezTo>
                <a:cubicBezTo>
                  <a:pt x="4416" y="12642"/>
                  <a:pt x="4392" y="12591"/>
                  <a:pt x="4362" y="12591"/>
                </a:cubicBezTo>
                <a:cubicBezTo>
                  <a:pt x="4333" y="12591"/>
                  <a:pt x="4309" y="12642"/>
                  <a:pt x="4309" y="12705"/>
                </a:cubicBezTo>
                <a:cubicBezTo>
                  <a:pt x="4309" y="12767"/>
                  <a:pt x="4333" y="12818"/>
                  <a:pt x="4362" y="12818"/>
                </a:cubicBezTo>
                <a:close/>
                <a:moveTo>
                  <a:pt x="4210" y="12918"/>
                </a:moveTo>
                <a:cubicBezTo>
                  <a:pt x="4180" y="12918"/>
                  <a:pt x="4156" y="12969"/>
                  <a:pt x="4156" y="13031"/>
                </a:cubicBezTo>
                <a:cubicBezTo>
                  <a:pt x="4156" y="13094"/>
                  <a:pt x="4180" y="13145"/>
                  <a:pt x="4210" y="13145"/>
                </a:cubicBezTo>
                <a:cubicBezTo>
                  <a:pt x="4240" y="13145"/>
                  <a:pt x="4264" y="13094"/>
                  <a:pt x="4264" y="13031"/>
                </a:cubicBezTo>
                <a:cubicBezTo>
                  <a:pt x="4264" y="12969"/>
                  <a:pt x="4240" y="12918"/>
                  <a:pt x="4210" y="12918"/>
                </a:cubicBezTo>
                <a:close/>
                <a:moveTo>
                  <a:pt x="4210" y="12591"/>
                </a:moveTo>
                <a:cubicBezTo>
                  <a:pt x="4180" y="12591"/>
                  <a:pt x="4156" y="12642"/>
                  <a:pt x="4156" y="12705"/>
                </a:cubicBezTo>
                <a:cubicBezTo>
                  <a:pt x="4156" y="12767"/>
                  <a:pt x="4180" y="12818"/>
                  <a:pt x="4210" y="12818"/>
                </a:cubicBezTo>
                <a:cubicBezTo>
                  <a:pt x="4240" y="12818"/>
                  <a:pt x="4264" y="12767"/>
                  <a:pt x="4264" y="12705"/>
                </a:cubicBezTo>
                <a:cubicBezTo>
                  <a:pt x="4264" y="12642"/>
                  <a:pt x="4240" y="12591"/>
                  <a:pt x="4210" y="12591"/>
                </a:cubicBezTo>
                <a:close/>
                <a:moveTo>
                  <a:pt x="5593" y="12918"/>
                </a:moveTo>
                <a:cubicBezTo>
                  <a:pt x="5563" y="12918"/>
                  <a:pt x="5539" y="12969"/>
                  <a:pt x="5539" y="13031"/>
                </a:cubicBezTo>
                <a:cubicBezTo>
                  <a:pt x="5539" y="13094"/>
                  <a:pt x="5563" y="13145"/>
                  <a:pt x="5593" y="13145"/>
                </a:cubicBezTo>
                <a:cubicBezTo>
                  <a:pt x="5622" y="13145"/>
                  <a:pt x="5646" y="13094"/>
                  <a:pt x="5646" y="13031"/>
                </a:cubicBezTo>
                <a:cubicBezTo>
                  <a:pt x="5646" y="12969"/>
                  <a:pt x="5622" y="12918"/>
                  <a:pt x="5593" y="12918"/>
                </a:cubicBezTo>
                <a:close/>
                <a:moveTo>
                  <a:pt x="5593" y="12591"/>
                </a:moveTo>
                <a:cubicBezTo>
                  <a:pt x="5563" y="12591"/>
                  <a:pt x="5539" y="12642"/>
                  <a:pt x="5539" y="12705"/>
                </a:cubicBezTo>
                <a:cubicBezTo>
                  <a:pt x="5539" y="12767"/>
                  <a:pt x="5563" y="12818"/>
                  <a:pt x="5593" y="12818"/>
                </a:cubicBezTo>
                <a:cubicBezTo>
                  <a:pt x="5622" y="12818"/>
                  <a:pt x="5646" y="12767"/>
                  <a:pt x="5646" y="12705"/>
                </a:cubicBezTo>
                <a:cubicBezTo>
                  <a:pt x="5646" y="12642"/>
                  <a:pt x="5622" y="12591"/>
                  <a:pt x="5593" y="12591"/>
                </a:cubicBezTo>
                <a:close/>
                <a:moveTo>
                  <a:pt x="5440" y="12918"/>
                </a:moveTo>
                <a:cubicBezTo>
                  <a:pt x="5410" y="12918"/>
                  <a:pt x="5386" y="12969"/>
                  <a:pt x="5386" y="13031"/>
                </a:cubicBezTo>
                <a:cubicBezTo>
                  <a:pt x="5386" y="13094"/>
                  <a:pt x="5410" y="13145"/>
                  <a:pt x="5440" y="13145"/>
                </a:cubicBezTo>
                <a:cubicBezTo>
                  <a:pt x="5470" y="13145"/>
                  <a:pt x="5494" y="13094"/>
                  <a:pt x="5494" y="13031"/>
                </a:cubicBezTo>
                <a:cubicBezTo>
                  <a:pt x="5494" y="12969"/>
                  <a:pt x="5470" y="12918"/>
                  <a:pt x="5440" y="12918"/>
                </a:cubicBezTo>
                <a:close/>
                <a:moveTo>
                  <a:pt x="5440" y="12591"/>
                </a:moveTo>
                <a:cubicBezTo>
                  <a:pt x="5410" y="12591"/>
                  <a:pt x="5386" y="12642"/>
                  <a:pt x="5386" y="12705"/>
                </a:cubicBezTo>
                <a:cubicBezTo>
                  <a:pt x="5386" y="12767"/>
                  <a:pt x="5410" y="12818"/>
                  <a:pt x="5440" y="12818"/>
                </a:cubicBezTo>
                <a:cubicBezTo>
                  <a:pt x="5470" y="12818"/>
                  <a:pt x="5494" y="12767"/>
                  <a:pt x="5494" y="12705"/>
                </a:cubicBezTo>
                <a:cubicBezTo>
                  <a:pt x="5494" y="12642"/>
                  <a:pt x="5470" y="12591"/>
                  <a:pt x="5440" y="12591"/>
                </a:cubicBezTo>
                <a:close/>
                <a:moveTo>
                  <a:pt x="5285" y="12918"/>
                </a:moveTo>
                <a:cubicBezTo>
                  <a:pt x="5255" y="12918"/>
                  <a:pt x="5231" y="12969"/>
                  <a:pt x="5231" y="13031"/>
                </a:cubicBezTo>
                <a:cubicBezTo>
                  <a:pt x="5231" y="13094"/>
                  <a:pt x="5255" y="13145"/>
                  <a:pt x="5285" y="13145"/>
                </a:cubicBezTo>
                <a:cubicBezTo>
                  <a:pt x="5314" y="13145"/>
                  <a:pt x="5338" y="13094"/>
                  <a:pt x="5338" y="13031"/>
                </a:cubicBezTo>
                <a:cubicBezTo>
                  <a:pt x="5338" y="12969"/>
                  <a:pt x="5314" y="12918"/>
                  <a:pt x="5285" y="12918"/>
                </a:cubicBezTo>
                <a:close/>
                <a:moveTo>
                  <a:pt x="5285" y="12591"/>
                </a:moveTo>
                <a:cubicBezTo>
                  <a:pt x="5255" y="12591"/>
                  <a:pt x="5231" y="12642"/>
                  <a:pt x="5231" y="12705"/>
                </a:cubicBezTo>
                <a:cubicBezTo>
                  <a:pt x="5231" y="12767"/>
                  <a:pt x="5255" y="12818"/>
                  <a:pt x="5285" y="12818"/>
                </a:cubicBezTo>
                <a:cubicBezTo>
                  <a:pt x="5314" y="12818"/>
                  <a:pt x="5338" y="12767"/>
                  <a:pt x="5338" y="12705"/>
                </a:cubicBezTo>
                <a:cubicBezTo>
                  <a:pt x="5338" y="12642"/>
                  <a:pt x="5314" y="12591"/>
                  <a:pt x="5285" y="12591"/>
                </a:cubicBezTo>
                <a:close/>
                <a:moveTo>
                  <a:pt x="5131" y="12918"/>
                </a:moveTo>
                <a:cubicBezTo>
                  <a:pt x="5101" y="12918"/>
                  <a:pt x="5077" y="12969"/>
                  <a:pt x="5077" y="13031"/>
                </a:cubicBezTo>
                <a:cubicBezTo>
                  <a:pt x="5077" y="13094"/>
                  <a:pt x="5101" y="13145"/>
                  <a:pt x="5131" y="13145"/>
                </a:cubicBezTo>
                <a:cubicBezTo>
                  <a:pt x="5160" y="13145"/>
                  <a:pt x="5184" y="13094"/>
                  <a:pt x="5184" y="13031"/>
                </a:cubicBezTo>
                <a:cubicBezTo>
                  <a:pt x="5184" y="12969"/>
                  <a:pt x="5160" y="12918"/>
                  <a:pt x="5131" y="12918"/>
                </a:cubicBezTo>
                <a:close/>
                <a:moveTo>
                  <a:pt x="5131" y="12591"/>
                </a:moveTo>
                <a:cubicBezTo>
                  <a:pt x="5101" y="12591"/>
                  <a:pt x="5077" y="12642"/>
                  <a:pt x="5077" y="12705"/>
                </a:cubicBezTo>
                <a:cubicBezTo>
                  <a:pt x="5077" y="12767"/>
                  <a:pt x="5101" y="12818"/>
                  <a:pt x="5131" y="12818"/>
                </a:cubicBezTo>
                <a:cubicBezTo>
                  <a:pt x="5160" y="12818"/>
                  <a:pt x="5184" y="12767"/>
                  <a:pt x="5184" y="12705"/>
                </a:cubicBezTo>
                <a:cubicBezTo>
                  <a:pt x="5184" y="12642"/>
                  <a:pt x="5160" y="12591"/>
                  <a:pt x="5131" y="12591"/>
                </a:cubicBezTo>
                <a:close/>
                <a:moveTo>
                  <a:pt x="4978" y="12918"/>
                </a:moveTo>
                <a:cubicBezTo>
                  <a:pt x="4948" y="12918"/>
                  <a:pt x="4924" y="12969"/>
                  <a:pt x="4924" y="13031"/>
                </a:cubicBezTo>
                <a:cubicBezTo>
                  <a:pt x="4924" y="13094"/>
                  <a:pt x="4948" y="13145"/>
                  <a:pt x="4978" y="13145"/>
                </a:cubicBezTo>
                <a:cubicBezTo>
                  <a:pt x="5008" y="13145"/>
                  <a:pt x="5032" y="13094"/>
                  <a:pt x="5032" y="13031"/>
                </a:cubicBezTo>
                <a:cubicBezTo>
                  <a:pt x="5032" y="12969"/>
                  <a:pt x="5008" y="12918"/>
                  <a:pt x="4978" y="12918"/>
                </a:cubicBezTo>
                <a:close/>
                <a:moveTo>
                  <a:pt x="4978" y="12591"/>
                </a:moveTo>
                <a:cubicBezTo>
                  <a:pt x="4948" y="12591"/>
                  <a:pt x="4924" y="12642"/>
                  <a:pt x="4924" y="12705"/>
                </a:cubicBezTo>
                <a:cubicBezTo>
                  <a:pt x="4924" y="12767"/>
                  <a:pt x="4948" y="12818"/>
                  <a:pt x="4978" y="12818"/>
                </a:cubicBezTo>
                <a:cubicBezTo>
                  <a:pt x="5008" y="12818"/>
                  <a:pt x="5032" y="12767"/>
                  <a:pt x="5032" y="12705"/>
                </a:cubicBezTo>
                <a:cubicBezTo>
                  <a:pt x="5032" y="12642"/>
                  <a:pt x="5008" y="12591"/>
                  <a:pt x="4978" y="12591"/>
                </a:cubicBezTo>
                <a:close/>
                <a:moveTo>
                  <a:pt x="6514" y="13586"/>
                </a:moveTo>
                <a:cubicBezTo>
                  <a:pt x="6484" y="13586"/>
                  <a:pt x="6460" y="13636"/>
                  <a:pt x="6460" y="13699"/>
                </a:cubicBezTo>
                <a:cubicBezTo>
                  <a:pt x="6460" y="13761"/>
                  <a:pt x="6484" y="13812"/>
                  <a:pt x="6514" y="13812"/>
                </a:cubicBezTo>
                <a:cubicBezTo>
                  <a:pt x="6544" y="13812"/>
                  <a:pt x="6568" y="13761"/>
                  <a:pt x="6568" y="13699"/>
                </a:cubicBezTo>
                <a:cubicBezTo>
                  <a:pt x="6568" y="13636"/>
                  <a:pt x="6544" y="13586"/>
                  <a:pt x="6514" y="13586"/>
                </a:cubicBezTo>
                <a:close/>
                <a:moveTo>
                  <a:pt x="6514" y="14223"/>
                </a:moveTo>
                <a:cubicBezTo>
                  <a:pt x="6484" y="14223"/>
                  <a:pt x="6460" y="14274"/>
                  <a:pt x="6460" y="14337"/>
                </a:cubicBezTo>
                <a:cubicBezTo>
                  <a:pt x="6460" y="14399"/>
                  <a:pt x="6484" y="14450"/>
                  <a:pt x="6514" y="14450"/>
                </a:cubicBezTo>
                <a:cubicBezTo>
                  <a:pt x="6544" y="14450"/>
                  <a:pt x="6568" y="14399"/>
                  <a:pt x="6568" y="14337"/>
                </a:cubicBezTo>
                <a:cubicBezTo>
                  <a:pt x="6568" y="14274"/>
                  <a:pt x="6544" y="14223"/>
                  <a:pt x="6514" y="14223"/>
                </a:cubicBezTo>
                <a:close/>
                <a:moveTo>
                  <a:pt x="6514" y="13897"/>
                </a:moveTo>
                <a:cubicBezTo>
                  <a:pt x="6484" y="13897"/>
                  <a:pt x="6460" y="13947"/>
                  <a:pt x="6460" y="14010"/>
                </a:cubicBezTo>
                <a:cubicBezTo>
                  <a:pt x="6460" y="14072"/>
                  <a:pt x="6484" y="14123"/>
                  <a:pt x="6514" y="14123"/>
                </a:cubicBezTo>
                <a:cubicBezTo>
                  <a:pt x="6544" y="14123"/>
                  <a:pt x="6568" y="14072"/>
                  <a:pt x="6568" y="14010"/>
                </a:cubicBezTo>
                <a:cubicBezTo>
                  <a:pt x="6568" y="13947"/>
                  <a:pt x="6544" y="13897"/>
                  <a:pt x="6514" y="13897"/>
                </a:cubicBezTo>
                <a:close/>
                <a:moveTo>
                  <a:pt x="6347" y="13586"/>
                </a:moveTo>
                <a:cubicBezTo>
                  <a:pt x="6318" y="13586"/>
                  <a:pt x="6293" y="13636"/>
                  <a:pt x="6293" y="13699"/>
                </a:cubicBezTo>
                <a:cubicBezTo>
                  <a:pt x="6293" y="13761"/>
                  <a:pt x="6318" y="13812"/>
                  <a:pt x="6347" y="13812"/>
                </a:cubicBezTo>
                <a:cubicBezTo>
                  <a:pt x="6377" y="13812"/>
                  <a:pt x="6401" y="13761"/>
                  <a:pt x="6401" y="13699"/>
                </a:cubicBezTo>
                <a:cubicBezTo>
                  <a:pt x="6401" y="13636"/>
                  <a:pt x="6377" y="13586"/>
                  <a:pt x="6347" y="13586"/>
                </a:cubicBezTo>
                <a:close/>
                <a:moveTo>
                  <a:pt x="6347" y="13259"/>
                </a:moveTo>
                <a:cubicBezTo>
                  <a:pt x="6318" y="13259"/>
                  <a:pt x="6293" y="13309"/>
                  <a:pt x="6293" y="13372"/>
                </a:cubicBezTo>
                <a:cubicBezTo>
                  <a:pt x="6293" y="13434"/>
                  <a:pt x="6318" y="13485"/>
                  <a:pt x="6347" y="13485"/>
                </a:cubicBezTo>
                <a:cubicBezTo>
                  <a:pt x="6377" y="13485"/>
                  <a:pt x="6401" y="13434"/>
                  <a:pt x="6401" y="13372"/>
                </a:cubicBezTo>
                <a:cubicBezTo>
                  <a:pt x="6401" y="13309"/>
                  <a:pt x="6377" y="13259"/>
                  <a:pt x="6347" y="13259"/>
                </a:cubicBezTo>
                <a:close/>
                <a:moveTo>
                  <a:pt x="6347" y="14550"/>
                </a:moveTo>
                <a:cubicBezTo>
                  <a:pt x="6318" y="14550"/>
                  <a:pt x="6293" y="14601"/>
                  <a:pt x="6293" y="14663"/>
                </a:cubicBezTo>
                <a:cubicBezTo>
                  <a:pt x="6293" y="14726"/>
                  <a:pt x="6318" y="14777"/>
                  <a:pt x="6347" y="14777"/>
                </a:cubicBezTo>
                <a:cubicBezTo>
                  <a:pt x="6377" y="14777"/>
                  <a:pt x="6401" y="14726"/>
                  <a:pt x="6401" y="14663"/>
                </a:cubicBezTo>
                <a:cubicBezTo>
                  <a:pt x="6401" y="14601"/>
                  <a:pt x="6377" y="14550"/>
                  <a:pt x="6347" y="14550"/>
                </a:cubicBezTo>
                <a:close/>
                <a:moveTo>
                  <a:pt x="6347" y="14223"/>
                </a:moveTo>
                <a:cubicBezTo>
                  <a:pt x="6318" y="14223"/>
                  <a:pt x="6293" y="14274"/>
                  <a:pt x="6293" y="14337"/>
                </a:cubicBezTo>
                <a:cubicBezTo>
                  <a:pt x="6293" y="14399"/>
                  <a:pt x="6318" y="14450"/>
                  <a:pt x="6347" y="14450"/>
                </a:cubicBezTo>
                <a:cubicBezTo>
                  <a:pt x="6377" y="14450"/>
                  <a:pt x="6401" y="14399"/>
                  <a:pt x="6401" y="14337"/>
                </a:cubicBezTo>
                <a:cubicBezTo>
                  <a:pt x="6401" y="14274"/>
                  <a:pt x="6377" y="14223"/>
                  <a:pt x="6347" y="14223"/>
                </a:cubicBezTo>
                <a:close/>
                <a:moveTo>
                  <a:pt x="6347" y="13897"/>
                </a:moveTo>
                <a:cubicBezTo>
                  <a:pt x="6318" y="13897"/>
                  <a:pt x="6293" y="13947"/>
                  <a:pt x="6293" y="14010"/>
                </a:cubicBezTo>
                <a:cubicBezTo>
                  <a:pt x="6293" y="14072"/>
                  <a:pt x="6318" y="14123"/>
                  <a:pt x="6347" y="14123"/>
                </a:cubicBezTo>
                <a:cubicBezTo>
                  <a:pt x="6377" y="14123"/>
                  <a:pt x="6401" y="14072"/>
                  <a:pt x="6401" y="14010"/>
                </a:cubicBezTo>
                <a:cubicBezTo>
                  <a:pt x="6401" y="13947"/>
                  <a:pt x="6377" y="13897"/>
                  <a:pt x="6347" y="13897"/>
                </a:cubicBezTo>
                <a:close/>
                <a:moveTo>
                  <a:pt x="6208" y="13586"/>
                </a:moveTo>
                <a:cubicBezTo>
                  <a:pt x="6179" y="13586"/>
                  <a:pt x="6154" y="13636"/>
                  <a:pt x="6154" y="13699"/>
                </a:cubicBezTo>
                <a:cubicBezTo>
                  <a:pt x="6154" y="13761"/>
                  <a:pt x="6179" y="13812"/>
                  <a:pt x="6208" y="13812"/>
                </a:cubicBezTo>
                <a:cubicBezTo>
                  <a:pt x="6238" y="13812"/>
                  <a:pt x="6262" y="13761"/>
                  <a:pt x="6262" y="13699"/>
                </a:cubicBezTo>
                <a:cubicBezTo>
                  <a:pt x="6262" y="13636"/>
                  <a:pt x="6238" y="13586"/>
                  <a:pt x="6208" y="13586"/>
                </a:cubicBezTo>
                <a:close/>
                <a:moveTo>
                  <a:pt x="6208" y="13259"/>
                </a:moveTo>
                <a:cubicBezTo>
                  <a:pt x="6179" y="13259"/>
                  <a:pt x="6154" y="13309"/>
                  <a:pt x="6154" y="13372"/>
                </a:cubicBezTo>
                <a:cubicBezTo>
                  <a:pt x="6154" y="13434"/>
                  <a:pt x="6179" y="13485"/>
                  <a:pt x="6208" y="13485"/>
                </a:cubicBezTo>
                <a:cubicBezTo>
                  <a:pt x="6238" y="13485"/>
                  <a:pt x="6262" y="13434"/>
                  <a:pt x="6262" y="13372"/>
                </a:cubicBezTo>
                <a:cubicBezTo>
                  <a:pt x="6262" y="13309"/>
                  <a:pt x="6238" y="13259"/>
                  <a:pt x="6208" y="13259"/>
                </a:cubicBezTo>
                <a:close/>
                <a:moveTo>
                  <a:pt x="6053" y="13586"/>
                </a:moveTo>
                <a:cubicBezTo>
                  <a:pt x="6023" y="13586"/>
                  <a:pt x="5999" y="13636"/>
                  <a:pt x="5999" y="13699"/>
                </a:cubicBezTo>
                <a:cubicBezTo>
                  <a:pt x="5999" y="13761"/>
                  <a:pt x="6023" y="13812"/>
                  <a:pt x="6053" y="13812"/>
                </a:cubicBezTo>
                <a:cubicBezTo>
                  <a:pt x="6083" y="13812"/>
                  <a:pt x="6107" y="13761"/>
                  <a:pt x="6107" y="13699"/>
                </a:cubicBezTo>
                <a:cubicBezTo>
                  <a:pt x="6107" y="13636"/>
                  <a:pt x="6083" y="13586"/>
                  <a:pt x="6053" y="13586"/>
                </a:cubicBezTo>
                <a:close/>
                <a:moveTo>
                  <a:pt x="6053" y="13259"/>
                </a:moveTo>
                <a:cubicBezTo>
                  <a:pt x="6023" y="13259"/>
                  <a:pt x="5999" y="13309"/>
                  <a:pt x="5999" y="13372"/>
                </a:cubicBezTo>
                <a:cubicBezTo>
                  <a:pt x="5999" y="13434"/>
                  <a:pt x="6023" y="13485"/>
                  <a:pt x="6053" y="13485"/>
                </a:cubicBezTo>
                <a:cubicBezTo>
                  <a:pt x="6083" y="13485"/>
                  <a:pt x="6107" y="13434"/>
                  <a:pt x="6107" y="13372"/>
                </a:cubicBezTo>
                <a:cubicBezTo>
                  <a:pt x="6107" y="13309"/>
                  <a:pt x="6083" y="13259"/>
                  <a:pt x="6053" y="13259"/>
                </a:cubicBezTo>
                <a:close/>
                <a:moveTo>
                  <a:pt x="5899" y="13586"/>
                </a:moveTo>
                <a:cubicBezTo>
                  <a:pt x="5869" y="13586"/>
                  <a:pt x="5845" y="13636"/>
                  <a:pt x="5845" y="13699"/>
                </a:cubicBezTo>
                <a:cubicBezTo>
                  <a:pt x="5845" y="13761"/>
                  <a:pt x="5869" y="13812"/>
                  <a:pt x="5899" y="13812"/>
                </a:cubicBezTo>
                <a:cubicBezTo>
                  <a:pt x="5929" y="13812"/>
                  <a:pt x="5953" y="13761"/>
                  <a:pt x="5953" y="13699"/>
                </a:cubicBezTo>
                <a:cubicBezTo>
                  <a:pt x="5953" y="13636"/>
                  <a:pt x="5929" y="13586"/>
                  <a:pt x="5899" y="13586"/>
                </a:cubicBezTo>
                <a:close/>
                <a:moveTo>
                  <a:pt x="5899" y="13259"/>
                </a:moveTo>
                <a:cubicBezTo>
                  <a:pt x="5869" y="13259"/>
                  <a:pt x="5845" y="13309"/>
                  <a:pt x="5845" y="13372"/>
                </a:cubicBezTo>
                <a:cubicBezTo>
                  <a:pt x="5845" y="13434"/>
                  <a:pt x="5869" y="13485"/>
                  <a:pt x="5899" y="13485"/>
                </a:cubicBezTo>
                <a:cubicBezTo>
                  <a:pt x="5929" y="13485"/>
                  <a:pt x="5953" y="13434"/>
                  <a:pt x="5953" y="13372"/>
                </a:cubicBezTo>
                <a:cubicBezTo>
                  <a:pt x="5953" y="13309"/>
                  <a:pt x="5929" y="13259"/>
                  <a:pt x="5899" y="13259"/>
                </a:cubicBezTo>
                <a:close/>
                <a:moveTo>
                  <a:pt x="5746" y="13586"/>
                </a:moveTo>
                <a:cubicBezTo>
                  <a:pt x="5717" y="13586"/>
                  <a:pt x="5692" y="13636"/>
                  <a:pt x="5692" y="13699"/>
                </a:cubicBezTo>
                <a:cubicBezTo>
                  <a:pt x="5692" y="13761"/>
                  <a:pt x="5717" y="13812"/>
                  <a:pt x="5746" y="13812"/>
                </a:cubicBezTo>
                <a:cubicBezTo>
                  <a:pt x="5776" y="13812"/>
                  <a:pt x="5800" y="13761"/>
                  <a:pt x="5800" y="13699"/>
                </a:cubicBezTo>
                <a:cubicBezTo>
                  <a:pt x="5800" y="13636"/>
                  <a:pt x="5776" y="13586"/>
                  <a:pt x="5746" y="13586"/>
                </a:cubicBezTo>
                <a:close/>
                <a:moveTo>
                  <a:pt x="5746" y="13259"/>
                </a:moveTo>
                <a:cubicBezTo>
                  <a:pt x="5717" y="13259"/>
                  <a:pt x="5692" y="13309"/>
                  <a:pt x="5692" y="13372"/>
                </a:cubicBezTo>
                <a:cubicBezTo>
                  <a:pt x="5692" y="13434"/>
                  <a:pt x="5717" y="13485"/>
                  <a:pt x="5746" y="13485"/>
                </a:cubicBezTo>
                <a:cubicBezTo>
                  <a:pt x="5776" y="13485"/>
                  <a:pt x="5800" y="13434"/>
                  <a:pt x="5800" y="13372"/>
                </a:cubicBezTo>
                <a:cubicBezTo>
                  <a:pt x="5800" y="13309"/>
                  <a:pt x="5776" y="13259"/>
                  <a:pt x="5746" y="13259"/>
                </a:cubicBezTo>
                <a:close/>
                <a:moveTo>
                  <a:pt x="3591" y="13586"/>
                </a:moveTo>
                <a:cubicBezTo>
                  <a:pt x="3561" y="13586"/>
                  <a:pt x="3537" y="13636"/>
                  <a:pt x="3537" y="13699"/>
                </a:cubicBezTo>
                <a:cubicBezTo>
                  <a:pt x="3537" y="13761"/>
                  <a:pt x="3561" y="13812"/>
                  <a:pt x="3591" y="13812"/>
                </a:cubicBezTo>
                <a:cubicBezTo>
                  <a:pt x="3621" y="13812"/>
                  <a:pt x="3645" y="13761"/>
                  <a:pt x="3645" y="13699"/>
                </a:cubicBezTo>
                <a:cubicBezTo>
                  <a:pt x="3645" y="13636"/>
                  <a:pt x="3621" y="13586"/>
                  <a:pt x="3591" y="13586"/>
                </a:cubicBezTo>
                <a:close/>
                <a:moveTo>
                  <a:pt x="3591" y="13259"/>
                </a:moveTo>
                <a:cubicBezTo>
                  <a:pt x="3561" y="13259"/>
                  <a:pt x="3537" y="13309"/>
                  <a:pt x="3537" y="13372"/>
                </a:cubicBezTo>
                <a:cubicBezTo>
                  <a:pt x="3537" y="13434"/>
                  <a:pt x="3561" y="13485"/>
                  <a:pt x="3591" y="13485"/>
                </a:cubicBezTo>
                <a:cubicBezTo>
                  <a:pt x="3621" y="13485"/>
                  <a:pt x="3645" y="13434"/>
                  <a:pt x="3645" y="13372"/>
                </a:cubicBezTo>
                <a:cubicBezTo>
                  <a:pt x="3645" y="13309"/>
                  <a:pt x="3621" y="13259"/>
                  <a:pt x="3591" y="13259"/>
                </a:cubicBezTo>
                <a:close/>
                <a:moveTo>
                  <a:pt x="3438" y="13586"/>
                </a:moveTo>
                <a:cubicBezTo>
                  <a:pt x="3409" y="13586"/>
                  <a:pt x="3385" y="13636"/>
                  <a:pt x="3385" y="13699"/>
                </a:cubicBezTo>
                <a:cubicBezTo>
                  <a:pt x="3385" y="13761"/>
                  <a:pt x="3409" y="13812"/>
                  <a:pt x="3438" y="13812"/>
                </a:cubicBezTo>
                <a:cubicBezTo>
                  <a:pt x="3468" y="13812"/>
                  <a:pt x="3492" y="13761"/>
                  <a:pt x="3492" y="13699"/>
                </a:cubicBezTo>
                <a:cubicBezTo>
                  <a:pt x="3492" y="13636"/>
                  <a:pt x="3468" y="13586"/>
                  <a:pt x="3438" y="13586"/>
                </a:cubicBezTo>
                <a:close/>
                <a:moveTo>
                  <a:pt x="3438" y="13259"/>
                </a:moveTo>
                <a:cubicBezTo>
                  <a:pt x="3409" y="13259"/>
                  <a:pt x="3385" y="13309"/>
                  <a:pt x="3385" y="13372"/>
                </a:cubicBezTo>
                <a:cubicBezTo>
                  <a:pt x="3385" y="13434"/>
                  <a:pt x="3409" y="13485"/>
                  <a:pt x="3438" y="13485"/>
                </a:cubicBezTo>
                <a:cubicBezTo>
                  <a:pt x="3468" y="13485"/>
                  <a:pt x="3492" y="13434"/>
                  <a:pt x="3492" y="13372"/>
                </a:cubicBezTo>
                <a:cubicBezTo>
                  <a:pt x="3492" y="13309"/>
                  <a:pt x="3468" y="13259"/>
                  <a:pt x="3438" y="13259"/>
                </a:cubicBezTo>
                <a:close/>
                <a:moveTo>
                  <a:pt x="4051" y="13586"/>
                </a:moveTo>
                <a:cubicBezTo>
                  <a:pt x="4022" y="13586"/>
                  <a:pt x="3998" y="13636"/>
                  <a:pt x="3998" y="13699"/>
                </a:cubicBezTo>
                <a:cubicBezTo>
                  <a:pt x="3998" y="13761"/>
                  <a:pt x="4022" y="13812"/>
                  <a:pt x="4051" y="13812"/>
                </a:cubicBezTo>
                <a:cubicBezTo>
                  <a:pt x="4081" y="13812"/>
                  <a:pt x="4105" y="13761"/>
                  <a:pt x="4105" y="13699"/>
                </a:cubicBezTo>
                <a:cubicBezTo>
                  <a:pt x="4105" y="13636"/>
                  <a:pt x="4081" y="13586"/>
                  <a:pt x="4051" y="13586"/>
                </a:cubicBezTo>
                <a:close/>
                <a:moveTo>
                  <a:pt x="4051" y="13259"/>
                </a:moveTo>
                <a:cubicBezTo>
                  <a:pt x="4022" y="13259"/>
                  <a:pt x="3998" y="13309"/>
                  <a:pt x="3998" y="13372"/>
                </a:cubicBezTo>
                <a:cubicBezTo>
                  <a:pt x="3998" y="13434"/>
                  <a:pt x="4022" y="13485"/>
                  <a:pt x="4051" y="13485"/>
                </a:cubicBezTo>
                <a:cubicBezTo>
                  <a:pt x="4081" y="13485"/>
                  <a:pt x="4105" y="13434"/>
                  <a:pt x="4105" y="13372"/>
                </a:cubicBezTo>
                <a:cubicBezTo>
                  <a:pt x="4105" y="13309"/>
                  <a:pt x="4081" y="13259"/>
                  <a:pt x="4051" y="13259"/>
                </a:cubicBezTo>
                <a:close/>
                <a:moveTo>
                  <a:pt x="3897" y="13586"/>
                </a:moveTo>
                <a:cubicBezTo>
                  <a:pt x="3868" y="13586"/>
                  <a:pt x="3844" y="13636"/>
                  <a:pt x="3844" y="13699"/>
                </a:cubicBezTo>
                <a:cubicBezTo>
                  <a:pt x="3844" y="13761"/>
                  <a:pt x="3868" y="13812"/>
                  <a:pt x="3897" y="13812"/>
                </a:cubicBezTo>
                <a:cubicBezTo>
                  <a:pt x="3927" y="13812"/>
                  <a:pt x="3951" y="13761"/>
                  <a:pt x="3951" y="13699"/>
                </a:cubicBezTo>
                <a:cubicBezTo>
                  <a:pt x="3951" y="13636"/>
                  <a:pt x="3927" y="13586"/>
                  <a:pt x="3897" y="13586"/>
                </a:cubicBezTo>
                <a:close/>
                <a:moveTo>
                  <a:pt x="3897" y="13259"/>
                </a:moveTo>
                <a:cubicBezTo>
                  <a:pt x="3868" y="13259"/>
                  <a:pt x="3844" y="13309"/>
                  <a:pt x="3844" y="13372"/>
                </a:cubicBezTo>
                <a:cubicBezTo>
                  <a:pt x="3844" y="13434"/>
                  <a:pt x="3868" y="13485"/>
                  <a:pt x="3897" y="13485"/>
                </a:cubicBezTo>
                <a:cubicBezTo>
                  <a:pt x="3927" y="13485"/>
                  <a:pt x="3951" y="13434"/>
                  <a:pt x="3951" y="13372"/>
                </a:cubicBezTo>
                <a:cubicBezTo>
                  <a:pt x="3951" y="13309"/>
                  <a:pt x="3927" y="13259"/>
                  <a:pt x="3897" y="13259"/>
                </a:cubicBezTo>
                <a:close/>
                <a:moveTo>
                  <a:pt x="3745" y="13586"/>
                </a:moveTo>
                <a:cubicBezTo>
                  <a:pt x="3715" y="13586"/>
                  <a:pt x="3691" y="13636"/>
                  <a:pt x="3691" y="13699"/>
                </a:cubicBezTo>
                <a:cubicBezTo>
                  <a:pt x="3691" y="13761"/>
                  <a:pt x="3715" y="13812"/>
                  <a:pt x="3745" y="13812"/>
                </a:cubicBezTo>
                <a:cubicBezTo>
                  <a:pt x="3774" y="13812"/>
                  <a:pt x="3798" y="13761"/>
                  <a:pt x="3798" y="13699"/>
                </a:cubicBezTo>
                <a:cubicBezTo>
                  <a:pt x="3798" y="13636"/>
                  <a:pt x="3774" y="13586"/>
                  <a:pt x="3745" y="13586"/>
                </a:cubicBezTo>
                <a:close/>
                <a:moveTo>
                  <a:pt x="3745" y="13259"/>
                </a:moveTo>
                <a:cubicBezTo>
                  <a:pt x="3715" y="13259"/>
                  <a:pt x="3691" y="13309"/>
                  <a:pt x="3691" y="13372"/>
                </a:cubicBezTo>
                <a:cubicBezTo>
                  <a:pt x="3691" y="13434"/>
                  <a:pt x="3715" y="13485"/>
                  <a:pt x="3745" y="13485"/>
                </a:cubicBezTo>
                <a:cubicBezTo>
                  <a:pt x="3774" y="13485"/>
                  <a:pt x="3798" y="13434"/>
                  <a:pt x="3798" y="13372"/>
                </a:cubicBezTo>
                <a:cubicBezTo>
                  <a:pt x="3798" y="13309"/>
                  <a:pt x="3774" y="13259"/>
                  <a:pt x="3745" y="13259"/>
                </a:cubicBezTo>
                <a:close/>
                <a:moveTo>
                  <a:pt x="4824" y="13586"/>
                </a:moveTo>
                <a:cubicBezTo>
                  <a:pt x="4795" y="13586"/>
                  <a:pt x="4771" y="13636"/>
                  <a:pt x="4771" y="13699"/>
                </a:cubicBezTo>
                <a:cubicBezTo>
                  <a:pt x="4771" y="13761"/>
                  <a:pt x="4795" y="13812"/>
                  <a:pt x="4824" y="13812"/>
                </a:cubicBezTo>
                <a:cubicBezTo>
                  <a:pt x="4854" y="13812"/>
                  <a:pt x="4878" y="13761"/>
                  <a:pt x="4878" y="13699"/>
                </a:cubicBezTo>
                <a:cubicBezTo>
                  <a:pt x="4878" y="13636"/>
                  <a:pt x="4854" y="13586"/>
                  <a:pt x="4824" y="13586"/>
                </a:cubicBezTo>
                <a:close/>
                <a:moveTo>
                  <a:pt x="4824" y="13259"/>
                </a:moveTo>
                <a:cubicBezTo>
                  <a:pt x="4795" y="13259"/>
                  <a:pt x="4771" y="13309"/>
                  <a:pt x="4771" y="13372"/>
                </a:cubicBezTo>
                <a:cubicBezTo>
                  <a:pt x="4771" y="13434"/>
                  <a:pt x="4795" y="13485"/>
                  <a:pt x="4824" y="13485"/>
                </a:cubicBezTo>
                <a:cubicBezTo>
                  <a:pt x="4854" y="13485"/>
                  <a:pt x="4878" y="13434"/>
                  <a:pt x="4878" y="13372"/>
                </a:cubicBezTo>
                <a:cubicBezTo>
                  <a:pt x="4878" y="13309"/>
                  <a:pt x="4854" y="13259"/>
                  <a:pt x="4824" y="13259"/>
                </a:cubicBezTo>
                <a:close/>
                <a:moveTo>
                  <a:pt x="4672" y="13586"/>
                </a:moveTo>
                <a:cubicBezTo>
                  <a:pt x="4642" y="13586"/>
                  <a:pt x="4618" y="13636"/>
                  <a:pt x="4618" y="13699"/>
                </a:cubicBezTo>
                <a:cubicBezTo>
                  <a:pt x="4618" y="13761"/>
                  <a:pt x="4642" y="13812"/>
                  <a:pt x="4672" y="13812"/>
                </a:cubicBezTo>
                <a:cubicBezTo>
                  <a:pt x="4701" y="13812"/>
                  <a:pt x="4726" y="13761"/>
                  <a:pt x="4726" y="13699"/>
                </a:cubicBezTo>
                <a:cubicBezTo>
                  <a:pt x="4726" y="13636"/>
                  <a:pt x="4701" y="13586"/>
                  <a:pt x="4672" y="13586"/>
                </a:cubicBezTo>
                <a:close/>
                <a:moveTo>
                  <a:pt x="4672" y="13259"/>
                </a:moveTo>
                <a:cubicBezTo>
                  <a:pt x="4642" y="13259"/>
                  <a:pt x="4618" y="13309"/>
                  <a:pt x="4618" y="13372"/>
                </a:cubicBezTo>
                <a:cubicBezTo>
                  <a:pt x="4618" y="13434"/>
                  <a:pt x="4642" y="13485"/>
                  <a:pt x="4672" y="13485"/>
                </a:cubicBezTo>
                <a:cubicBezTo>
                  <a:pt x="4701" y="13485"/>
                  <a:pt x="4726" y="13434"/>
                  <a:pt x="4726" y="13372"/>
                </a:cubicBezTo>
                <a:cubicBezTo>
                  <a:pt x="4726" y="13309"/>
                  <a:pt x="4701" y="13259"/>
                  <a:pt x="4672" y="13259"/>
                </a:cubicBezTo>
                <a:close/>
                <a:moveTo>
                  <a:pt x="4516" y="13586"/>
                </a:moveTo>
                <a:cubicBezTo>
                  <a:pt x="4487" y="13586"/>
                  <a:pt x="4463" y="13636"/>
                  <a:pt x="4463" y="13699"/>
                </a:cubicBezTo>
                <a:cubicBezTo>
                  <a:pt x="4463" y="13761"/>
                  <a:pt x="4487" y="13812"/>
                  <a:pt x="4516" y="13812"/>
                </a:cubicBezTo>
                <a:cubicBezTo>
                  <a:pt x="4546" y="13812"/>
                  <a:pt x="4570" y="13761"/>
                  <a:pt x="4570" y="13699"/>
                </a:cubicBezTo>
                <a:cubicBezTo>
                  <a:pt x="4570" y="13636"/>
                  <a:pt x="4546" y="13586"/>
                  <a:pt x="4516" y="13586"/>
                </a:cubicBezTo>
                <a:close/>
                <a:moveTo>
                  <a:pt x="4516" y="13259"/>
                </a:moveTo>
                <a:cubicBezTo>
                  <a:pt x="4487" y="13259"/>
                  <a:pt x="4463" y="13309"/>
                  <a:pt x="4463" y="13372"/>
                </a:cubicBezTo>
                <a:cubicBezTo>
                  <a:pt x="4463" y="13434"/>
                  <a:pt x="4487" y="13485"/>
                  <a:pt x="4516" y="13485"/>
                </a:cubicBezTo>
                <a:cubicBezTo>
                  <a:pt x="4546" y="13485"/>
                  <a:pt x="4570" y="13434"/>
                  <a:pt x="4570" y="13372"/>
                </a:cubicBezTo>
                <a:cubicBezTo>
                  <a:pt x="4570" y="13309"/>
                  <a:pt x="4546" y="13259"/>
                  <a:pt x="4516" y="13259"/>
                </a:cubicBezTo>
                <a:close/>
                <a:moveTo>
                  <a:pt x="4362" y="13812"/>
                </a:moveTo>
                <a:cubicBezTo>
                  <a:pt x="4392" y="13812"/>
                  <a:pt x="4416" y="13761"/>
                  <a:pt x="4416" y="13699"/>
                </a:cubicBezTo>
                <a:cubicBezTo>
                  <a:pt x="4416" y="13636"/>
                  <a:pt x="4392" y="13586"/>
                  <a:pt x="4362" y="13586"/>
                </a:cubicBezTo>
                <a:cubicBezTo>
                  <a:pt x="4333" y="13586"/>
                  <a:pt x="4309" y="13636"/>
                  <a:pt x="4309" y="13699"/>
                </a:cubicBezTo>
                <a:cubicBezTo>
                  <a:pt x="4309" y="13761"/>
                  <a:pt x="4333" y="13812"/>
                  <a:pt x="4362" y="13812"/>
                </a:cubicBezTo>
                <a:close/>
                <a:moveTo>
                  <a:pt x="4362" y="13485"/>
                </a:moveTo>
                <a:cubicBezTo>
                  <a:pt x="4392" y="13485"/>
                  <a:pt x="4416" y="13434"/>
                  <a:pt x="4416" y="13372"/>
                </a:cubicBezTo>
                <a:cubicBezTo>
                  <a:pt x="4416" y="13309"/>
                  <a:pt x="4392" y="13259"/>
                  <a:pt x="4362" y="13259"/>
                </a:cubicBezTo>
                <a:cubicBezTo>
                  <a:pt x="4333" y="13259"/>
                  <a:pt x="4309" y="13309"/>
                  <a:pt x="4309" y="13372"/>
                </a:cubicBezTo>
                <a:cubicBezTo>
                  <a:pt x="4309" y="13434"/>
                  <a:pt x="4333" y="13485"/>
                  <a:pt x="4362" y="13485"/>
                </a:cubicBezTo>
                <a:close/>
                <a:moveTo>
                  <a:pt x="4210" y="13586"/>
                </a:moveTo>
                <a:cubicBezTo>
                  <a:pt x="4180" y="13586"/>
                  <a:pt x="4156" y="13636"/>
                  <a:pt x="4156" y="13699"/>
                </a:cubicBezTo>
                <a:cubicBezTo>
                  <a:pt x="4156" y="13761"/>
                  <a:pt x="4180" y="13812"/>
                  <a:pt x="4210" y="13812"/>
                </a:cubicBezTo>
                <a:cubicBezTo>
                  <a:pt x="4240" y="13812"/>
                  <a:pt x="4264" y="13761"/>
                  <a:pt x="4264" y="13699"/>
                </a:cubicBezTo>
                <a:cubicBezTo>
                  <a:pt x="4264" y="13636"/>
                  <a:pt x="4240" y="13586"/>
                  <a:pt x="4210" y="13586"/>
                </a:cubicBezTo>
                <a:close/>
                <a:moveTo>
                  <a:pt x="4210" y="13259"/>
                </a:moveTo>
                <a:cubicBezTo>
                  <a:pt x="4180" y="13259"/>
                  <a:pt x="4156" y="13309"/>
                  <a:pt x="4156" y="13372"/>
                </a:cubicBezTo>
                <a:cubicBezTo>
                  <a:pt x="4156" y="13434"/>
                  <a:pt x="4180" y="13485"/>
                  <a:pt x="4210" y="13485"/>
                </a:cubicBezTo>
                <a:cubicBezTo>
                  <a:pt x="4240" y="13485"/>
                  <a:pt x="4264" y="13434"/>
                  <a:pt x="4264" y="13372"/>
                </a:cubicBezTo>
                <a:cubicBezTo>
                  <a:pt x="4264" y="13309"/>
                  <a:pt x="4240" y="13259"/>
                  <a:pt x="4210" y="13259"/>
                </a:cubicBezTo>
                <a:close/>
                <a:moveTo>
                  <a:pt x="5593" y="13586"/>
                </a:moveTo>
                <a:cubicBezTo>
                  <a:pt x="5563" y="13586"/>
                  <a:pt x="5539" y="13636"/>
                  <a:pt x="5539" y="13699"/>
                </a:cubicBezTo>
                <a:cubicBezTo>
                  <a:pt x="5539" y="13761"/>
                  <a:pt x="5563" y="13812"/>
                  <a:pt x="5593" y="13812"/>
                </a:cubicBezTo>
                <a:cubicBezTo>
                  <a:pt x="5622" y="13812"/>
                  <a:pt x="5646" y="13761"/>
                  <a:pt x="5646" y="13699"/>
                </a:cubicBezTo>
                <a:cubicBezTo>
                  <a:pt x="5646" y="13636"/>
                  <a:pt x="5622" y="13586"/>
                  <a:pt x="5593" y="13586"/>
                </a:cubicBezTo>
                <a:close/>
                <a:moveTo>
                  <a:pt x="5593" y="13259"/>
                </a:moveTo>
                <a:cubicBezTo>
                  <a:pt x="5563" y="13259"/>
                  <a:pt x="5539" y="13309"/>
                  <a:pt x="5539" y="13372"/>
                </a:cubicBezTo>
                <a:cubicBezTo>
                  <a:pt x="5539" y="13434"/>
                  <a:pt x="5563" y="13485"/>
                  <a:pt x="5593" y="13485"/>
                </a:cubicBezTo>
                <a:cubicBezTo>
                  <a:pt x="5622" y="13485"/>
                  <a:pt x="5646" y="13434"/>
                  <a:pt x="5646" y="13372"/>
                </a:cubicBezTo>
                <a:cubicBezTo>
                  <a:pt x="5646" y="13309"/>
                  <a:pt x="5622" y="13259"/>
                  <a:pt x="5593" y="13259"/>
                </a:cubicBezTo>
                <a:close/>
                <a:moveTo>
                  <a:pt x="5440" y="13586"/>
                </a:moveTo>
                <a:cubicBezTo>
                  <a:pt x="5410" y="13586"/>
                  <a:pt x="5386" y="13636"/>
                  <a:pt x="5386" y="13699"/>
                </a:cubicBezTo>
                <a:cubicBezTo>
                  <a:pt x="5386" y="13761"/>
                  <a:pt x="5410" y="13812"/>
                  <a:pt x="5440" y="13812"/>
                </a:cubicBezTo>
                <a:cubicBezTo>
                  <a:pt x="5470" y="13812"/>
                  <a:pt x="5494" y="13761"/>
                  <a:pt x="5494" y="13699"/>
                </a:cubicBezTo>
                <a:cubicBezTo>
                  <a:pt x="5494" y="13636"/>
                  <a:pt x="5470" y="13586"/>
                  <a:pt x="5440" y="13586"/>
                </a:cubicBezTo>
                <a:close/>
                <a:moveTo>
                  <a:pt x="5440" y="13259"/>
                </a:moveTo>
                <a:cubicBezTo>
                  <a:pt x="5410" y="13259"/>
                  <a:pt x="5386" y="13309"/>
                  <a:pt x="5386" y="13372"/>
                </a:cubicBezTo>
                <a:cubicBezTo>
                  <a:pt x="5386" y="13434"/>
                  <a:pt x="5410" y="13485"/>
                  <a:pt x="5440" y="13485"/>
                </a:cubicBezTo>
                <a:cubicBezTo>
                  <a:pt x="5470" y="13485"/>
                  <a:pt x="5494" y="13434"/>
                  <a:pt x="5494" y="13372"/>
                </a:cubicBezTo>
                <a:cubicBezTo>
                  <a:pt x="5494" y="13309"/>
                  <a:pt x="5470" y="13259"/>
                  <a:pt x="5440" y="13259"/>
                </a:cubicBezTo>
                <a:close/>
                <a:moveTo>
                  <a:pt x="5285" y="13586"/>
                </a:moveTo>
                <a:cubicBezTo>
                  <a:pt x="5255" y="13586"/>
                  <a:pt x="5231" y="13636"/>
                  <a:pt x="5231" y="13699"/>
                </a:cubicBezTo>
                <a:cubicBezTo>
                  <a:pt x="5231" y="13761"/>
                  <a:pt x="5255" y="13812"/>
                  <a:pt x="5285" y="13812"/>
                </a:cubicBezTo>
                <a:cubicBezTo>
                  <a:pt x="5314" y="13812"/>
                  <a:pt x="5338" y="13761"/>
                  <a:pt x="5338" y="13699"/>
                </a:cubicBezTo>
                <a:cubicBezTo>
                  <a:pt x="5338" y="13636"/>
                  <a:pt x="5314" y="13586"/>
                  <a:pt x="5285" y="13586"/>
                </a:cubicBezTo>
                <a:close/>
                <a:moveTo>
                  <a:pt x="5285" y="13259"/>
                </a:moveTo>
                <a:cubicBezTo>
                  <a:pt x="5255" y="13259"/>
                  <a:pt x="5231" y="13309"/>
                  <a:pt x="5231" y="13372"/>
                </a:cubicBezTo>
                <a:cubicBezTo>
                  <a:pt x="5231" y="13434"/>
                  <a:pt x="5255" y="13485"/>
                  <a:pt x="5285" y="13485"/>
                </a:cubicBezTo>
                <a:cubicBezTo>
                  <a:pt x="5314" y="13485"/>
                  <a:pt x="5338" y="13434"/>
                  <a:pt x="5338" y="13372"/>
                </a:cubicBezTo>
                <a:cubicBezTo>
                  <a:pt x="5338" y="13309"/>
                  <a:pt x="5314" y="13259"/>
                  <a:pt x="5285" y="13259"/>
                </a:cubicBezTo>
                <a:close/>
                <a:moveTo>
                  <a:pt x="5131" y="13586"/>
                </a:moveTo>
                <a:cubicBezTo>
                  <a:pt x="5101" y="13586"/>
                  <a:pt x="5077" y="13636"/>
                  <a:pt x="5077" y="13699"/>
                </a:cubicBezTo>
                <a:cubicBezTo>
                  <a:pt x="5077" y="13761"/>
                  <a:pt x="5101" y="13812"/>
                  <a:pt x="5131" y="13812"/>
                </a:cubicBezTo>
                <a:cubicBezTo>
                  <a:pt x="5160" y="13812"/>
                  <a:pt x="5184" y="13761"/>
                  <a:pt x="5184" y="13699"/>
                </a:cubicBezTo>
                <a:cubicBezTo>
                  <a:pt x="5184" y="13636"/>
                  <a:pt x="5160" y="13586"/>
                  <a:pt x="5131" y="13586"/>
                </a:cubicBezTo>
                <a:close/>
                <a:moveTo>
                  <a:pt x="5131" y="13259"/>
                </a:moveTo>
                <a:cubicBezTo>
                  <a:pt x="5101" y="13259"/>
                  <a:pt x="5077" y="13309"/>
                  <a:pt x="5077" y="13372"/>
                </a:cubicBezTo>
                <a:cubicBezTo>
                  <a:pt x="5077" y="13434"/>
                  <a:pt x="5101" y="13485"/>
                  <a:pt x="5131" y="13485"/>
                </a:cubicBezTo>
                <a:cubicBezTo>
                  <a:pt x="5160" y="13485"/>
                  <a:pt x="5184" y="13434"/>
                  <a:pt x="5184" y="13372"/>
                </a:cubicBezTo>
                <a:cubicBezTo>
                  <a:pt x="5184" y="13309"/>
                  <a:pt x="5160" y="13259"/>
                  <a:pt x="5131" y="13259"/>
                </a:cubicBezTo>
                <a:close/>
                <a:moveTo>
                  <a:pt x="4978" y="13586"/>
                </a:moveTo>
                <a:cubicBezTo>
                  <a:pt x="4948" y="13586"/>
                  <a:pt x="4924" y="13636"/>
                  <a:pt x="4924" y="13699"/>
                </a:cubicBezTo>
                <a:cubicBezTo>
                  <a:pt x="4924" y="13761"/>
                  <a:pt x="4948" y="13812"/>
                  <a:pt x="4978" y="13812"/>
                </a:cubicBezTo>
                <a:cubicBezTo>
                  <a:pt x="5008" y="13812"/>
                  <a:pt x="5032" y="13761"/>
                  <a:pt x="5032" y="13699"/>
                </a:cubicBezTo>
                <a:cubicBezTo>
                  <a:pt x="5032" y="13636"/>
                  <a:pt x="5008" y="13586"/>
                  <a:pt x="4978" y="13586"/>
                </a:cubicBezTo>
                <a:close/>
                <a:moveTo>
                  <a:pt x="4978" y="13259"/>
                </a:moveTo>
                <a:cubicBezTo>
                  <a:pt x="4948" y="13259"/>
                  <a:pt x="4924" y="13309"/>
                  <a:pt x="4924" y="13372"/>
                </a:cubicBezTo>
                <a:cubicBezTo>
                  <a:pt x="4924" y="13434"/>
                  <a:pt x="4948" y="13485"/>
                  <a:pt x="4978" y="13485"/>
                </a:cubicBezTo>
                <a:cubicBezTo>
                  <a:pt x="5008" y="13485"/>
                  <a:pt x="5032" y="13434"/>
                  <a:pt x="5032" y="13372"/>
                </a:cubicBezTo>
                <a:cubicBezTo>
                  <a:pt x="5032" y="13309"/>
                  <a:pt x="5008" y="13259"/>
                  <a:pt x="4978" y="13259"/>
                </a:cubicBezTo>
                <a:close/>
                <a:moveTo>
                  <a:pt x="5746" y="17146"/>
                </a:moveTo>
                <a:cubicBezTo>
                  <a:pt x="5717" y="17146"/>
                  <a:pt x="5692" y="17197"/>
                  <a:pt x="5692" y="17259"/>
                </a:cubicBezTo>
                <a:cubicBezTo>
                  <a:pt x="5692" y="17322"/>
                  <a:pt x="5717" y="17372"/>
                  <a:pt x="5746" y="17372"/>
                </a:cubicBezTo>
                <a:cubicBezTo>
                  <a:pt x="5776" y="17372"/>
                  <a:pt x="5800" y="17322"/>
                  <a:pt x="5800" y="17259"/>
                </a:cubicBezTo>
                <a:cubicBezTo>
                  <a:pt x="5800" y="17197"/>
                  <a:pt x="5776" y="17146"/>
                  <a:pt x="5746" y="17146"/>
                </a:cubicBezTo>
                <a:close/>
                <a:moveTo>
                  <a:pt x="5746" y="16819"/>
                </a:moveTo>
                <a:cubicBezTo>
                  <a:pt x="5717" y="16819"/>
                  <a:pt x="5692" y="16870"/>
                  <a:pt x="5692" y="16932"/>
                </a:cubicBezTo>
                <a:cubicBezTo>
                  <a:pt x="5692" y="16995"/>
                  <a:pt x="5717" y="17045"/>
                  <a:pt x="5746" y="17045"/>
                </a:cubicBezTo>
                <a:cubicBezTo>
                  <a:pt x="5776" y="17045"/>
                  <a:pt x="5800" y="16995"/>
                  <a:pt x="5800" y="16932"/>
                </a:cubicBezTo>
                <a:cubicBezTo>
                  <a:pt x="5800" y="16870"/>
                  <a:pt x="5776" y="16819"/>
                  <a:pt x="5746" y="16819"/>
                </a:cubicBezTo>
                <a:close/>
                <a:moveTo>
                  <a:pt x="5746" y="16492"/>
                </a:moveTo>
                <a:cubicBezTo>
                  <a:pt x="5717" y="16492"/>
                  <a:pt x="5692" y="16543"/>
                  <a:pt x="5692" y="16605"/>
                </a:cubicBezTo>
                <a:cubicBezTo>
                  <a:pt x="5692" y="16668"/>
                  <a:pt x="5717" y="16719"/>
                  <a:pt x="5746" y="16719"/>
                </a:cubicBezTo>
                <a:cubicBezTo>
                  <a:pt x="5776" y="16719"/>
                  <a:pt x="5800" y="16668"/>
                  <a:pt x="5800" y="16605"/>
                </a:cubicBezTo>
                <a:cubicBezTo>
                  <a:pt x="5800" y="16543"/>
                  <a:pt x="5776" y="16492"/>
                  <a:pt x="5746" y="16492"/>
                </a:cubicBezTo>
                <a:close/>
                <a:moveTo>
                  <a:pt x="6208" y="16168"/>
                </a:moveTo>
                <a:cubicBezTo>
                  <a:pt x="6179" y="16168"/>
                  <a:pt x="6154" y="16218"/>
                  <a:pt x="6154" y="16281"/>
                </a:cubicBezTo>
                <a:cubicBezTo>
                  <a:pt x="6154" y="16343"/>
                  <a:pt x="6179" y="16394"/>
                  <a:pt x="6208" y="16394"/>
                </a:cubicBezTo>
                <a:cubicBezTo>
                  <a:pt x="6238" y="16394"/>
                  <a:pt x="6262" y="16343"/>
                  <a:pt x="6262" y="16281"/>
                </a:cubicBezTo>
                <a:cubicBezTo>
                  <a:pt x="6262" y="16218"/>
                  <a:pt x="6238" y="16168"/>
                  <a:pt x="6208" y="16168"/>
                </a:cubicBezTo>
                <a:close/>
                <a:moveTo>
                  <a:pt x="6208" y="15841"/>
                </a:moveTo>
                <a:cubicBezTo>
                  <a:pt x="6179" y="15841"/>
                  <a:pt x="6154" y="15891"/>
                  <a:pt x="6154" y="15954"/>
                </a:cubicBezTo>
                <a:cubicBezTo>
                  <a:pt x="6154" y="16016"/>
                  <a:pt x="6179" y="16067"/>
                  <a:pt x="6208" y="16067"/>
                </a:cubicBezTo>
                <a:cubicBezTo>
                  <a:pt x="6238" y="16067"/>
                  <a:pt x="6262" y="16016"/>
                  <a:pt x="6262" y="15954"/>
                </a:cubicBezTo>
                <a:cubicBezTo>
                  <a:pt x="6262" y="15891"/>
                  <a:pt x="6238" y="15841"/>
                  <a:pt x="6208" y="15841"/>
                </a:cubicBezTo>
                <a:close/>
                <a:moveTo>
                  <a:pt x="6053" y="16168"/>
                </a:moveTo>
                <a:cubicBezTo>
                  <a:pt x="6023" y="16168"/>
                  <a:pt x="5999" y="16218"/>
                  <a:pt x="5999" y="16281"/>
                </a:cubicBezTo>
                <a:cubicBezTo>
                  <a:pt x="5999" y="16343"/>
                  <a:pt x="6023" y="16394"/>
                  <a:pt x="6053" y="16394"/>
                </a:cubicBezTo>
                <a:cubicBezTo>
                  <a:pt x="6083" y="16394"/>
                  <a:pt x="6107" y="16343"/>
                  <a:pt x="6107" y="16281"/>
                </a:cubicBezTo>
                <a:cubicBezTo>
                  <a:pt x="6107" y="16218"/>
                  <a:pt x="6083" y="16168"/>
                  <a:pt x="6053" y="16168"/>
                </a:cubicBezTo>
                <a:close/>
                <a:moveTo>
                  <a:pt x="6053" y="15841"/>
                </a:moveTo>
                <a:cubicBezTo>
                  <a:pt x="6023" y="15841"/>
                  <a:pt x="5999" y="15891"/>
                  <a:pt x="5999" y="15954"/>
                </a:cubicBezTo>
                <a:cubicBezTo>
                  <a:pt x="5999" y="16016"/>
                  <a:pt x="6023" y="16067"/>
                  <a:pt x="6053" y="16067"/>
                </a:cubicBezTo>
                <a:cubicBezTo>
                  <a:pt x="6083" y="16067"/>
                  <a:pt x="6107" y="16016"/>
                  <a:pt x="6107" y="15954"/>
                </a:cubicBezTo>
                <a:cubicBezTo>
                  <a:pt x="6107" y="15891"/>
                  <a:pt x="6083" y="15841"/>
                  <a:pt x="6053" y="15841"/>
                </a:cubicBezTo>
                <a:close/>
                <a:moveTo>
                  <a:pt x="5899" y="16168"/>
                </a:moveTo>
                <a:cubicBezTo>
                  <a:pt x="5869" y="16168"/>
                  <a:pt x="5845" y="16218"/>
                  <a:pt x="5845" y="16281"/>
                </a:cubicBezTo>
                <a:cubicBezTo>
                  <a:pt x="5845" y="16343"/>
                  <a:pt x="5869" y="16394"/>
                  <a:pt x="5899" y="16394"/>
                </a:cubicBezTo>
                <a:cubicBezTo>
                  <a:pt x="5929" y="16394"/>
                  <a:pt x="5953" y="16343"/>
                  <a:pt x="5953" y="16281"/>
                </a:cubicBezTo>
                <a:cubicBezTo>
                  <a:pt x="5953" y="16218"/>
                  <a:pt x="5929" y="16168"/>
                  <a:pt x="5899" y="16168"/>
                </a:cubicBezTo>
                <a:close/>
                <a:moveTo>
                  <a:pt x="5899" y="15841"/>
                </a:moveTo>
                <a:cubicBezTo>
                  <a:pt x="5869" y="15841"/>
                  <a:pt x="5845" y="15891"/>
                  <a:pt x="5845" y="15954"/>
                </a:cubicBezTo>
                <a:cubicBezTo>
                  <a:pt x="5845" y="16016"/>
                  <a:pt x="5869" y="16067"/>
                  <a:pt x="5899" y="16067"/>
                </a:cubicBezTo>
                <a:cubicBezTo>
                  <a:pt x="5929" y="16067"/>
                  <a:pt x="5953" y="16016"/>
                  <a:pt x="5953" y="15954"/>
                </a:cubicBezTo>
                <a:cubicBezTo>
                  <a:pt x="5953" y="15891"/>
                  <a:pt x="5929" y="15841"/>
                  <a:pt x="5899" y="15841"/>
                </a:cubicBezTo>
                <a:close/>
                <a:moveTo>
                  <a:pt x="5746" y="16168"/>
                </a:moveTo>
                <a:cubicBezTo>
                  <a:pt x="5717" y="16168"/>
                  <a:pt x="5692" y="16218"/>
                  <a:pt x="5692" y="16281"/>
                </a:cubicBezTo>
                <a:cubicBezTo>
                  <a:pt x="5692" y="16343"/>
                  <a:pt x="5717" y="16394"/>
                  <a:pt x="5746" y="16394"/>
                </a:cubicBezTo>
                <a:cubicBezTo>
                  <a:pt x="5776" y="16394"/>
                  <a:pt x="5800" y="16343"/>
                  <a:pt x="5800" y="16281"/>
                </a:cubicBezTo>
                <a:cubicBezTo>
                  <a:pt x="5800" y="16218"/>
                  <a:pt x="5776" y="16168"/>
                  <a:pt x="5746" y="16168"/>
                </a:cubicBezTo>
                <a:close/>
                <a:moveTo>
                  <a:pt x="5746" y="15841"/>
                </a:moveTo>
                <a:cubicBezTo>
                  <a:pt x="5717" y="15841"/>
                  <a:pt x="5692" y="15891"/>
                  <a:pt x="5692" y="15954"/>
                </a:cubicBezTo>
                <a:cubicBezTo>
                  <a:pt x="5692" y="16016"/>
                  <a:pt x="5717" y="16067"/>
                  <a:pt x="5746" y="16067"/>
                </a:cubicBezTo>
                <a:cubicBezTo>
                  <a:pt x="5776" y="16067"/>
                  <a:pt x="5800" y="16016"/>
                  <a:pt x="5800" y="15954"/>
                </a:cubicBezTo>
                <a:cubicBezTo>
                  <a:pt x="5800" y="15891"/>
                  <a:pt x="5776" y="15841"/>
                  <a:pt x="5746" y="15841"/>
                </a:cubicBezTo>
                <a:close/>
                <a:moveTo>
                  <a:pt x="6208" y="15514"/>
                </a:moveTo>
                <a:cubicBezTo>
                  <a:pt x="6179" y="15514"/>
                  <a:pt x="6154" y="15565"/>
                  <a:pt x="6154" y="15627"/>
                </a:cubicBezTo>
                <a:cubicBezTo>
                  <a:pt x="6154" y="15690"/>
                  <a:pt x="6179" y="15740"/>
                  <a:pt x="6208" y="15740"/>
                </a:cubicBezTo>
                <a:cubicBezTo>
                  <a:pt x="6238" y="15740"/>
                  <a:pt x="6262" y="15690"/>
                  <a:pt x="6262" y="15627"/>
                </a:cubicBezTo>
                <a:cubicBezTo>
                  <a:pt x="6262" y="15565"/>
                  <a:pt x="6238" y="15514"/>
                  <a:pt x="6208" y="15514"/>
                </a:cubicBezTo>
                <a:close/>
                <a:moveTo>
                  <a:pt x="6208" y="15187"/>
                </a:moveTo>
                <a:cubicBezTo>
                  <a:pt x="6179" y="15187"/>
                  <a:pt x="6154" y="15238"/>
                  <a:pt x="6154" y="15300"/>
                </a:cubicBezTo>
                <a:cubicBezTo>
                  <a:pt x="6154" y="15363"/>
                  <a:pt x="6179" y="15413"/>
                  <a:pt x="6208" y="15413"/>
                </a:cubicBezTo>
                <a:cubicBezTo>
                  <a:pt x="6238" y="15413"/>
                  <a:pt x="6262" y="15363"/>
                  <a:pt x="6262" y="15300"/>
                </a:cubicBezTo>
                <a:cubicBezTo>
                  <a:pt x="6262" y="15238"/>
                  <a:pt x="6238" y="15187"/>
                  <a:pt x="6208" y="15187"/>
                </a:cubicBezTo>
                <a:close/>
                <a:moveTo>
                  <a:pt x="6053" y="15514"/>
                </a:moveTo>
                <a:cubicBezTo>
                  <a:pt x="6023" y="15514"/>
                  <a:pt x="5999" y="15565"/>
                  <a:pt x="5999" y="15627"/>
                </a:cubicBezTo>
                <a:cubicBezTo>
                  <a:pt x="5999" y="15690"/>
                  <a:pt x="6023" y="15740"/>
                  <a:pt x="6053" y="15740"/>
                </a:cubicBezTo>
                <a:cubicBezTo>
                  <a:pt x="6083" y="15740"/>
                  <a:pt x="6107" y="15690"/>
                  <a:pt x="6107" y="15627"/>
                </a:cubicBezTo>
                <a:cubicBezTo>
                  <a:pt x="6107" y="15565"/>
                  <a:pt x="6083" y="15514"/>
                  <a:pt x="6053" y="15514"/>
                </a:cubicBezTo>
                <a:close/>
                <a:moveTo>
                  <a:pt x="6053" y="15187"/>
                </a:moveTo>
                <a:cubicBezTo>
                  <a:pt x="6023" y="15187"/>
                  <a:pt x="5999" y="15238"/>
                  <a:pt x="5999" y="15300"/>
                </a:cubicBezTo>
                <a:cubicBezTo>
                  <a:pt x="5999" y="15363"/>
                  <a:pt x="6023" y="15413"/>
                  <a:pt x="6053" y="15413"/>
                </a:cubicBezTo>
                <a:cubicBezTo>
                  <a:pt x="6083" y="15413"/>
                  <a:pt x="6107" y="15363"/>
                  <a:pt x="6107" y="15300"/>
                </a:cubicBezTo>
                <a:cubicBezTo>
                  <a:pt x="6107" y="15238"/>
                  <a:pt x="6083" y="15187"/>
                  <a:pt x="6053" y="15187"/>
                </a:cubicBezTo>
                <a:close/>
                <a:moveTo>
                  <a:pt x="5899" y="15514"/>
                </a:moveTo>
                <a:cubicBezTo>
                  <a:pt x="5869" y="15514"/>
                  <a:pt x="5845" y="15565"/>
                  <a:pt x="5845" y="15627"/>
                </a:cubicBezTo>
                <a:cubicBezTo>
                  <a:pt x="5845" y="15690"/>
                  <a:pt x="5869" y="15740"/>
                  <a:pt x="5899" y="15740"/>
                </a:cubicBezTo>
                <a:cubicBezTo>
                  <a:pt x="5929" y="15740"/>
                  <a:pt x="5953" y="15690"/>
                  <a:pt x="5953" y="15627"/>
                </a:cubicBezTo>
                <a:cubicBezTo>
                  <a:pt x="5953" y="15565"/>
                  <a:pt x="5929" y="15514"/>
                  <a:pt x="5899" y="15514"/>
                </a:cubicBezTo>
                <a:close/>
                <a:moveTo>
                  <a:pt x="5899" y="15187"/>
                </a:moveTo>
                <a:cubicBezTo>
                  <a:pt x="5869" y="15187"/>
                  <a:pt x="5845" y="15238"/>
                  <a:pt x="5845" y="15300"/>
                </a:cubicBezTo>
                <a:cubicBezTo>
                  <a:pt x="5845" y="15363"/>
                  <a:pt x="5869" y="15413"/>
                  <a:pt x="5899" y="15413"/>
                </a:cubicBezTo>
                <a:cubicBezTo>
                  <a:pt x="5929" y="15413"/>
                  <a:pt x="5953" y="15363"/>
                  <a:pt x="5953" y="15300"/>
                </a:cubicBezTo>
                <a:cubicBezTo>
                  <a:pt x="5953" y="15238"/>
                  <a:pt x="5929" y="15187"/>
                  <a:pt x="5899" y="15187"/>
                </a:cubicBezTo>
                <a:close/>
                <a:moveTo>
                  <a:pt x="5746" y="15514"/>
                </a:moveTo>
                <a:cubicBezTo>
                  <a:pt x="5717" y="15514"/>
                  <a:pt x="5692" y="15565"/>
                  <a:pt x="5692" y="15627"/>
                </a:cubicBezTo>
                <a:cubicBezTo>
                  <a:pt x="5692" y="15690"/>
                  <a:pt x="5717" y="15740"/>
                  <a:pt x="5746" y="15740"/>
                </a:cubicBezTo>
                <a:cubicBezTo>
                  <a:pt x="5776" y="15740"/>
                  <a:pt x="5800" y="15690"/>
                  <a:pt x="5800" y="15627"/>
                </a:cubicBezTo>
                <a:cubicBezTo>
                  <a:pt x="5800" y="15565"/>
                  <a:pt x="5776" y="15514"/>
                  <a:pt x="5746" y="15514"/>
                </a:cubicBezTo>
                <a:close/>
                <a:moveTo>
                  <a:pt x="5746" y="15187"/>
                </a:moveTo>
                <a:cubicBezTo>
                  <a:pt x="5717" y="15187"/>
                  <a:pt x="5692" y="15238"/>
                  <a:pt x="5692" y="15300"/>
                </a:cubicBezTo>
                <a:cubicBezTo>
                  <a:pt x="5692" y="15363"/>
                  <a:pt x="5717" y="15413"/>
                  <a:pt x="5746" y="15413"/>
                </a:cubicBezTo>
                <a:cubicBezTo>
                  <a:pt x="5776" y="15413"/>
                  <a:pt x="5800" y="15363"/>
                  <a:pt x="5800" y="15300"/>
                </a:cubicBezTo>
                <a:cubicBezTo>
                  <a:pt x="5800" y="15238"/>
                  <a:pt x="5776" y="15187"/>
                  <a:pt x="5746" y="15187"/>
                </a:cubicBezTo>
                <a:close/>
                <a:moveTo>
                  <a:pt x="6208" y="14877"/>
                </a:moveTo>
                <a:cubicBezTo>
                  <a:pt x="6179" y="14877"/>
                  <a:pt x="6154" y="14928"/>
                  <a:pt x="6154" y="14990"/>
                </a:cubicBezTo>
                <a:cubicBezTo>
                  <a:pt x="6154" y="15053"/>
                  <a:pt x="6179" y="15103"/>
                  <a:pt x="6208" y="15103"/>
                </a:cubicBezTo>
                <a:cubicBezTo>
                  <a:pt x="6238" y="15103"/>
                  <a:pt x="6262" y="15053"/>
                  <a:pt x="6262" y="14990"/>
                </a:cubicBezTo>
                <a:cubicBezTo>
                  <a:pt x="6262" y="14928"/>
                  <a:pt x="6238" y="14877"/>
                  <a:pt x="6208" y="14877"/>
                </a:cubicBezTo>
                <a:close/>
                <a:moveTo>
                  <a:pt x="6208" y="14550"/>
                </a:moveTo>
                <a:cubicBezTo>
                  <a:pt x="6179" y="14550"/>
                  <a:pt x="6154" y="14601"/>
                  <a:pt x="6154" y="14663"/>
                </a:cubicBezTo>
                <a:cubicBezTo>
                  <a:pt x="6154" y="14726"/>
                  <a:pt x="6179" y="14777"/>
                  <a:pt x="6208" y="14777"/>
                </a:cubicBezTo>
                <a:cubicBezTo>
                  <a:pt x="6238" y="14777"/>
                  <a:pt x="6262" y="14726"/>
                  <a:pt x="6262" y="14663"/>
                </a:cubicBezTo>
                <a:cubicBezTo>
                  <a:pt x="6262" y="14601"/>
                  <a:pt x="6238" y="14550"/>
                  <a:pt x="6208" y="14550"/>
                </a:cubicBezTo>
                <a:close/>
                <a:moveTo>
                  <a:pt x="6053" y="14877"/>
                </a:moveTo>
                <a:cubicBezTo>
                  <a:pt x="6023" y="14877"/>
                  <a:pt x="5999" y="14928"/>
                  <a:pt x="5999" y="14990"/>
                </a:cubicBezTo>
                <a:cubicBezTo>
                  <a:pt x="5999" y="15053"/>
                  <a:pt x="6023" y="15103"/>
                  <a:pt x="6053" y="15103"/>
                </a:cubicBezTo>
                <a:cubicBezTo>
                  <a:pt x="6083" y="15103"/>
                  <a:pt x="6107" y="15053"/>
                  <a:pt x="6107" y="14990"/>
                </a:cubicBezTo>
                <a:cubicBezTo>
                  <a:pt x="6107" y="14928"/>
                  <a:pt x="6083" y="14877"/>
                  <a:pt x="6053" y="14877"/>
                </a:cubicBezTo>
                <a:close/>
                <a:moveTo>
                  <a:pt x="6053" y="14550"/>
                </a:moveTo>
                <a:cubicBezTo>
                  <a:pt x="6023" y="14550"/>
                  <a:pt x="5999" y="14601"/>
                  <a:pt x="5999" y="14663"/>
                </a:cubicBezTo>
                <a:cubicBezTo>
                  <a:pt x="5999" y="14726"/>
                  <a:pt x="6023" y="14777"/>
                  <a:pt x="6053" y="14777"/>
                </a:cubicBezTo>
                <a:cubicBezTo>
                  <a:pt x="6083" y="14777"/>
                  <a:pt x="6107" y="14726"/>
                  <a:pt x="6107" y="14663"/>
                </a:cubicBezTo>
                <a:cubicBezTo>
                  <a:pt x="6107" y="14601"/>
                  <a:pt x="6083" y="14550"/>
                  <a:pt x="6053" y="14550"/>
                </a:cubicBezTo>
                <a:close/>
                <a:moveTo>
                  <a:pt x="5899" y="14877"/>
                </a:moveTo>
                <a:cubicBezTo>
                  <a:pt x="5869" y="14877"/>
                  <a:pt x="5845" y="14928"/>
                  <a:pt x="5845" y="14990"/>
                </a:cubicBezTo>
                <a:cubicBezTo>
                  <a:pt x="5845" y="15053"/>
                  <a:pt x="5869" y="15103"/>
                  <a:pt x="5899" y="15103"/>
                </a:cubicBezTo>
                <a:cubicBezTo>
                  <a:pt x="5929" y="15103"/>
                  <a:pt x="5953" y="15053"/>
                  <a:pt x="5953" y="14990"/>
                </a:cubicBezTo>
                <a:cubicBezTo>
                  <a:pt x="5953" y="14928"/>
                  <a:pt x="5929" y="14877"/>
                  <a:pt x="5899" y="14877"/>
                </a:cubicBezTo>
                <a:close/>
                <a:moveTo>
                  <a:pt x="5899" y="14550"/>
                </a:moveTo>
                <a:cubicBezTo>
                  <a:pt x="5869" y="14550"/>
                  <a:pt x="5845" y="14601"/>
                  <a:pt x="5845" y="14663"/>
                </a:cubicBezTo>
                <a:cubicBezTo>
                  <a:pt x="5845" y="14726"/>
                  <a:pt x="5869" y="14777"/>
                  <a:pt x="5899" y="14777"/>
                </a:cubicBezTo>
                <a:cubicBezTo>
                  <a:pt x="5929" y="14777"/>
                  <a:pt x="5953" y="14726"/>
                  <a:pt x="5953" y="14663"/>
                </a:cubicBezTo>
                <a:cubicBezTo>
                  <a:pt x="5953" y="14601"/>
                  <a:pt x="5929" y="14550"/>
                  <a:pt x="5899" y="14550"/>
                </a:cubicBezTo>
                <a:close/>
                <a:moveTo>
                  <a:pt x="5746" y="14877"/>
                </a:moveTo>
                <a:cubicBezTo>
                  <a:pt x="5717" y="14877"/>
                  <a:pt x="5692" y="14928"/>
                  <a:pt x="5692" y="14990"/>
                </a:cubicBezTo>
                <a:cubicBezTo>
                  <a:pt x="5692" y="15053"/>
                  <a:pt x="5717" y="15103"/>
                  <a:pt x="5746" y="15103"/>
                </a:cubicBezTo>
                <a:cubicBezTo>
                  <a:pt x="5776" y="15103"/>
                  <a:pt x="5800" y="15053"/>
                  <a:pt x="5800" y="14990"/>
                </a:cubicBezTo>
                <a:cubicBezTo>
                  <a:pt x="5800" y="14928"/>
                  <a:pt x="5776" y="14877"/>
                  <a:pt x="5746" y="14877"/>
                </a:cubicBezTo>
                <a:close/>
                <a:moveTo>
                  <a:pt x="5746" y="14550"/>
                </a:moveTo>
                <a:cubicBezTo>
                  <a:pt x="5717" y="14550"/>
                  <a:pt x="5692" y="14601"/>
                  <a:pt x="5692" y="14663"/>
                </a:cubicBezTo>
                <a:cubicBezTo>
                  <a:pt x="5692" y="14726"/>
                  <a:pt x="5717" y="14777"/>
                  <a:pt x="5746" y="14777"/>
                </a:cubicBezTo>
                <a:cubicBezTo>
                  <a:pt x="5776" y="14777"/>
                  <a:pt x="5800" y="14726"/>
                  <a:pt x="5800" y="14663"/>
                </a:cubicBezTo>
                <a:cubicBezTo>
                  <a:pt x="5800" y="14601"/>
                  <a:pt x="5776" y="14550"/>
                  <a:pt x="5746" y="14550"/>
                </a:cubicBezTo>
                <a:close/>
                <a:moveTo>
                  <a:pt x="6208" y="14223"/>
                </a:moveTo>
                <a:cubicBezTo>
                  <a:pt x="6179" y="14223"/>
                  <a:pt x="6154" y="14274"/>
                  <a:pt x="6154" y="14337"/>
                </a:cubicBezTo>
                <a:cubicBezTo>
                  <a:pt x="6154" y="14399"/>
                  <a:pt x="6179" y="14450"/>
                  <a:pt x="6208" y="14450"/>
                </a:cubicBezTo>
                <a:cubicBezTo>
                  <a:pt x="6238" y="14450"/>
                  <a:pt x="6262" y="14399"/>
                  <a:pt x="6262" y="14337"/>
                </a:cubicBezTo>
                <a:cubicBezTo>
                  <a:pt x="6262" y="14274"/>
                  <a:pt x="6238" y="14223"/>
                  <a:pt x="6208" y="14223"/>
                </a:cubicBezTo>
                <a:close/>
                <a:moveTo>
                  <a:pt x="6208" y="13897"/>
                </a:moveTo>
                <a:cubicBezTo>
                  <a:pt x="6179" y="13897"/>
                  <a:pt x="6154" y="13947"/>
                  <a:pt x="6154" y="14010"/>
                </a:cubicBezTo>
                <a:cubicBezTo>
                  <a:pt x="6154" y="14072"/>
                  <a:pt x="6179" y="14123"/>
                  <a:pt x="6208" y="14123"/>
                </a:cubicBezTo>
                <a:cubicBezTo>
                  <a:pt x="6238" y="14123"/>
                  <a:pt x="6262" y="14072"/>
                  <a:pt x="6262" y="14010"/>
                </a:cubicBezTo>
                <a:cubicBezTo>
                  <a:pt x="6262" y="13947"/>
                  <a:pt x="6238" y="13897"/>
                  <a:pt x="6208" y="13897"/>
                </a:cubicBezTo>
                <a:close/>
                <a:moveTo>
                  <a:pt x="6053" y="14223"/>
                </a:moveTo>
                <a:cubicBezTo>
                  <a:pt x="6023" y="14223"/>
                  <a:pt x="5999" y="14274"/>
                  <a:pt x="5999" y="14337"/>
                </a:cubicBezTo>
                <a:cubicBezTo>
                  <a:pt x="5999" y="14399"/>
                  <a:pt x="6023" y="14450"/>
                  <a:pt x="6053" y="14450"/>
                </a:cubicBezTo>
                <a:cubicBezTo>
                  <a:pt x="6083" y="14450"/>
                  <a:pt x="6107" y="14399"/>
                  <a:pt x="6107" y="14337"/>
                </a:cubicBezTo>
                <a:cubicBezTo>
                  <a:pt x="6107" y="14274"/>
                  <a:pt x="6083" y="14223"/>
                  <a:pt x="6053" y="14223"/>
                </a:cubicBezTo>
                <a:close/>
                <a:moveTo>
                  <a:pt x="6053" y="13897"/>
                </a:moveTo>
                <a:cubicBezTo>
                  <a:pt x="6023" y="13897"/>
                  <a:pt x="5999" y="13947"/>
                  <a:pt x="5999" y="14010"/>
                </a:cubicBezTo>
                <a:cubicBezTo>
                  <a:pt x="5999" y="14072"/>
                  <a:pt x="6023" y="14123"/>
                  <a:pt x="6053" y="14123"/>
                </a:cubicBezTo>
                <a:cubicBezTo>
                  <a:pt x="6083" y="14123"/>
                  <a:pt x="6107" y="14072"/>
                  <a:pt x="6107" y="14010"/>
                </a:cubicBezTo>
                <a:cubicBezTo>
                  <a:pt x="6107" y="13947"/>
                  <a:pt x="6083" y="13897"/>
                  <a:pt x="6053" y="13897"/>
                </a:cubicBezTo>
                <a:close/>
                <a:moveTo>
                  <a:pt x="5899" y="14223"/>
                </a:moveTo>
                <a:cubicBezTo>
                  <a:pt x="5869" y="14223"/>
                  <a:pt x="5845" y="14274"/>
                  <a:pt x="5845" y="14337"/>
                </a:cubicBezTo>
                <a:cubicBezTo>
                  <a:pt x="5845" y="14399"/>
                  <a:pt x="5869" y="14450"/>
                  <a:pt x="5899" y="14450"/>
                </a:cubicBezTo>
                <a:cubicBezTo>
                  <a:pt x="5929" y="14450"/>
                  <a:pt x="5953" y="14399"/>
                  <a:pt x="5953" y="14337"/>
                </a:cubicBezTo>
                <a:cubicBezTo>
                  <a:pt x="5953" y="14274"/>
                  <a:pt x="5929" y="14223"/>
                  <a:pt x="5899" y="14223"/>
                </a:cubicBezTo>
                <a:close/>
                <a:moveTo>
                  <a:pt x="5899" y="13897"/>
                </a:moveTo>
                <a:cubicBezTo>
                  <a:pt x="5869" y="13897"/>
                  <a:pt x="5845" y="13947"/>
                  <a:pt x="5845" y="14010"/>
                </a:cubicBezTo>
                <a:cubicBezTo>
                  <a:pt x="5845" y="14072"/>
                  <a:pt x="5869" y="14123"/>
                  <a:pt x="5899" y="14123"/>
                </a:cubicBezTo>
                <a:cubicBezTo>
                  <a:pt x="5929" y="14123"/>
                  <a:pt x="5953" y="14072"/>
                  <a:pt x="5953" y="14010"/>
                </a:cubicBezTo>
                <a:cubicBezTo>
                  <a:pt x="5953" y="13947"/>
                  <a:pt x="5929" y="13897"/>
                  <a:pt x="5899" y="13897"/>
                </a:cubicBezTo>
                <a:close/>
                <a:moveTo>
                  <a:pt x="5746" y="14223"/>
                </a:moveTo>
                <a:cubicBezTo>
                  <a:pt x="5717" y="14223"/>
                  <a:pt x="5692" y="14274"/>
                  <a:pt x="5692" y="14337"/>
                </a:cubicBezTo>
                <a:cubicBezTo>
                  <a:pt x="5692" y="14399"/>
                  <a:pt x="5717" y="14450"/>
                  <a:pt x="5746" y="14450"/>
                </a:cubicBezTo>
                <a:cubicBezTo>
                  <a:pt x="5776" y="14450"/>
                  <a:pt x="5800" y="14399"/>
                  <a:pt x="5800" y="14337"/>
                </a:cubicBezTo>
                <a:cubicBezTo>
                  <a:pt x="5800" y="14274"/>
                  <a:pt x="5776" y="14223"/>
                  <a:pt x="5746" y="14223"/>
                </a:cubicBezTo>
                <a:close/>
                <a:moveTo>
                  <a:pt x="5746" y="13897"/>
                </a:moveTo>
                <a:cubicBezTo>
                  <a:pt x="5717" y="13897"/>
                  <a:pt x="5692" y="13947"/>
                  <a:pt x="5692" y="14010"/>
                </a:cubicBezTo>
                <a:cubicBezTo>
                  <a:pt x="5692" y="14072"/>
                  <a:pt x="5717" y="14123"/>
                  <a:pt x="5746" y="14123"/>
                </a:cubicBezTo>
                <a:cubicBezTo>
                  <a:pt x="5776" y="14123"/>
                  <a:pt x="5800" y="14072"/>
                  <a:pt x="5800" y="14010"/>
                </a:cubicBezTo>
                <a:cubicBezTo>
                  <a:pt x="5800" y="13947"/>
                  <a:pt x="5776" y="13897"/>
                  <a:pt x="5746" y="13897"/>
                </a:cubicBezTo>
                <a:close/>
                <a:moveTo>
                  <a:pt x="5593" y="17473"/>
                </a:moveTo>
                <a:cubicBezTo>
                  <a:pt x="5563" y="17473"/>
                  <a:pt x="5539" y="17523"/>
                  <a:pt x="5539" y="17586"/>
                </a:cubicBezTo>
                <a:cubicBezTo>
                  <a:pt x="5539" y="17648"/>
                  <a:pt x="5563" y="17699"/>
                  <a:pt x="5593" y="17699"/>
                </a:cubicBezTo>
                <a:cubicBezTo>
                  <a:pt x="5622" y="17699"/>
                  <a:pt x="5646" y="17648"/>
                  <a:pt x="5646" y="17586"/>
                </a:cubicBezTo>
                <a:cubicBezTo>
                  <a:pt x="5646" y="17523"/>
                  <a:pt x="5622" y="17473"/>
                  <a:pt x="5593" y="17473"/>
                </a:cubicBezTo>
                <a:close/>
                <a:moveTo>
                  <a:pt x="5593" y="17146"/>
                </a:moveTo>
                <a:cubicBezTo>
                  <a:pt x="5563" y="17146"/>
                  <a:pt x="5539" y="17197"/>
                  <a:pt x="5539" y="17259"/>
                </a:cubicBezTo>
                <a:cubicBezTo>
                  <a:pt x="5539" y="17322"/>
                  <a:pt x="5563" y="17372"/>
                  <a:pt x="5593" y="17372"/>
                </a:cubicBezTo>
                <a:cubicBezTo>
                  <a:pt x="5622" y="17372"/>
                  <a:pt x="5646" y="17322"/>
                  <a:pt x="5646" y="17259"/>
                </a:cubicBezTo>
                <a:cubicBezTo>
                  <a:pt x="5646" y="17197"/>
                  <a:pt x="5622" y="17146"/>
                  <a:pt x="5593" y="17146"/>
                </a:cubicBezTo>
                <a:close/>
                <a:moveTo>
                  <a:pt x="4361" y="17473"/>
                </a:moveTo>
                <a:cubicBezTo>
                  <a:pt x="4331" y="17473"/>
                  <a:pt x="4307" y="17523"/>
                  <a:pt x="4307" y="17586"/>
                </a:cubicBezTo>
                <a:cubicBezTo>
                  <a:pt x="4307" y="17648"/>
                  <a:pt x="4331" y="17699"/>
                  <a:pt x="4361" y="17699"/>
                </a:cubicBezTo>
                <a:cubicBezTo>
                  <a:pt x="4391" y="17699"/>
                  <a:pt x="4415" y="17648"/>
                  <a:pt x="4415" y="17586"/>
                </a:cubicBezTo>
                <a:cubicBezTo>
                  <a:pt x="4415" y="17523"/>
                  <a:pt x="4391" y="17473"/>
                  <a:pt x="4361" y="17473"/>
                </a:cubicBezTo>
                <a:close/>
                <a:moveTo>
                  <a:pt x="4206" y="17473"/>
                </a:moveTo>
                <a:cubicBezTo>
                  <a:pt x="4176" y="17473"/>
                  <a:pt x="4152" y="17523"/>
                  <a:pt x="4152" y="17586"/>
                </a:cubicBezTo>
                <a:cubicBezTo>
                  <a:pt x="4152" y="17648"/>
                  <a:pt x="4176" y="17699"/>
                  <a:pt x="4206" y="17699"/>
                </a:cubicBezTo>
                <a:cubicBezTo>
                  <a:pt x="4235" y="17699"/>
                  <a:pt x="4259" y="17648"/>
                  <a:pt x="4259" y="17586"/>
                </a:cubicBezTo>
                <a:cubicBezTo>
                  <a:pt x="4259" y="17523"/>
                  <a:pt x="4235" y="17473"/>
                  <a:pt x="4206" y="17473"/>
                </a:cubicBezTo>
                <a:close/>
                <a:moveTo>
                  <a:pt x="4512" y="17473"/>
                </a:moveTo>
                <a:cubicBezTo>
                  <a:pt x="4483" y="17473"/>
                  <a:pt x="4459" y="17523"/>
                  <a:pt x="4459" y="17586"/>
                </a:cubicBezTo>
                <a:cubicBezTo>
                  <a:pt x="4459" y="17648"/>
                  <a:pt x="4483" y="17699"/>
                  <a:pt x="4512" y="17699"/>
                </a:cubicBezTo>
                <a:cubicBezTo>
                  <a:pt x="4542" y="17699"/>
                  <a:pt x="4566" y="17648"/>
                  <a:pt x="4566" y="17586"/>
                </a:cubicBezTo>
                <a:cubicBezTo>
                  <a:pt x="4566" y="17523"/>
                  <a:pt x="4542" y="17473"/>
                  <a:pt x="4512" y="17473"/>
                </a:cubicBezTo>
                <a:close/>
                <a:moveTo>
                  <a:pt x="4826" y="17473"/>
                </a:moveTo>
                <a:cubicBezTo>
                  <a:pt x="4797" y="17473"/>
                  <a:pt x="4773" y="17523"/>
                  <a:pt x="4773" y="17586"/>
                </a:cubicBezTo>
                <a:cubicBezTo>
                  <a:pt x="4773" y="17648"/>
                  <a:pt x="4797" y="17699"/>
                  <a:pt x="4826" y="17699"/>
                </a:cubicBezTo>
                <a:cubicBezTo>
                  <a:pt x="4856" y="17699"/>
                  <a:pt x="4880" y="17648"/>
                  <a:pt x="4880" y="17586"/>
                </a:cubicBezTo>
                <a:cubicBezTo>
                  <a:pt x="4880" y="17523"/>
                  <a:pt x="4856" y="17473"/>
                  <a:pt x="4826" y="17473"/>
                </a:cubicBezTo>
                <a:close/>
                <a:moveTo>
                  <a:pt x="4826" y="17146"/>
                </a:moveTo>
                <a:cubicBezTo>
                  <a:pt x="4797" y="17146"/>
                  <a:pt x="4773" y="17197"/>
                  <a:pt x="4773" y="17259"/>
                </a:cubicBezTo>
                <a:cubicBezTo>
                  <a:pt x="4773" y="17322"/>
                  <a:pt x="4797" y="17372"/>
                  <a:pt x="4826" y="17372"/>
                </a:cubicBezTo>
                <a:cubicBezTo>
                  <a:pt x="4856" y="17372"/>
                  <a:pt x="4880" y="17322"/>
                  <a:pt x="4880" y="17259"/>
                </a:cubicBezTo>
                <a:cubicBezTo>
                  <a:pt x="4880" y="17197"/>
                  <a:pt x="4856" y="17146"/>
                  <a:pt x="4826" y="17146"/>
                </a:cubicBezTo>
                <a:close/>
                <a:moveTo>
                  <a:pt x="4671" y="17473"/>
                </a:moveTo>
                <a:cubicBezTo>
                  <a:pt x="4641" y="17473"/>
                  <a:pt x="4617" y="17523"/>
                  <a:pt x="4617" y="17586"/>
                </a:cubicBezTo>
                <a:cubicBezTo>
                  <a:pt x="4617" y="17648"/>
                  <a:pt x="4641" y="17699"/>
                  <a:pt x="4671" y="17699"/>
                </a:cubicBezTo>
                <a:cubicBezTo>
                  <a:pt x="4701" y="17699"/>
                  <a:pt x="4725" y="17648"/>
                  <a:pt x="4725" y="17586"/>
                </a:cubicBezTo>
                <a:cubicBezTo>
                  <a:pt x="4725" y="17523"/>
                  <a:pt x="4701" y="17473"/>
                  <a:pt x="4671" y="17473"/>
                </a:cubicBezTo>
                <a:close/>
                <a:moveTo>
                  <a:pt x="4196" y="17372"/>
                </a:moveTo>
                <a:cubicBezTo>
                  <a:pt x="4225" y="17372"/>
                  <a:pt x="4249" y="17322"/>
                  <a:pt x="4249" y="17259"/>
                </a:cubicBezTo>
                <a:cubicBezTo>
                  <a:pt x="4249" y="17197"/>
                  <a:pt x="4225" y="17146"/>
                  <a:pt x="4196" y="17146"/>
                </a:cubicBezTo>
                <a:cubicBezTo>
                  <a:pt x="4166" y="17146"/>
                  <a:pt x="4142" y="17197"/>
                  <a:pt x="4142" y="17259"/>
                </a:cubicBezTo>
                <a:cubicBezTo>
                  <a:pt x="4142" y="17322"/>
                  <a:pt x="4166" y="17372"/>
                  <a:pt x="4196" y="17372"/>
                </a:cubicBezTo>
                <a:close/>
                <a:moveTo>
                  <a:pt x="4365" y="17146"/>
                </a:moveTo>
                <a:cubicBezTo>
                  <a:pt x="4336" y="17146"/>
                  <a:pt x="4312" y="17197"/>
                  <a:pt x="4312" y="17259"/>
                </a:cubicBezTo>
                <a:cubicBezTo>
                  <a:pt x="4312" y="17322"/>
                  <a:pt x="4336" y="17372"/>
                  <a:pt x="4365" y="17372"/>
                </a:cubicBezTo>
                <a:cubicBezTo>
                  <a:pt x="4395" y="17372"/>
                  <a:pt x="4419" y="17322"/>
                  <a:pt x="4419" y="17259"/>
                </a:cubicBezTo>
                <a:cubicBezTo>
                  <a:pt x="4419" y="17197"/>
                  <a:pt x="4395" y="17146"/>
                  <a:pt x="4365" y="17146"/>
                </a:cubicBezTo>
                <a:close/>
                <a:moveTo>
                  <a:pt x="4671" y="17146"/>
                </a:moveTo>
                <a:cubicBezTo>
                  <a:pt x="4641" y="17146"/>
                  <a:pt x="4617" y="17197"/>
                  <a:pt x="4617" y="17259"/>
                </a:cubicBezTo>
                <a:cubicBezTo>
                  <a:pt x="4617" y="17322"/>
                  <a:pt x="4641" y="17372"/>
                  <a:pt x="4671" y="17372"/>
                </a:cubicBezTo>
                <a:cubicBezTo>
                  <a:pt x="4701" y="17372"/>
                  <a:pt x="4725" y="17322"/>
                  <a:pt x="4725" y="17259"/>
                </a:cubicBezTo>
                <a:cubicBezTo>
                  <a:pt x="4725" y="17197"/>
                  <a:pt x="4701" y="17146"/>
                  <a:pt x="4671" y="17146"/>
                </a:cubicBezTo>
                <a:close/>
                <a:moveTo>
                  <a:pt x="4517" y="17146"/>
                </a:moveTo>
                <a:cubicBezTo>
                  <a:pt x="4487" y="17146"/>
                  <a:pt x="4463" y="17197"/>
                  <a:pt x="4463" y="17259"/>
                </a:cubicBezTo>
                <a:cubicBezTo>
                  <a:pt x="4463" y="17322"/>
                  <a:pt x="4487" y="17372"/>
                  <a:pt x="4517" y="17372"/>
                </a:cubicBezTo>
                <a:cubicBezTo>
                  <a:pt x="4547" y="17372"/>
                  <a:pt x="4571" y="17322"/>
                  <a:pt x="4571" y="17259"/>
                </a:cubicBezTo>
                <a:cubicBezTo>
                  <a:pt x="4571" y="17197"/>
                  <a:pt x="4547" y="17146"/>
                  <a:pt x="4517" y="17146"/>
                </a:cubicBezTo>
                <a:close/>
                <a:moveTo>
                  <a:pt x="4826" y="16819"/>
                </a:moveTo>
                <a:cubicBezTo>
                  <a:pt x="4797" y="16819"/>
                  <a:pt x="4773" y="16870"/>
                  <a:pt x="4773" y="16932"/>
                </a:cubicBezTo>
                <a:cubicBezTo>
                  <a:pt x="4773" y="16995"/>
                  <a:pt x="4797" y="17045"/>
                  <a:pt x="4826" y="17045"/>
                </a:cubicBezTo>
                <a:cubicBezTo>
                  <a:pt x="4856" y="17045"/>
                  <a:pt x="4880" y="16995"/>
                  <a:pt x="4880" y="16932"/>
                </a:cubicBezTo>
                <a:cubicBezTo>
                  <a:pt x="4880" y="16870"/>
                  <a:pt x="4856" y="16819"/>
                  <a:pt x="4826" y="16819"/>
                </a:cubicBezTo>
                <a:close/>
                <a:moveTo>
                  <a:pt x="4364" y="16719"/>
                </a:moveTo>
                <a:cubicBezTo>
                  <a:pt x="4393" y="16719"/>
                  <a:pt x="4417" y="16668"/>
                  <a:pt x="4417" y="16605"/>
                </a:cubicBezTo>
                <a:cubicBezTo>
                  <a:pt x="4417" y="16543"/>
                  <a:pt x="4393" y="16492"/>
                  <a:pt x="4364" y="16492"/>
                </a:cubicBezTo>
                <a:cubicBezTo>
                  <a:pt x="4334" y="16492"/>
                  <a:pt x="4310" y="16543"/>
                  <a:pt x="4310" y="16605"/>
                </a:cubicBezTo>
                <a:cubicBezTo>
                  <a:pt x="4310" y="16668"/>
                  <a:pt x="4334" y="16719"/>
                  <a:pt x="4364" y="16719"/>
                </a:cubicBezTo>
                <a:close/>
                <a:moveTo>
                  <a:pt x="4208" y="16492"/>
                </a:moveTo>
                <a:cubicBezTo>
                  <a:pt x="4179" y="16492"/>
                  <a:pt x="4155" y="16543"/>
                  <a:pt x="4155" y="16605"/>
                </a:cubicBezTo>
                <a:cubicBezTo>
                  <a:pt x="4155" y="16668"/>
                  <a:pt x="4179" y="16719"/>
                  <a:pt x="4208" y="16719"/>
                </a:cubicBezTo>
                <a:cubicBezTo>
                  <a:pt x="4238" y="16719"/>
                  <a:pt x="4262" y="16668"/>
                  <a:pt x="4262" y="16605"/>
                </a:cubicBezTo>
                <a:cubicBezTo>
                  <a:pt x="4262" y="16543"/>
                  <a:pt x="4238" y="16492"/>
                  <a:pt x="4208" y="16492"/>
                </a:cubicBezTo>
                <a:close/>
                <a:moveTo>
                  <a:pt x="4515" y="16492"/>
                </a:moveTo>
                <a:cubicBezTo>
                  <a:pt x="4486" y="16492"/>
                  <a:pt x="4461" y="16543"/>
                  <a:pt x="4461" y="16605"/>
                </a:cubicBezTo>
                <a:cubicBezTo>
                  <a:pt x="4461" y="16668"/>
                  <a:pt x="4486" y="16719"/>
                  <a:pt x="4515" y="16719"/>
                </a:cubicBezTo>
                <a:cubicBezTo>
                  <a:pt x="4545" y="16719"/>
                  <a:pt x="4569" y="16668"/>
                  <a:pt x="4569" y="16605"/>
                </a:cubicBezTo>
                <a:cubicBezTo>
                  <a:pt x="4569" y="16543"/>
                  <a:pt x="4545" y="16492"/>
                  <a:pt x="4515" y="16492"/>
                </a:cubicBezTo>
                <a:close/>
                <a:moveTo>
                  <a:pt x="4826" y="16492"/>
                </a:moveTo>
                <a:cubicBezTo>
                  <a:pt x="4797" y="16492"/>
                  <a:pt x="4773" y="16543"/>
                  <a:pt x="4773" y="16605"/>
                </a:cubicBezTo>
                <a:cubicBezTo>
                  <a:pt x="4773" y="16668"/>
                  <a:pt x="4797" y="16719"/>
                  <a:pt x="4826" y="16719"/>
                </a:cubicBezTo>
                <a:cubicBezTo>
                  <a:pt x="4856" y="16719"/>
                  <a:pt x="4880" y="16668"/>
                  <a:pt x="4880" y="16605"/>
                </a:cubicBezTo>
                <a:cubicBezTo>
                  <a:pt x="4880" y="16543"/>
                  <a:pt x="4856" y="16492"/>
                  <a:pt x="4826" y="16492"/>
                </a:cubicBezTo>
                <a:close/>
                <a:moveTo>
                  <a:pt x="4671" y="16819"/>
                </a:moveTo>
                <a:cubicBezTo>
                  <a:pt x="4641" y="16819"/>
                  <a:pt x="4617" y="16870"/>
                  <a:pt x="4617" y="16932"/>
                </a:cubicBezTo>
                <a:cubicBezTo>
                  <a:pt x="4617" y="16995"/>
                  <a:pt x="4641" y="17045"/>
                  <a:pt x="4671" y="17045"/>
                </a:cubicBezTo>
                <a:cubicBezTo>
                  <a:pt x="4701" y="17045"/>
                  <a:pt x="4725" y="16995"/>
                  <a:pt x="4725" y="16932"/>
                </a:cubicBezTo>
                <a:cubicBezTo>
                  <a:pt x="4725" y="16870"/>
                  <a:pt x="4701" y="16819"/>
                  <a:pt x="4671" y="16819"/>
                </a:cubicBezTo>
                <a:close/>
                <a:moveTo>
                  <a:pt x="4671" y="16492"/>
                </a:moveTo>
                <a:cubicBezTo>
                  <a:pt x="4641" y="16492"/>
                  <a:pt x="4617" y="16543"/>
                  <a:pt x="4617" y="16605"/>
                </a:cubicBezTo>
                <a:cubicBezTo>
                  <a:pt x="4617" y="16668"/>
                  <a:pt x="4641" y="16719"/>
                  <a:pt x="4671" y="16719"/>
                </a:cubicBezTo>
                <a:cubicBezTo>
                  <a:pt x="4701" y="16719"/>
                  <a:pt x="4725" y="16668"/>
                  <a:pt x="4725" y="16605"/>
                </a:cubicBezTo>
                <a:cubicBezTo>
                  <a:pt x="4725" y="16543"/>
                  <a:pt x="4701" y="16492"/>
                  <a:pt x="4671" y="16492"/>
                </a:cubicBezTo>
                <a:close/>
                <a:moveTo>
                  <a:pt x="4371" y="16819"/>
                </a:moveTo>
                <a:cubicBezTo>
                  <a:pt x="4342" y="16819"/>
                  <a:pt x="4317" y="16870"/>
                  <a:pt x="4317" y="16932"/>
                </a:cubicBezTo>
                <a:cubicBezTo>
                  <a:pt x="4317" y="16995"/>
                  <a:pt x="4342" y="17045"/>
                  <a:pt x="4371" y="17045"/>
                </a:cubicBezTo>
                <a:cubicBezTo>
                  <a:pt x="4401" y="17045"/>
                  <a:pt x="4425" y="16995"/>
                  <a:pt x="4425" y="16932"/>
                </a:cubicBezTo>
                <a:cubicBezTo>
                  <a:pt x="4425" y="16870"/>
                  <a:pt x="4401" y="16819"/>
                  <a:pt x="4371" y="16819"/>
                </a:cubicBezTo>
                <a:close/>
                <a:moveTo>
                  <a:pt x="4196" y="17045"/>
                </a:moveTo>
                <a:cubicBezTo>
                  <a:pt x="4225" y="17045"/>
                  <a:pt x="4249" y="16995"/>
                  <a:pt x="4249" y="16932"/>
                </a:cubicBezTo>
                <a:cubicBezTo>
                  <a:pt x="4249" y="16870"/>
                  <a:pt x="4225" y="16819"/>
                  <a:pt x="4196" y="16819"/>
                </a:cubicBezTo>
                <a:cubicBezTo>
                  <a:pt x="4166" y="16819"/>
                  <a:pt x="4142" y="16870"/>
                  <a:pt x="4142" y="16932"/>
                </a:cubicBezTo>
                <a:cubicBezTo>
                  <a:pt x="4142" y="16995"/>
                  <a:pt x="4166" y="17045"/>
                  <a:pt x="4196" y="17045"/>
                </a:cubicBezTo>
                <a:close/>
                <a:moveTo>
                  <a:pt x="4517" y="16819"/>
                </a:moveTo>
                <a:cubicBezTo>
                  <a:pt x="4487" y="16819"/>
                  <a:pt x="4463" y="16870"/>
                  <a:pt x="4463" y="16932"/>
                </a:cubicBezTo>
                <a:cubicBezTo>
                  <a:pt x="4463" y="16995"/>
                  <a:pt x="4487" y="17045"/>
                  <a:pt x="4517" y="17045"/>
                </a:cubicBezTo>
                <a:cubicBezTo>
                  <a:pt x="4547" y="17045"/>
                  <a:pt x="4571" y="16995"/>
                  <a:pt x="4571" y="16932"/>
                </a:cubicBezTo>
                <a:cubicBezTo>
                  <a:pt x="4571" y="16870"/>
                  <a:pt x="4547" y="16819"/>
                  <a:pt x="4517" y="16819"/>
                </a:cubicBezTo>
                <a:close/>
                <a:moveTo>
                  <a:pt x="5440" y="17473"/>
                </a:moveTo>
                <a:cubicBezTo>
                  <a:pt x="5410" y="17473"/>
                  <a:pt x="5386" y="17523"/>
                  <a:pt x="5386" y="17586"/>
                </a:cubicBezTo>
                <a:cubicBezTo>
                  <a:pt x="5386" y="17648"/>
                  <a:pt x="5410" y="17699"/>
                  <a:pt x="5440" y="17699"/>
                </a:cubicBezTo>
                <a:cubicBezTo>
                  <a:pt x="5470" y="17699"/>
                  <a:pt x="5494" y="17648"/>
                  <a:pt x="5494" y="17586"/>
                </a:cubicBezTo>
                <a:cubicBezTo>
                  <a:pt x="5494" y="17523"/>
                  <a:pt x="5470" y="17473"/>
                  <a:pt x="5440" y="17473"/>
                </a:cubicBezTo>
                <a:close/>
                <a:moveTo>
                  <a:pt x="5440" y="17146"/>
                </a:moveTo>
                <a:cubicBezTo>
                  <a:pt x="5410" y="17146"/>
                  <a:pt x="5386" y="17197"/>
                  <a:pt x="5386" y="17259"/>
                </a:cubicBezTo>
                <a:cubicBezTo>
                  <a:pt x="5386" y="17322"/>
                  <a:pt x="5410" y="17372"/>
                  <a:pt x="5440" y="17372"/>
                </a:cubicBezTo>
                <a:cubicBezTo>
                  <a:pt x="5470" y="17372"/>
                  <a:pt x="5494" y="17322"/>
                  <a:pt x="5494" y="17259"/>
                </a:cubicBezTo>
                <a:cubicBezTo>
                  <a:pt x="5494" y="17197"/>
                  <a:pt x="5470" y="17146"/>
                  <a:pt x="5440" y="17146"/>
                </a:cubicBezTo>
                <a:close/>
                <a:moveTo>
                  <a:pt x="5285" y="17473"/>
                </a:moveTo>
                <a:cubicBezTo>
                  <a:pt x="5255" y="17473"/>
                  <a:pt x="5231" y="17523"/>
                  <a:pt x="5231" y="17586"/>
                </a:cubicBezTo>
                <a:cubicBezTo>
                  <a:pt x="5231" y="17648"/>
                  <a:pt x="5255" y="17699"/>
                  <a:pt x="5285" y="17699"/>
                </a:cubicBezTo>
                <a:cubicBezTo>
                  <a:pt x="5314" y="17699"/>
                  <a:pt x="5338" y="17648"/>
                  <a:pt x="5338" y="17586"/>
                </a:cubicBezTo>
                <a:cubicBezTo>
                  <a:pt x="5338" y="17523"/>
                  <a:pt x="5314" y="17473"/>
                  <a:pt x="5285" y="17473"/>
                </a:cubicBezTo>
                <a:close/>
                <a:moveTo>
                  <a:pt x="5285" y="17146"/>
                </a:moveTo>
                <a:cubicBezTo>
                  <a:pt x="5255" y="17146"/>
                  <a:pt x="5231" y="17197"/>
                  <a:pt x="5231" y="17259"/>
                </a:cubicBezTo>
                <a:cubicBezTo>
                  <a:pt x="5231" y="17322"/>
                  <a:pt x="5255" y="17372"/>
                  <a:pt x="5285" y="17372"/>
                </a:cubicBezTo>
                <a:cubicBezTo>
                  <a:pt x="5314" y="17372"/>
                  <a:pt x="5338" y="17322"/>
                  <a:pt x="5338" y="17259"/>
                </a:cubicBezTo>
                <a:cubicBezTo>
                  <a:pt x="5338" y="17197"/>
                  <a:pt x="5314" y="17146"/>
                  <a:pt x="5285" y="17146"/>
                </a:cubicBezTo>
                <a:close/>
                <a:moveTo>
                  <a:pt x="5131" y="17473"/>
                </a:moveTo>
                <a:cubicBezTo>
                  <a:pt x="5101" y="17473"/>
                  <a:pt x="5077" y="17523"/>
                  <a:pt x="5077" y="17586"/>
                </a:cubicBezTo>
                <a:cubicBezTo>
                  <a:pt x="5077" y="17648"/>
                  <a:pt x="5101" y="17699"/>
                  <a:pt x="5131" y="17699"/>
                </a:cubicBezTo>
                <a:cubicBezTo>
                  <a:pt x="5160" y="17699"/>
                  <a:pt x="5184" y="17648"/>
                  <a:pt x="5184" y="17586"/>
                </a:cubicBezTo>
                <a:cubicBezTo>
                  <a:pt x="5184" y="17523"/>
                  <a:pt x="5160" y="17473"/>
                  <a:pt x="5131" y="17473"/>
                </a:cubicBezTo>
                <a:close/>
                <a:moveTo>
                  <a:pt x="5131" y="17146"/>
                </a:moveTo>
                <a:cubicBezTo>
                  <a:pt x="5101" y="17146"/>
                  <a:pt x="5077" y="17197"/>
                  <a:pt x="5077" y="17259"/>
                </a:cubicBezTo>
                <a:cubicBezTo>
                  <a:pt x="5077" y="17322"/>
                  <a:pt x="5101" y="17372"/>
                  <a:pt x="5131" y="17372"/>
                </a:cubicBezTo>
                <a:cubicBezTo>
                  <a:pt x="5160" y="17372"/>
                  <a:pt x="5184" y="17322"/>
                  <a:pt x="5184" y="17259"/>
                </a:cubicBezTo>
                <a:cubicBezTo>
                  <a:pt x="5184" y="17197"/>
                  <a:pt x="5160" y="17146"/>
                  <a:pt x="5131" y="17146"/>
                </a:cubicBezTo>
                <a:close/>
                <a:moveTo>
                  <a:pt x="4978" y="17473"/>
                </a:moveTo>
                <a:cubicBezTo>
                  <a:pt x="4948" y="17473"/>
                  <a:pt x="4924" y="17523"/>
                  <a:pt x="4924" y="17586"/>
                </a:cubicBezTo>
                <a:cubicBezTo>
                  <a:pt x="4924" y="17648"/>
                  <a:pt x="4948" y="17699"/>
                  <a:pt x="4978" y="17699"/>
                </a:cubicBezTo>
                <a:cubicBezTo>
                  <a:pt x="5008" y="17699"/>
                  <a:pt x="5032" y="17648"/>
                  <a:pt x="5032" y="17586"/>
                </a:cubicBezTo>
                <a:cubicBezTo>
                  <a:pt x="5032" y="17523"/>
                  <a:pt x="5008" y="17473"/>
                  <a:pt x="4978" y="17473"/>
                </a:cubicBezTo>
                <a:close/>
                <a:moveTo>
                  <a:pt x="4978" y="17146"/>
                </a:moveTo>
                <a:cubicBezTo>
                  <a:pt x="4948" y="17146"/>
                  <a:pt x="4924" y="17197"/>
                  <a:pt x="4924" y="17259"/>
                </a:cubicBezTo>
                <a:cubicBezTo>
                  <a:pt x="4924" y="17322"/>
                  <a:pt x="4948" y="17372"/>
                  <a:pt x="4978" y="17372"/>
                </a:cubicBezTo>
                <a:cubicBezTo>
                  <a:pt x="5008" y="17372"/>
                  <a:pt x="5032" y="17322"/>
                  <a:pt x="5032" y="17259"/>
                </a:cubicBezTo>
                <a:cubicBezTo>
                  <a:pt x="5032" y="17197"/>
                  <a:pt x="5008" y="17146"/>
                  <a:pt x="4978" y="17146"/>
                </a:cubicBezTo>
                <a:close/>
                <a:moveTo>
                  <a:pt x="5593" y="16819"/>
                </a:moveTo>
                <a:cubicBezTo>
                  <a:pt x="5563" y="16819"/>
                  <a:pt x="5539" y="16870"/>
                  <a:pt x="5539" y="16932"/>
                </a:cubicBezTo>
                <a:cubicBezTo>
                  <a:pt x="5539" y="16995"/>
                  <a:pt x="5563" y="17045"/>
                  <a:pt x="5593" y="17045"/>
                </a:cubicBezTo>
                <a:cubicBezTo>
                  <a:pt x="5622" y="17045"/>
                  <a:pt x="5646" y="16995"/>
                  <a:pt x="5646" y="16932"/>
                </a:cubicBezTo>
                <a:cubicBezTo>
                  <a:pt x="5646" y="16870"/>
                  <a:pt x="5622" y="16819"/>
                  <a:pt x="5593" y="16819"/>
                </a:cubicBezTo>
                <a:close/>
                <a:moveTo>
                  <a:pt x="5593" y="16492"/>
                </a:moveTo>
                <a:cubicBezTo>
                  <a:pt x="5563" y="16492"/>
                  <a:pt x="5539" y="16543"/>
                  <a:pt x="5539" y="16605"/>
                </a:cubicBezTo>
                <a:cubicBezTo>
                  <a:pt x="5539" y="16668"/>
                  <a:pt x="5563" y="16719"/>
                  <a:pt x="5593" y="16719"/>
                </a:cubicBezTo>
                <a:cubicBezTo>
                  <a:pt x="5622" y="16719"/>
                  <a:pt x="5646" y="16668"/>
                  <a:pt x="5646" y="16605"/>
                </a:cubicBezTo>
                <a:cubicBezTo>
                  <a:pt x="5646" y="16543"/>
                  <a:pt x="5622" y="16492"/>
                  <a:pt x="5593" y="16492"/>
                </a:cubicBezTo>
                <a:close/>
                <a:moveTo>
                  <a:pt x="5440" y="16819"/>
                </a:moveTo>
                <a:cubicBezTo>
                  <a:pt x="5410" y="16819"/>
                  <a:pt x="5386" y="16870"/>
                  <a:pt x="5386" y="16932"/>
                </a:cubicBezTo>
                <a:cubicBezTo>
                  <a:pt x="5386" y="16995"/>
                  <a:pt x="5410" y="17045"/>
                  <a:pt x="5440" y="17045"/>
                </a:cubicBezTo>
                <a:cubicBezTo>
                  <a:pt x="5470" y="17045"/>
                  <a:pt x="5494" y="16995"/>
                  <a:pt x="5494" y="16932"/>
                </a:cubicBezTo>
                <a:cubicBezTo>
                  <a:pt x="5494" y="16870"/>
                  <a:pt x="5470" y="16819"/>
                  <a:pt x="5440" y="16819"/>
                </a:cubicBezTo>
                <a:close/>
                <a:moveTo>
                  <a:pt x="5440" y="16492"/>
                </a:moveTo>
                <a:cubicBezTo>
                  <a:pt x="5410" y="16492"/>
                  <a:pt x="5386" y="16543"/>
                  <a:pt x="5386" y="16605"/>
                </a:cubicBezTo>
                <a:cubicBezTo>
                  <a:pt x="5386" y="16668"/>
                  <a:pt x="5410" y="16719"/>
                  <a:pt x="5440" y="16719"/>
                </a:cubicBezTo>
                <a:cubicBezTo>
                  <a:pt x="5470" y="16719"/>
                  <a:pt x="5494" y="16668"/>
                  <a:pt x="5494" y="16605"/>
                </a:cubicBezTo>
                <a:cubicBezTo>
                  <a:pt x="5494" y="16543"/>
                  <a:pt x="5470" y="16492"/>
                  <a:pt x="5440" y="16492"/>
                </a:cubicBezTo>
                <a:close/>
                <a:moveTo>
                  <a:pt x="5285" y="16819"/>
                </a:moveTo>
                <a:cubicBezTo>
                  <a:pt x="5255" y="16819"/>
                  <a:pt x="5231" y="16870"/>
                  <a:pt x="5231" y="16932"/>
                </a:cubicBezTo>
                <a:cubicBezTo>
                  <a:pt x="5231" y="16995"/>
                  <a:pt x="5255" y="17045"/>
                  <a:pt x="5285" y="17045"/>
                </a:cubicBezTo>
                <a:cubicBezTo>
                  <a:pt x="5314" y="17045"/>
                  <a:pt x="5338" y="16995"/>
                  <a:pt x="5338" y="16932"/>
                </a:cubicBezTo>
                <a:cubicBezTo>
                  <a:pt x="5338" y="16870"/>
                  <a:pt x="5314" y="16819"/>
                  <a:pt x="5285" y="16819"/>
                </a:cubicBezTo>
                <a:close/>
                <a:moveTo>
                  <a:pt x="5285" y="16492"/>
                </a:moveTo>
                <a:cubicBezTo>
                  <a:pt x="5255" y="16492"/>
                  <a:pt x="5231" y="16543"/>
                  <a:pt x="5231" y="16605"/>
                </a:cubicBezTo>
                <a:cubicBezTo>
                  <a:pt x="5231" y="16668"/>
                  <a:pt x="5255" y="16719"/>
                  <a:pt x="5285" y="16719"/>
                </a:cubicBezTo>
                <a:cubicBezTo>
                  <a:pt x="5314" y="16719"/>
                  <a:pt x="5338" y="16668"/>
                  <a:pt x="5338" y="16605"/>
                </a:cubicBezTo>
                <a:cubicBezTo>
                  <a:pt x="5338" y="16543"/>
                  <a:pt x="5314" y="16492"/>
                  <a:pt x="5285" y="16492"/>
                </a:cubicBezTo>
                <a:close/>
                <a:moveTo>
                  <a:pt x="5131" y="16819"/>
                </a:moveTo>
                <a:cubicBezTo>
                  <a:pt x="5101" y="16819"/>
                  <a:pt x="5077" y="16870"/>
                  <a:pt x="5077" y="16932"/>
                </a:cubicBezTo>
                <a:cubicBezTo>
                  <a:pt x="5077" y="16995"/>
                  <a:pt x="5101" y="17045"/>
                  <a:pt x="5131" y="17045"/>
                </a:cubicBezTo>
                <a:cubicBezTo>
                  <a:pt x="5160" y="17045"/>
                  <a:pt x="5184" y="16995"/>
                  <a:pt x="5184" y="16932"/>
                </a:cubicBezTo>
                <a:cubicBezTo>
                  <a:pt x="5184" y="16870"/>
                  <a:pt x="5160" y="16819"/>
                  <a:pt x="5131" y="16819"/>
                </a:cubicBezTo>
                <a:close/>
                <a:moveTo>
                  <a:pt x="5131" y="16492"/>
                </a:moveTo>
                <a:cubicBezTo>
                  <a:pt x="5101" y="16492"/>
                  <a:pt x="5077" y="16543"/>
                  <a:pt x="5077" y="16605"/>
                </a:cubicBezTo>
                <a:cubicBezTo>
                  <a:pt x="5077" y="16668"/>
                  <a:pt x="5101" y="16719"/>
                  <a:pt x="5131" y="16719"/>
                </a:cubicBezTo>
                <a:cubicBezTo>
                  <a:pt x="5160" y="16719"/>
                  <a:pt x="5184" y="16668"/>
                  <a:pt x="5184" y="16605"/>
                </a:cubicBezTo>
                <a:cubicBezTo>
                  <a:pt x="5184" y="16543"/>
                  <a:pt x="5160" y="16492"/>
                  <a:pt x="5131" y="16492"/>
                </a:cubicBezTo>
                <a:close/>
                <a:moveTo>
                  <a:pt x="4978" y="16819"/>
                </a:moveTo>
                <a:cubicBezTo>
                  <a:pt x="4948" y="16819"/>
                  <a:pt x="4924" y="16870"/>
                  <a:pt x="4924" y="16932"/>
                </a:cubicBezTo>
                <a:cubicBezTo>
                  <a:pt x="4924" y="16995"/>
                  <a:pt x="4948" y="17045"/>
                  <a:pt x="4978" y="17045"/>
                </a:cubicBezTo>
                <a:cubicBezTo>
                  <a:pt x="5008" y="17045"/>
                  <a:pt x="5032" y="16995"/>
                  <a:pt x="5032" y="16932"/>
                </a:cubicBezTo>
                <a:cubicBezTo>
                  <a:pt x="5032" y="16870"/>
                  <a:pt x="5008" y="16819"/>
                  <a:pt x="4978" y="16819"/>
                </a:cubicBezTo>
                <a:close/>
                <a:moveTo>
                  <a:pt x="4978" y="16492"/>
                </a:moveTo>
                <a:cubicBezTo>
                  <a:pt x="4948" y="16492"/>
                  <a:pt x="4924" y="16543"/>
                  <a:pt x="4924" y="16605"/>
                </a:cubicBezTo>
                <a:cubicBezTo>
                  <a:pt x="4924" y="16668"/>
                  <a:pt x="4948" y="16719"/>
                  <a:pt x="4978" y="16719"/>
                </a:cubicBezTo>
                <a:cubicBezTo>
                  <a:pt x="5008" y="16719"/>
                  <a:pt x="5032" y="16668"/>
                  <a:pt x="5032" y="16605"/>
                </a:cubicBezTo>
                <a:cubicBezTo>
                  <a:pt x="5032" y="16543"/>
                  <a:pt x="5008" y="16492"/>
                  <a:pt x="4978" y="16492"/>
                </a:cubicBezTo>
                <a:close/>
                <a:moveTo>
                  <a:pt x="4824" y="16168"/>
                </a:moveTo>
                <a:cubicBezTo>
                  <a:pt x="4795" y="16168"/>
                  <a:pt x="4771" y="16218"/>
                  <a:pt x="4771" y="16281"/>
                </a:cubicBezTo>
                <a:cubicBezTo>
                  <a:pt x="4771" y="16343"/>
                  <a:pt x="4795" y="16394"/>
                  <a:pt x="4824" y="16394"/>
                </a:cubicBezTo>
                <a:cubicBezTo>
                  <a:pt x="4854" y="16394"/>
                  <a:pt x="4878" y="16343"/>
                  <a:pt x="4878" y="16281"/>
                </a:cubicBezTo>
                <a:cubicBezTo>
                  <a:pt x="4878" y="16218"/>
                  <a:pt x="4854" y="16168"/>
                  <a:pt x="4824" y="16168"/>
                </a:cubicBezTo>
                <a:close/>
                <a:moveTo>
                  <a:pt x="4824" y="15841"/>
                </a:moveTo>
                <a:cubicBezTo>
                  <a:pt x="4795" y="15841"/>
                  <a:pt x="4771" y="15891"/>
                  <a:pt x="4771" y="15954"/>
                </a:cubicBezTo>
                <a:cubicBezTo>
                  <a:pt x="4771" y="16016"/>
                  <a:pt x="4795" y="16067"/>
                  <a:pt x="4824" y="16067"/>
                </a:cubicBezTo>
                <a:cubicBezTo>
                  <a:pt x="4854" y="16067"/>
                  <a:pt x="4878" y="16016"/>
                  <a:pt x="4878" y="15954"/>
                </a:cubicBezTo>
                <a:cubicBezTo>
                  <a:pt x="4878" y="15891"/>
                  <a:pt x="4854" y="15841"/>
                  <a:pt x="4824" y="15841"/>
                </a:cubicBezTo>
                <a:close/>
                <a:moveTo>
                  <a:pt x="4362" y="16394"/>
                </a:moveTo>
                <a:cubicBezTo>
                  <a:pt x="4392" y="16394"/>
                  <a:pt x="4416" y="16343"/>
                  <a:pt x="4416" y="16281"/>
                </a:cubicBezTo>
                <a:cubicBezTo>
                  <a:pt x="4416" y="16218"/>
                  <a:pt x="4392" y="16168"/>
                  <a:pt x="4362" y="16168"/>
                </a:cubicBezTo>
                <a:cubicBezTo>
                  <a:pt x="4333" y="16168"/>
                  <a:pt x="4309" y="16218"/>
                  <a:pt x="4309" y="16281"/>
                </a:cubicBezTo>
                <a:cubicBezTo>
                  <a:pt x="4309" y="16343"/>
                  <a:pt x="4333" y="16394"/>
                  <a:pt x="4362" y="16394"/>
                </a:cubicBezTo>
                <a:close/>
                <a:moveTo>
                  <a:pt x="4207" y="16394"/>
                </a:moveTo>
                <a:cubicBezTo>
                  <a:pt x="4237" y="16394"/>
                  <a:pt x="4261" y="16343"/>
                  <a:pt x="4261" y="16281"/>
                </a:cubicBezTo>
                <a:cubicBezTo>
                  <a:pt x="4261" y="16218"/>
                  <a:pt x="4237" y="16168"/>
                  <a:pt x="4207" y="16168"/>
                </a:cubicBezTo>
                <a:cubicBezTo>
                  <a:pt x="4177" y="16168"/>
                  <a:pt x="4153" y="16218"/>
                  <a:pt x="4153" y="16281"/>
                </a:cubicBezTo>
                <a:cubicBezTo>
                  <a:pt x="4153" y="16343"/>
                  <a:pt x="4177" y="16394"/>
                  <a:pt x="4207" y="16394"/>
                </a:cubicBezTo>
                <a:close/>
                <a:moveTo>
                  <a:pt x="4672" y="16168"/>
                </a:moveTo>
                <a:cubicBezTo>
                  <a:pt x="4642" y="16168"/>
                  <a:pt x="4618" y="16218"/>
                  <a:pt x="4618" y="16281"/>
                </a:cubicBezTo>
                <a:cubicBezTo>
                  <a:pt x="4618" y="16343"/>
                  <a:pt x="4642" y="16394"/>
                  <a:pt x="4672" y="16394"/>
                </a:cubicBezTo>
                <a:cubicBezTo>
                  <a:pt x="4701" y="16394"/>
                  <a:pt x="4726" y="16343"/>
                  <a:pt x="4726" y="16281"/>
                </a:cubicBezTo>
                <a:cubicBezTo>
                  <a:pt x="4726" y="16218"/>
                  <a:pt x="4701" y="16168"/>
                  <a:pt x="4672" y="16168"/>
                </a:cubicBezTo>
                <a:close/>
                <a:moveTo>
                  <a:pt x="4672" y="15841"/>
                </a:moveTo>
                <a:cubicBezTo>
                  <a:pt x="4642" y="15841"/>
                  <a:pt x="4618" y="15891"/>
                  <a:pt x="4618" y="15954"/>
                </a:cubicBezTo>
                <a:cubicBezTo>
                  <a:pt x="4618" y="16016"/>
                  <a:pt x="4642" y="16067"/>
                  <a:pt x="4672" y="16067"/>
                </a:cubicBezTo>
                <a:cubicBezTo>
                  <a:pt x="4701" y="16067"/>
                  <a:pt x="4726" y="16016"/>
                  <a:pt x="4726" y="15954"/>
                </a:cubicBezTo>
                <a:cubicBezTo>
                  <a:pt x="4726" y="15891"/>
                  <a:pt x="4701" y="15841"/>
                  <a:pt x="4672" y="15841"/>
                </a:cubicBezTo>
                <a:close/>
                <a:moveTo>
                  <a:pt x="4516" y="16168"/>
                </a:moveTo>
                <a:cubicBezTo>
                  <a:pt x="4487" y="16168"/>
                  <a:pt x="4463" y="16218"/>
                  <a:pt x="4463" y="16281"/>
                </a:cubicBezTo>
                <a:cubicBezTo>
                  <a:pt x="4463" y="16343"/>
                  <a:pt x="4487" y="16394"/>
                  <a:pt x="4516" y="16394"/>
                </a:cubicBezTo>
                <a:cubicBezTo>
                  <a:pt x="4546" y="16394"/>
                  <a:pt x="4570" y="16343"/>
                  <a:pt x="4570" y="16281"/>
                </a:cubicBezTo>
                <a:cubicBezTo>
                  <a:pt x="4570" y="16218"/>
                  <a:pt x="4546" y="16168"/>
                  <a:pt x="4516" y="16168"/>
                </a:cubicBezTo>
                <a:close/>
                <a:moveTo>
                  <a:pt x="4516" y="15841"/>
                </a:moveTo>
                <a:cubicBezTo>
                  <a:pt x="4487" y="15841"/>
                  <a:pt x="4463" y="15891"/>
                  <a:pt x="4463" y="15954"/>
                </a:cubicBezTo>
                <a:cubicBezTo>
                  <a:pt x="4463" y="16016"/>
                  <a:pt x="4487" y="16067"/>
                  <a:pt x="4516" y="16067"/>
                </a:cubicBezTo>
                <a:cubicBezTo>
                  <a:pt x="4546" y="16067"/>
                  <a:pt x="4570" y="16016"/>
                  <a:pt x="4570" y="15954"/>
                </a:cubicBezTo>
                <a:cubicBezTo>
                  <a:pt x="4570" y="15891"/>
                  <a:pt x="4546" y="15841"/>
                  <a:pt x="4516" y="15841"/>
                </a:cubicBezTo>
                <a:close/>
                <a:moveTo>
                  <a:pt x="4362" y="16067"/>
                </a:moveTo>
                <a:cubicBezTo>
                  <a:pt x="4392" y="16067"/>
                  <a:pt x="4416" y="16016"/>
                  <a:pt x="4416" y="15954"/>
                </a:cubicBezTo>
                <a:cubicBezTo>
                  <a:pt x="4416" y="15891"/>
                  <a:pt x="4392" y="15841"/>
                  <a:pt x="4362" y="15841"/>
                </a:cubicBezTo>
                <a:cubicBezTo>
                  <a:pt x="4333" y="15841"/>
                  <a:pt x="4309" y="15891"/>
                  <a:pt x="4309" y="15954"/>
                </a:cubicBezTo>
                <a:cubicBezTo>
                  <a:pt x="4309" y="16016"/>
                  <a:pt x="4333" y="16067"/>
                  <a:pt x="4362" y="16067"/>
                </a:cubicBezTo>
                <a:close/>
                <a:moveTo>
                  <a:pt x="4210" y="15841"/>
                </a:moveTo>
                <a:cubicBezTo>
                  <a:pt x="4180" y="15841"/>
                  <a:pt x="4156" y="15891"/>
                  <a:pt x="4156" y="15954"/>
                </a:cubicBezTo>
                <a:cubicBezTo>
                  <a:pt x="4156" y="16016"/>
                  <a:pt x="4180" y="16067"/>
                  <a:pt x="4210" y="16067"/>
                </a:cubicBezTo>
                <a:cubicBezTo>
                  <a:pt x="4240" y="16067"/>
                  <a:pt x="4264" y="16016"/>
                  <a:pt x="4264" y="15954"/>
                </a:cubicBezTo>
                <a:cubicBezTo>
                  <a:pt x="4264" y="15891"/>
                  <a:pt x="4240" y="15841"/>
                  <a:pt x="4210" y="15841"/>
                </a:cubicBezTo>
                <a:close/>
                <a:moveTo>
                  <a:pt x="3591" y="14223"/>
                </a:moveTo>
                <a:cubicBezTo>
                  <a:pt x="3561" y="14223"/>
                  <a:pt x="3537" y="14274"/>
                  <a:pt x="3537" y="14337"/>
                </a:cubicBezTo>
                <a:cubicBezTo>
                  <a:pt x="3537" y="14399"/>
                  <a:pt x="3561" y="14450"/>
                  <a:pt x="3591" y="14450"/>
                </a:cubicBezTo>
                <a:cubicBezTo>
                  <a:pt x="3621" y="14450"/>
                  <a:pt x="3645" y="14399"/>
                  <a:pt x="3645" y="14337"/>
                </a:cubicBezTo>
                <a:cubicBezTo>
                  <a:pt x="3645" y="14274"/>
                  <a:pt x="3621" y="14223"/>
                  <a:pt x="3591" y="14223"/>
                </a:cubicBezTo>
                <a:close/>
                <a:moveTo>
                  <a:pt x="3591" y="13897"/>
                </a:moveTo>
                <a:cubicBezTo>
                  <a:pt x="3561" y="13897"/>
                  <a:pt x="3537" y="13947"/>
                  <a:pt x="3537" y="14010"/>
                </a:cubicBezTo>
                <a:cubicBezTo>
                  <a:pt x="3537" y="14072"/>
                  <a:pt x="3561" y="14123"/>
                  <a:pt x="3591" y="14123"/>
                </a:cubicBezTo>
                <a:cubicBezTo>
                  <a:pt x="3621" y="14123"/>
                  <a:pt x="3645" y="14072"/>
                  <a:pt x="3645" y="14010"/>
                </a:cubicBezTo>
                <a:cubicBezTo>
                  <a:pt x="3645" y="13947"/>
                  <a:pt x="3621" y="13897"/>
                  <a:pt x="3591" y="13897"/>
                </a:cubicBezTo>
                <a:close/>
                <a:moveTo>
                  <a:pt x="4051" y="15187"/>
                </a:moveTo>
                <a:cubicBezTo>
                  <a:pt x="4022" y="15187"/>
                  <a:pt x="3998" y="15238"/>
                  <a:pt x="3998" y="15300"/>
                </a:cubicBezTo>
                <a:cubicBezTo>
                  <a:pt x="3998" y="15363"/>
                  <a:pt x="4022" y="15413"/>
                  <a:pt x="4051" y="15413"/>
                </a:cubicBezTo>
                <a:cubicBezTo>
                  <a:pt x="4081" y="15413"/>
                  <a:pt x="4105" y="15363"/>
                  <a:pt x="4105" y="15300"/>
                </a:cubicBezTo>
                <a:cubicBezTo>
                  <a:pt x="4105" y="15238"/>
                  <a:pt x="4081" y="15187"/>
                  <a:pt x="4051" y="15187"/>
                </a:cubicBezTo>
                <a:close/>
                <a:moveTo>
                  <a:pt x="3897" y="15187"/>
                </a:moveTo>
                <a:cubicBezTo>
                  <a:pt x="3868" y="15187"/>
                  <a:pt x="3844" y="15238"/>
                  <a:pt x="3844" y="15300"/>
                </a:cubicBezTo>
                <a:cubicBezTo>
                  <a:pt x="3844" y="15363"/>
                  <a:pt x="3868" y="15413"/>
                  <a:pt x="3897" y="15413"/>
                </a:cubicBezTo>
                <a:cubicBezTo>
                  <a:pt x="3927" y="15413"/>
                  <a:pt x="3951" y="15363"/>
                  <a:pt x="3951" y="15300"/>
                </a:cubicBezTo>
                <a:cubicBezTo>
                  <a:pt x="3951" y="15238"/>
                  <a:pt x="3927" y="15187"/>
                  <a:pt x="3897" y="15187"/>
                </a:cubicBezTo>
                <a:close/>
                <a:moveTo>
                  <a:pt x="4051" y="14877"/>
                </a:moveTo>
                <a:cubicBezTo>
                  <a:pt x="4022" y="14877"/>
                  <a:pt x="3998" y="14928"/>
                  <a:pt x="3998" y="14990"/>
                </a:cubicBezTo>
                <a:cubicBezTo>
                  <a:pt x="3998" y="15053"/>
                  <a:pt x="4022" y="15103"/>
                  <a:pt x="4051" y="15103"/>
                </a:cubicBezTo>
                <a:cubicBezTo>
                  <a:pt x="4081" y="15103"/>
                  <a:pt x="4105" y="15053"/>
                  <a:pt x="4105" y="14990"/>
                </a:cubicBezTo>
                <a:cubicBezTo>
                  <a:pt x="4105" y="14928"/>
                  <a:pt x="4081" y="14877"/>
                  <a:pt x="4051" y="14877"/>
                </a:cubicBezTo>
                <a:close/>
                <a:moveTo>
                  <a:pt x="4051" y="14550"/>
                </a:moveTo>
                <a:cubicBezTo>
                  <a:pt x="4022" y="14550"/>
                  <a:pt x="3998" y="14601"/>
                  <a:pt x="3998" y="14663"/>
                </a:cubicBezTo>
                <a:cubicBezTo>
                  <a:pt x="3998" y="14726"/>
                  <a:pt x="4022" y="14777"/>
                  <a:pt x="4051" y="14777"/>
                </a:cubicBezTo>
                <a:cubicBezTo>
                  <a:pt x="4081" y="14777"/>
                  <a:pt x="4105" y="14726"/>
                  <a:pt x="4105" y="14663"/>
                </a:cubicBezTo>
                <a:cubicBezTo>
                  <a:pt x="4105" y="14601"/>
                  <a:pt x="4081" y="14550"/>
                  <a:pt x="4051" y="14550"/>
                </a:cubicBezTo>
                <a:close/>
                <a:moveTo>
                  <a:pt x="3897" y="14877"/>
                </a:moveTo>
                <a:cubicBezTo>
                  <a:pt x="3868" y="14877"/>
                  <a:pt x="3844" y="14928"/>
                  <a:pt x="3844" y="14990"/>
                </a:cubicBezTo>
                <a:cubicBezTo>
                  <a:pt x="3844" y="15053"/>
                  <a:pt x="3868" y="15103"/>
                  <a:pt x="3897" y="15103"/>
                </a:cubicBezTo>
                <a:cubicBezTo>
                  <a:pt x="3927" y="15103"/>
                  <a:pt x="3951" y="15053"/>
                  <a:pt x="3951" y="14990"/>
                </a:cubicBezTo>
                <a:cubicBezTo>
                  <a:pt x="3951" y="14928"/>
                  <a:pt x="3927" y="14877"/>
                  <a:pt x="3897" y="14877"/>
                </a:cubicBezTo>
                <a:close/>
                <a:moveTo>
                  <a:pt x="3897" y="14550"/>
                </a:moveTo>
                <a:cubicBezTo>
                  <a:pt x="3868" y="14550"/>
                  <a:pt x="3844" y="14601"/>
                  <a:pt x="3844" y="14663"/>
                </a:cubicBezTo>
                <a:cubicBezTo>
                  <a:pt x="3844" y="14726"/>
                  <a:pt x="3868" y="14777"/>
                  <a:pt x="3897" y="14777"/>
                </a:cubicBezTo>
                <a:cubicBezTo>
                  <a:pt x="3927" y="14777"/>
                  <a:pt x="3951" y="14726"/>
                  <a:pt x="3951" y="14663"/>
                </a:cubicBezTo>
                <a:cubicBezTo>
                  <a:pt x="3951" y="14601"/>
                  <a:pt x="3927" y="14550"/>
                  <a:pt x="3897" y="14550"/>
                </a:cubicBezTo>
                <a:close/>
                <a:moveTo>
                  <a:pt x="3745" y="14877"/>
                </a:moveTo>
                <a:cubicBezTo>
                  <a:pt x="3715" y="14877"/>
                  <a:pt x="3691" y="14928"/>
                  <a:pt x="3691" y="14990"/>
                </a:cubicBezTo>
                <a:cubicBezTo>
                  <a:pt x="3691" y="15053"/>
                  <a:pt x="3715" y="15103"/>
                  <a:pt x="3745" y="15103"/>
                </a:cubicBezTo>
                <a:cubicBezTo>
                  <a:pt x="3774" y="15103"/>
                  <a:pt x="3798" y="15053"/>
                  <a:pt x="3798" y="14990"/>
                </a:cubicBezTo>
                <a:cubicBezTo>
                  <a:pt x="3798" y="14928"/>
                  <a:pt x="3774" y="14877"/>
                  <a:pt x="3745" y="14877"/>
                </a:cubicBezTo>
                <a:close/>
                <a:moveTo>
                  <a:pt x="3745" y="14550"/>
                </a:moveTo>
                <a:cubicBezTo>
                  <a:pt x="3715" y="14550"/>
                  <a:pt x="3691" y="14601"/>
                  <a:pt x="3691" y="14663"/>
                </a:cubicBezTo>
                <a:cubicBezTo>
                  <a:pt x="3691" y="14726"/>
                  <a:pt x="3715" y="14777"/>
                  <a:pt x="3745" y="14777"/>
                </a:cubicBezTo>
                <a:cubicBezTo>
                  <a:pt x="3774" y="14777"/>
                  <a:pt x="3798" y="14726"/>
                  <a:pt x="3798" y="14663"/>
                </a:cubicBezTo>
                <a:cubicBezTo>
                  <a:pt x="3798" y="14601"/>
                  <a:pt x="3774" y="14550"/>
                  <a:pt x="3745" y="14550"/>
                </a:cubicBezTo>
                <a:close/>
                <a:moveTo>
                  <a:pt x="4051" y="14223"/>
                </a:moveTo>
                <a:cubicBezTo>
                  <a:pt x="4022" y="14223"/>
                  <a:pt x="3998" y="14274"/>
                  <a:pt x="3998" y="14337"/>
                </a:cubicBezTo>
                <a:cubicBezTo>
                  <a:pt x="3998" y="14399"/>
                  <a:pt x="4022" y="14450"/>
                  <a:pt x="4051" y="14450"/>
                </a:cubicBezTo>
                <a:cubicBezTo>
                  <a:pt x="4081" y="14450"/>
                  <a:pt x="4105" y="14399"/>
                  <a:pt x="4105" y="14337"/>
                </a:cubicBezTo>
                <a:cubicBezTo>
                  <a:pt x="4105" y="14274"/>
                  <a:pt x="4081" y="14223"/>
                  <a:pt x="4051" y="14223"/>
                </a:cubicBezTo>
                <a:close/>
                <a:moveTo>
                  <a:pt x="4051" y="13897"/>
                </a:moveTo>
                <a:cubicBezTo>
                  <a:pt x="4022" y="13897"/>
                  <a:pt x="3998" y="13947"/>
                  <a:pt x="3998" y="14010"/>
                </a:cubicBezTo>
                <a:cubicBezTo>
                  <a:pt x="3998" y="14072"/>
                  <a:pt x="4022" y="14123"/>
                  <a:pt x="4051" y="14123"/>
                </a:cubicBezTo>
                <a:cubicBezTo>
                  <a:pt x="4081" y="14123"/>
                  <a:pt x="4105" y="14072"/>
                  <a:pt x="4105" y="14010"/>
                </a:cubicBezTo>
                <a:cubicBezTo>
                  <a:pt x="4105" y="13947"/>
                  <a:pt x="4081" y="13897"/>
                  <a:pt x="4051" y="13897"/>
                </a:cubicBezTo>
                <a:close/>
                <a:moveTo>
                  <a:pt x="3897" y="14223"/>
                </a:moveTo>
                <a:cubicBezTo>
                  <a:pt x="3868" y="14223"/>
                  <a:pt x="3844" y="14274"/>
                  <a:pt x="3844" y="14337"/>
                </a:cubicBezTo>
                <a:cubicBezTo>
                  <a:pt x="3844" y="14399"/>
                  <a:pt x="3868" y="14450"/>
                  <a:pt x="3897" y="14450"/>
                </a:cubicBezTo>
                <a:cubicBezTo>
                  <a:pt x="3927" y="14450"/>
                  <a:pt x="3951" y="14399"/>
                  <a:pt x="3951" y="14337"/>
                </a:cubicBezTo>
                <a:cubicBezTo>
                  <a:pt x="3951" y="14274"/>
                  <a:pt x="3927" y="14223"/>
                  <a:pt x="3897" y="14223"/>
                </a:cubicBezTo>
                <a:close/>
                <a:moveTo>
                  <a:pt x="3897" y="13897"/>
                </a:moveTo>
                <a:cubicBezTo>
                  <a:pt x="3868" y="13897"/>
                  <a:pt x="3844" y="13947"/>
                  <a:pt x="3844" y="14010"/>
                </a:cubicBezTo>
                <a:cubicBezTo>
                  <a:pt x="3844" y="14072"/>
                  <a:pt x="3868" y="14123"/>
                  <a:pt x="3897" y="14123"/>
                </a:cubicBezTo>
                <a:cubicBezTo>
                  <a:pt x="3927" y="14123"/>
                  <a:pt x="3951" y="14072"/>
                  <a:pt x="3951" y="14010"/>
                </a:cubicBezTo>
                <a:cubicBezTo>
                  <a:pt x="3951" y="13947"/>
                  <a:pt x="3927" y="13897"/>
                  <a:pt x="3897" y="13897"/>
                </a:cubicBezTo>
                <a:close/>
                <a:moveTo>
                  <a:pt x="3745" y="14223"/>
                </a:moveTo>
                <a:cubicBezTo>
                  <a:pt x="3715" y="14223"/>
                  <a:pt x="3691" y="14274"/>
                  <a:pt x="3691" y="14337"/>
                </a:cubicBezTo>
                <a:cubicBezTo>
                  <a:pt x="3691" y="14399"/>
                  <a:pt x="3715" y="14450"/>
                  <a:pt x="3745" y="14450"/>
                </a:cubicBezTo>
                <a:cubicBezTo>
                  <a:pt x="3774" y="14450"/>
                  <a:pt x="3798" y="14399"/>
                  <a:pt x="3798" y="14337"/>
                </a:cubicBezTo>
                <a:cubicBezTo>
                  <a:pt x="3798" y="14274"/>
                  <a:pt x="3774" y="14223"/>
                  <a:pt x="3745" y="14223"/>
                </a:cubicBezTo>
                <a:close/>
                <a:moveTo>
                  <a:pt x="3745" y="13897"/>
                </a:moveTo>
                <a:cubicBezTo>
                  <a:pt x="3715" y="13897"/>
                  <a:pt x="3691" y="13947"/>
                  <a:pt x="3691" y="14010"/>
                </a:cubicBezTo>
                <a:cubicBezTo>
                  <a:pt x="3691" y="14072"/>
                  <a:pt x="3715" y="14123"/>
                  <a:pt x="3745" y="14123"/>
                </a:cubicBezTo>
                <a:cubicBezTo>
                  <a:pt x="3774" y="14123"/>
                  <a:pt x="3798" y="14072"/>
                  <a:pt x="3798" y="14010"/>
                </a:cubicBezTo>
                <a:cubicBezTo>
                  <a:pt x="3798" y="13947"/>
                  <a:pt x="3774" y="13897"/>
                  <a:pt x="3745" y="13897"/>
                </a:cubicBezTo>
                <a:close/>
                <a:moveTo>
                  <a:pt x="4824" y="15514"/>
                </a:moveTo>
                <a:cubicBezTo>
                  <a:pt x="4795" y="15514"/>
                  <a:pt x="4771" y="15565"/>
                  <a:pt x="4771" y="15627"/>
                </a:cubicBezTo>
                <a:cubicBezTo>
                  <a:pt x="4771" y="15690"/>
                  <a:pt x="4795" y="15740"/>
                  <a:pt x="4824" y="15740"/>
                </a:cubicBezTo>
                <a:cubicBezTo>
                  <a:pt x="4854" y="15740"/>
                  <a:pt x="4878" y="15690"/>
                  <a:pt x="4878" y="15627"/>
                </a:cubicBezTo>
                <a:cubicBezTo>
                  <a:pt x="4878" y="15565"/>
                  <a:pt x="4854" y="15514"/>
                  <a:pt x="4824" y="15514"/>
                </a:cubicBezTo>
                <a:close/>
                <a:moveTo>
                  <a:pt x="4824" y="15187"/>
                </a:moveTo>
                <a:cubicBezTo>
                  <a:pt x="4795" y="15187"/>
                  <a:pt x="4771" y="15238"/>
                  <a:pt x="4771" y="15300"/>
                </a:cubicBezTo>
                <a:cubicBezTo>
                  <a:pt x="4771" y="15363"/>
                  <a:pt x="4795" y="15413"/>
                  <a:pt x="4824" y="15413"/>
                </a:cubicBezTo>
                <a:cubicBezTo>
                  <a:pt x="4854" y="15413"/>
                  <a:pt x="4878" y="15363"/>
                  <a:pt x="4878" y="15300"/>
                </a:cubicBezTo>
                <a:cubicBezTo>
                  <a:pt x="4878" y="15238"/>
                  <a:pt x="4854" y="15187"/>
                  <a:pt x="4824" y="15187"/>
                </a:cubicBezTo>
                <a:close/>
                <a:moveTo>
                  <a:pt x="4672" y="15514"/>
                </a:moveTo>
                <a:cubicBezTo>
                  <a:pt x="4642" y="15514"/>
                  <a:pt x="4618" y="15565"/>
                  <a:pt x="4618" y="15627"/>
                </a:cubicBezTo>
                <a:cubicBezTo>
                  <a:pt x="4618" y="15690"/>
                  <a:pt x="4642" y="15740"/>
                  <a:pt x="4672" y="15740"/>
                </a:cubicBezTo>
                <a:cubicBezTo>
                  <a:pt x="4701" y="15740"/>
                  <a:pt x="4726" y="15690"/>
                  <a:pt x="4726" y="15627"/>
                </a:cubicBezTo>
                <a:cubicBezTo>
                  <a:pt x="4726" y="15565"/>
                  <a:pt x="4701" y="15514"/>
                  <a:pt x="4672" y="15514"/>
                </a:cubicBezTo>
                <a:close/>
                <a:moveTo>
                  <a:pt x="4672" y="15187"/>
                </a:moveTo>
                <a:cubicBezTo>
                  <a:pt x="4642" y="15187"/>
                  <a:pt x="4618" y="15238"/>
                  <a:pt x="4618" y="15300"/>
                </a:cubicBezTo>
                <a:cubicBezTo>
                  <a:pt x="4618" y="15363"/>
                  <a:pt x="4642" y="15413"/>
                  <a:pt x="4672" y="15413"/>
                </a:cubicBezTo>
                <a:cubicBezTo>
                  <a:pt x="4701" y="15413"/>
                  <a:pt x="4726" y="15363"/>
                  <a:pt x="4726" y="15300"/>
                </a:cubicBezTo>
                <a:cubicBezTo>
                  <a:pt x="4726" y="15238"/>
                  <a:pt x="4701" y="15187"/>
                  <a:pt x="4672" y="15187"/>
                </a:cubicBezTo>
                <a:close/>
                <a:moveTo>
                  <a:pt x="4516" y="15514"/>
                </a:moveTo>
                <a:cubicBezTo>
                  <a:pt x="4487" y="15514"/>
                  <a:pt x="4463" y="15565"/>
                  <a:pt x="4463" y="15627"/>
                </a:cubicBezTo>
                <a:cubicBezTo>
                  <a:pt x="4463" y="15690"/>
                  <a:pt x="4487" y="15740"/>
                  <a:pt x="4516" y="15740"/>
                </a:cubicBezTo>
                <a:cubicBezTo>
                  <a:pt x="4546" y="15740"/>
                  <a:pt x="4570" y="15690"/>
                  <a:pt x="4570" y="15627"/>
                </a:cubicBezTo>
                <a:cubicBezTo>
                  <a:pt x="4570" y="15565"/>
                  <a:pt x="4546" y="15514"/>
                  <a:pt x="4516" y="15514"/>
                </a:cubicBezTo>
                <a:close/>
                <a:moveTo>
                  <a:pt x="4516" y="15187"/>
                </a:moveTo>
                <a:cubicBezTo>
                  <a:pt x="4487" y="15187"/>
                  <a:pt x="4463" y="15238"/>
                  <a:pt x="4463" y="15300"/>
                </a:cubicBezTo>
                <a:cubicBezTo>
                  <a:pt x="4463" y="15363"/>
                  <a:pt x="4487" y="15413"/>
                  <a:pt x="4516" y="15413"/>
                </a:cubicBezTo>
                <a:cubicBezTo>
                  <a:pt x="4546" y="15413"/>
                  <a:pt x="4570" y="15363"/>
                  <a:pt x="4570" y="15300"/>
                </a:cubicBezTo>
                <a:cubicBezTo>
                  <a:pt x="4570" y="15238"/>
                  <a:pt x="4546" y="15187"/>
                  <a:pt x="4516" y="15187"/>
                </a:cubicBezTo>
                <a:close/>
                <a:moveTo>
                  <a:pt x="4362" y="15740"/>
                </a:moveTo>
                <a:cubicBezTo>
                  <a:pt x="4392" y="15740"/>
                  <a:pt x="4416" y="15690"/>
                  <a:pt x="4416" y="15627"/>
                </a:cubicBezTo>
                <a:cubicBezTo>
                  <a:pt x="4416" y="15565"/>
                  <a:pt x="4392" y="15514"/>
                  <a:pt x="4362" y="15514"/>
                </a:cubicBezTo>
                <a:cubicBezTo>
                  <a:pt x="4333" y="15514"/>
                  <a:pt x="4309" y="15565"/>
                  <a:pt x="4309" y="15627"/>
                </a:cubicBezTo>
                <a:cubicBezTo>
                  <a:pt x="4309" y="15690"/>
                  <a:pt x="4333" y="15740"/>
                  <a:pt x="4362" y="15740"/>
                </a:cubicBezTo>
                <a:close/>
                <a:moveTo>
                  <a:pt x="4362" y="15413"/>
                </a:moveTo>
                <a:cubicBezTo>
                  <a:pt x="4392" y="15413"/>
                  <a:pt x="4416" y="15363"/>
                  <a:pt x="4416" y="15300"/>
                </a:cubicBezTo>
                <a:cubicBezTo>
                  <a:pt x="4416" y="15238"/>
                  <a:pt x="4392" y="15187"/>
                  <a:pt x="4362" y="15187"/>
                </a:cubicBezTo>
                <a:cubicBezTo>
                  <a:pt x="4333" y="15187"/>
                  <a:pt x="4309" y="15238"/>
                  <a:pt x="4309" y="15300"/>
                </a:cubicBezTo>
                <a:cubicBezTo>
                  <a:pt x="4309" y="15363"/>
                  <a:pt x="4333" y="15413"/>
                  <a:pt x="4362" y="15413"/>
                </a:cubicBezTo>
                <a:close/>
                <a:moveTo>
                  <a:pt x="4210" y="15514"/>
                </a:moveTo>
                <a:cubicBezTo>
                  <a:pt x="4180" y="15514"/>
                  <a:pt x="4156" y="15565"/>
                  <a:pt x="4156" y="15627"/>
                </a:cubicBezTo>
                <a:cubicBezTo>
                  <a:pt x="4156" y="15690"/>
                  <a:pt x="4180" y="15740"/>
                  <a:pt x="4210" y="15740"/>
                </a:cubicBezTo>
                <a:cubicBezTo>
                  <a:pt x="4240" y="15740"/>
                  <a:pt x="4264" y="15690"/>
                  <a:pt x="4264" y="15627"/>
                </a:cubicBezTo>
                <a:cubicBezTo>
                  <a:pt x="4264" y="15565"/>
                  <a:pt x="4240" y="15514"/>
                  <a:pt x="4210" y="15514"/>
                </a:cubicBezTo>
                <a:close/>
                <a:moveTo>
                  <a:pt x="4210" y="15187"/>
                </a:moveTo>
                <a:cubicBezTo>
                  <a:pt x="4180" y="15187"/>
                  <a:pt x="4156" y="15238"/>
                  <a:pt x="4156" y="15300"/>
                </a:cubicBezTo>
                <a:cubicBezTo>
                  <a:pt x="4156" y="15363"/>
                  <a:pt x="4180" y="15413"/>
                  <a:pt x="4210" y="15413"/>
                </a:cubicBezTo>
                <a:cubicBezTo>
                  <a:pt x="4240" y="15413"/>
                  <a:pt x="4264" y="15363"/>
                  <a:pt x="4264" y="15300"/>
                </a:cubicBezTo>
                <a:cubicBezTo>
                  <a:pt x="4264" y="15238"/>
                  <a:pt x="4240" y="15187"/>
                  <a:pt x="4210" y="15187"/>
                </a:cubicBezTo>
                <a:close/>
                <a:moveTo>
                  <a:pt x="4824" y="14877"/>
                </a:moveTo>
                <a:cubicBezTo>
                  <a:pt x="4795" y="14877"/>
                  <a:pt x="4771" y="14928"/>
                  <a:pt x="4771" y="14990"/>
                </a:cubicBezTo>
                <a:cubicBezTo>
                  <a:pt x="4771" y="15053"/>
                  <a:pt x="4795" y="15103"/>
                  <a:pt x="4824" y="15103"/>
                </a:cubicBezTo>
                <a:cubicBezTo>
                  <a:pt x="4854" y="15103"/>
                  <a:pt x="4878" y="15053"/>
                  <a:pt x="4878" y="14990"/>
                </a:cubicBezTo>
                <a:cubicBezTo>
                  <a:pt x="4878" y="14928"/>
                  <a:pt x="4854" y="14877"/>
                  <a:pt x="4824" y="14877"/>
                </a:cubicBezTo>
                <a:close/>
                <a:moveTo>
                  <a:pt x="4824" y="14550"/>
                </a:moveTo>
                <a:cubicBezTo>
                  <a:pt x="4795" y="14550"/>
                  <a:pt x="4771" y="14601"/>
                  <a:pt x="4771" y="14663"/>
                </a:cubicBezTo>
                <a:cubicBezTo>
                  <a:pt x="4771" y="14726"/>
                  <a:pt x="4795" y="14777"/>
                  <a:pt x="4824" y="14777"/>
                </a:cubicBezTo>
                <a:cubicBezTo>
                  <a:pt x="4854" y="14777"/>
                  <a:pt x="4878" y="14726"/>
                  <a:pt x="4878" y="14663"/>
                </a:cubicBezTo>
                <a:cubicBezTo>
                  <a:pt x="4878" y="14601"/>
                  <a:pt x="4854" y="14550"/>
                  <a:pt x="4824" y="14550"/>
                </a:cubicBezTo>
                <a:close/>
                <a:moveTo>
                  <a:pt x="4672" y="14877"/>
                </a:moveTo>
                <a:cubicBezTo>
                  <a:pt x="4642" y="14877"/>
                  <a:pt x="4618" y="14928"/>
                  <a:pt x="4618" y="14990"/>
                </a:cubicBezTo>
                <a:cubicBezTo>
                  <a:pt x="4618" y="15053"/>
                  <a:pt x="4642" y="15103"/>
                  <a:pt x="4672" y="15103"/>
                </a:cubicBezTo>
                <a:cubicBezTo>
                  <a:pt x="4701" y="15103"/>
                  <a:pt x="4726" y="15053"/>
                  <a:pt x="4726" y="14990"/>
                </a:cubicBezTo>
                <a:cubicBezTo>
                  <a:pt x="4726" y="14928"/>
                  <a:pt x="4701" y="14877"/>
                  <a:pt x="4672" y="14877"/>
                </a:cubicBezTo>
                <a:close/>
                <a:moveTo>
                  <a:pt x="4672" y="14550"/>
                </a:moveTo>
                <a:cubicBezTo>
                  <a:pt x="4642" y="14550"/>
                  <a:pt x="4618" y="14601"/>
                  <a:pt x="4618" y="14663"/>
                </a:cubicBezTo>
                <a:cubicBezTo>
                  <a:pt x="4618" y="14726"/>
                  <a:pt x="4642" y="14777"/>
                  <a:pt x="4672" y="14777"/>
                </a:cubicBezTo>
                <a:cubicBezTo>
                  <a:pt x="4701" y="14777"/>
                  <a:pt x="4726" y="14726"/>
                  <a:pt x="4726" y="14663"/>
                </a:cubicBezTo>
                <a:cubicBezTo>
                  <a:pt x="4726" y="14601"/>
                  <a:pt x="4701" y="14550"/>
                  <a:pt x="4672" y="14550"/>
                </a:cubicBezTo>
                <a:close/>
                <a:moveTo>
                  <a:pt x="4516" y="14877"/>
                </a:moveTo>
                <a:cubicBezTo>
                  <a:pt x="4487" y="14877"/>
                  <a:pt x="4463" y="14928"/>
                  <a:pt x="4463" y="14990"/>
                </a:cubicBezTo>
                <a:cubicBezTo>
                  <a:pt x="4463" y="15053"/>
                  <a:pt x="4487" y="15103"/>
                  <a:pt x="4516" y="15103"/>
                </a:cubicBezTo>
                <a:cubicBezTo>
                  <a:pt x="4546" y="15103"/>
                  <a:pt x="4570" y="15053"/>
                  <a:pt x="4570" y="14990"/>
                </a:cubicBezTo>
                <a:cubicBezTo>
                  <a:pt x="4570" y="14928"/>
                  <a:pt x="4546" y="14877"/>
                  <a:pt x="4516" y="14877"/>
                </a:cubicBezTo>
                <a:close/>
                <a:moveTo>
                  <a:pt x="4516" y="14550"/>
                </a:moveTo>
                <a:cubicBezTo>
                  <a:pt x="4487" y="14550"/>
                  <a:pt x="4463" y="14601"/>
                  <a:pt x="4463" y="14663"/>
                </a:cubicBezTo>
                <a:cubicBezTo>
                  <a:pt x="4463" y="14726"/>
                  <a:pt x="4487" y="14777"/>
                  <a:pt x="4516" y="14777"/>
                </a:cubicBezTo>
                <a:cubicBezTo>
                  <a:pt x="4546" y="14777"/>
                  <a:pt x="4570" y="14726"/>
                  <a:pt x="4570" y="14663"/>
                </a:cubicBezTo>
                <a:cubicBezTo>
                  <a:pt x="4570" y="14601"/>
                  <a:pt x="4546" y="14550"/>
                  <a:pt x="4516" y="14550"/>
                </a:cubicBezTo>
                <a:close/>
                <a:moveTo>
                  <a:pt x="4362" y="15103"/>
                </a:moveTo>
                <a:cubicBezTo>
                  <a:pt x="4392" y="15103"/>
                  <a:pt x="4416" y="15053"/>
                  <a:pt x="4416" y="14990"/>
                </a:cubicBezTo>
                <a:cubicBezTo>
                  <a:pt x="4416" y="14928"/>
                  <a:pt x="4392" y="14877"/>
                  <a:pt x="4362" y="14877"/>
                </a:cubicBezTo>
                <a:cubicBezTo>
                  <a:pt x="4333" y="14877"/>
                  <a:pt x="4309" y="14928"/>
                  <a:pt x="4309" y="14990"/>
                </a:cubicBezTo>
                <a:cubicBezTo>
                  <a:pt x="4309" y="15053"/>
                  <a:pt x="4333" y="15103"/>
                  <a:pt x="4362" y="15103"/>
                </a:cubicBezTo>
                <a:close/>
                <a:moveTo>
                  <a:pt x="4362" y="14777"/>
                </a:moveTo>
                <a:cubicBezTo>
                  <a:pt x="4392" y="14777"/>
                  <a:pt x="4416" y="14726"/>
                  <a:pt x="4416" y="14663"/>
                </a:cubicBezTo>
                <a:cubicBezTo>
                  <a:pt x="4416" y="14601"/>
                  <a:pt x="4392" y="14550"/>
                  <a:pt x="4362" y="14550"/>
                </a:cubicBezTo>
                <a:cubicBezTo>
                  <a:pt x="4333" y="14550"/>
                  <a:pt x="4309" y="14601"/>
                  <a:pt x="4309" y="14663"/>
                </a:cubicBezTo>
                <a:cubicBezTo>
                  <a:pt x="4309" y="14726"/>
                  <a:pt x="4333" y="14777"/>
                  <a:pt x="4362" y="14777"/>
                </a:cubicBezTo>
                <a:close/>
                <a:moveTo>
                  <a:pt x="4210" y="14877"/>
                </a:moveTo>
                <a:cubicBezTo>
                  <a:pt x="4180" y="14877"/>
                  <a:pt x="4156" y="14928"/>
                  <a:pt x="4156" y="14990"/>
                </a:cubicBezTo>
                <a:cubicBezTo>
                  <a:pt x="4156" y="15053"/>
                  <a:pt x="4180" y="15103"/>
                  <a:pt x="4210" y="15103"/>
                </a:cubicBezTo>
                <a:cubicBezTo>
                  <a:pt x="4240" y="15103"/>
                  <a:pt x="4264" y="15053"/>
                  <a:pt x="4264" y="14990"/>
                </a:cubicBezTo>
                <a:cubicBezTo>
                  <a:pt x="4264" y="14928"/>
                  <a:pt x="4240" y="14877"/>
                  <a:pt x="4210" y="14877"/>
                </a:cubicBezTo>
                <a:close/>
                <a:moveTo>
                  <a:pt x="4210" y="14550"/>
                </a:moveTo>
                <a:cubicBezTo>
                  <a:pt x="4180" y="14550"/>
                  <a:pt x="4156" y="14601"/>
                  <a:pt x="4156" y="14663"/>
                </a:cubicBezTo>
                <a:cubicBezTo>
                  <a:pt x="4156" y="14726"/>
                  <a:pt x="4180" y="14777"/>
                  <a:pt x="4210" y="14777"/>
                </a:cubicBezTo>
                <a:cubicBezTo>
                  <a:pt x="4240" y="14777"/>
                  <a:pt x="4264" y="14726"/>
                  <a:pt x="4264" y="14663"/>
                </a:cubicBezTo>
                <a:cubicBezTo>
                  <a:pt x="4264" y="14601"/>
                  <a:pt x="4240" y="14550"/>
                  <a:pt x="4210" y="14550"/>
                </a:cubicBezTo>
                <a:close/>
                <a:moveTo>
                  <a:pt x="4824" y="14223"/>
                </a:moveTo>
                <a:cubicBezTo>
                  <a:pt x="4795" y="14223"/>
                  <a:pt x="4771" y="14274"/>
                  <a:pt x="4771" y="14337"/>
                </a:cubicBezTo>
                <a:cubicBezTo>
                  <a:pt x="4771" y="14399"/>
                  <a:pt x="4795" y="14450"/>
                  <a:pt x="4824" y="14450"/>
                </a:cubicBezTo>
                <a:cubicBezTo>
                  <a:pt x="4854" y="14450"/>
                  <a:pt x="4878" y="14399"/>
                  <a:pt x="4878" y="14337"/>
                </a:cubicBezTo>
                <a:cubicBezTo>
                  <a:pt x="4878" y="14274"/>
                  <a:pt x="4854" y="14223"/>
                  <a:pt x="4824" y="14223"/>
                </a:cubicBezTo>
                <a:close/>
                <a:moveTo>
                  <a:pt x="4824" y="13897"/>
                </a:moveTo>
                <a:cubicBezTo>
                  <a:pt x="4795" y="13897"/>
                  <a:pt x="4771" y="13947"/>
                  <a:pt x="4771" y="14010"/>
                </a:cubicBezTo>
                <a:cubicBezTo>
                  <a:pt x="4771" y="14072"/>
                  <a:pt x="4795" y="14123"/>
                  <a:pt x="4824" y="14123"/>
                </a:cubicBezTo>
                <a:cubicBezTo>
                  <a:pt x="4854" y="14123"/>
                  <a:pt x="4878" y="14072"/>
                  <a:pt x="4878" y="14010"/>
                </a:cubicBezTo>
                <a:cubicBezTo>
                  <a:pt x="4878" y="13947"/>
                  <a:pt x="4854" y="13897"/>
                  <a:pt x="4824" y="13897"/>
                </a:cubicBezTo>
                <a:close/>
                <a:moveTo>
                  <a:pt x="4672" y="14223"/>
                </a:moveTo>
                <a:cubicBezTo>
                  <a:pt x="4642" y="14223"/>
                  <a:pt x="4618" y="14274"/>
                  <a:pt x="4618" y="14337"/>
                </a:cubicBezTo>
                <a:cubicBezTo>
                  <a:pt x="4618" y="14399"/>
                  <a:pt x="4642" y="14450"/>
                  <a:pt x="4672" y="14450"/>
                </a:cubicBezTo>
                <a:cubicBezTo>
                  <a:pt x="4701" y="14450"/>
                  <a:pt x="4726" y="14399"/>
                  <a:pt x="4726" y="14337"/>
                </a:cubicBezTo>
                <a:cubicBezTo>
                  <a:pt x="4726" y="14274"/>
                  <a:pt x="4701" y="14223"/>
                  <a:pt x="4672" y="14223"/>
                </a:cubicBezTo>
                <a:close/>
                <a:moveTo>
                  <a:pt x="4672" y="13897"/>
                </a:moveTo>
                <a:cubicBezTo>
                  <a:pt x="4642" y="13897"/>
                  <a:pt x="4618" y="13947"/>
                  <a:pt x="4618" y="14010"/>
                </a:cubicBezTo>
                <a:cubicBezTo>
                  <a:pt x="4618" y="14072"/>
                  <a:pt x="4642" y="14123"/>
                  <a:pt x="4672" y="14123"/>
                </a:cubicBezTo>
                <a:cubicBezTo>
                  <a:pt x="4701" y="14123"/>
                  <a:pt x="4726" y="14072"/>
                  <a:pt x="4726" y="14010"/>
                </a:cubicBezTo>
                <a:cubicBezTo>
                  <a:pt x="4726" y="13947"/>
                  <a:pt x="4701" y="13897"/>
                  <a:pt x="4672" y="13897"/>
                </a:cubicBezTo>
                <a:close/>
                <a:moveTo>
                  <a:pt x="4516" y="14223"/>
                </a:moveTo>
                <a:cubicBezTo>
                  <a:pt x="4487" y="14223"/>
                  <a:pt x="4463" y="14274"/>
                  <a:pt x="4463" y="14337"/>
                </a:cubicBezTo>
                <a:cubicBezTo>
                  <a:pt x="4463" y="14399"/>
                  <a:pt x="4487" y="14450"/>
                  <a:pt x="4516" y="14450"/>
                </a:cubicBezTo>
                <a:cubicBezTo>
                  <a:pt x="4546" y="14450"/>
                  <a:pt x="4570" y="14399"/>
                  <a:pt x="4570" y="14337"/>
                </a:cubicBezTo>
                <a:cubicBezTo>
                  <a:pt x="4570" y="14274"/>
                  <a:pt x="4546" y="14223"/>
                  <a:pt x="4516" y="14223"/>
                </a:cubicBezTo>
                <a:close/>
                <a:moveTo>
                  <a:pt x="4516" y="13897"/>
                </a:moveTo>
                <a:cubicBezTo>
                  <a:pt x="4487" y="13897"/>
                  <a:pt x="4463" y="13947"/>
                  <a:pt x="4463" y="14010"/>
                </a:cubicBezTo>
                <a:cubicBezTo>
                  <a:pt x="4463" y="14072"/>
                  <a:pt x="4487" y="14123"/>
                  <a:pt x="4516" y="14123"/>
                </a:cubicBezTo>
                <a:cubicBezTo>
                  <a:pt x="4546" y="14123"/>
                  <a:pt x="4570" y="14072"/>
                  <a:pt x="4570" y="14010"/>
                </a:cubicBezTo>
                <a:cubicBezTo>
                  <a:pt x="4570" y="13947"/>
                  <a:pt x="4546" y="13897"/>
                  <a:pt x="4516" y="13897"/>
                </a:cubicBezTo>
                <a:close/>
                <a:moveTo>
                  <a:pt x="4362" y="14450"/>
                </a:moveTo>
                <a:cubicBezTo>
                  <a:pt x="4392" y="14450"/>
                  <a:pt x="4416" y="14399"/>
                  <a:pt x="4416" y="14337"/>
                </a:cubicBezTo>
                <a:cubicBezTo>
                  <a:pt x="4416" y="14274"/>
                  <a:pt x="4392" y="14223"/>
                  <a:pt x="4362" y="14223"/>
                </a:cubicBezTo>
                <a:cubicBezTo>
                  <a:pt x="4333" y="14223"/>
                  <a:pt x="4309" y="14274"/>
                  <a:pt x="4309" y="14337"/>
                </a:cubicBezTo>
                <a:cubicBezTo>
                  <a:pt x="4309" y="14399"/>
                  <a:pt x="4333" y="14450"/>
                  <a:pt x="4362" y="14450"/>
                </a:cubicBezTo>
                <a:close/>
                <a:moveTo>
                  <a:pt x="4362" y="14123"/>
                </a:moveTo>
                <a:cubicBezTo>
                  <a:pt x="4392" y="14123"/>
                  <a:pt x="4416" y="14072"/>
                  <a:pt x="4416" y="14010"/>
                </a:cubicBezTo>
                <a:cubicBezTo>
                  <a:pt x="4416" y="13947"/>
                  <a:pt x="4392" y="13897"/>
                  <a:pt x="4362" y="13897"/>
                </a:cubicBezTo>
                <a:cubicBezTo>
                  <a:pt x="4333" y="13897"/>
                  <a:pt x="4309" y="13947"/>
                  <a:pt x="4309" y="14010"/>
                </a:cubicBezTo>
                <a:cubicBezTo>
                  <a:pt x="4309" y="14072"/>
                  <a:pt x="4333" y="14123"/>
                  <a:pt x="4362" y="14123"/>
                </a:cubicBezTo>
                <a:close/>
                <a:moveTo>
                  <a:pt x="4210" y="14223"/>
                </a:moveTo>
                <a:cubicBezTo>
                  <a:pt x="4180" y="14223"/>
                  <a:pt x="4156" y="14274"/>
                  <a:pt x="4156" y="14337"/>
                </a:cubicBezTo>
                <a:cubicBezTo>
                  <a:pt x="4156" y="14399"/>
                  <a:pt x="4180" y="14450"/>
                  <a:pt x="4210" y="14450"/>
                </a:cubicBezTo>
                <a:cubicBezTo>
                  <a:pt x="4240" y="14450"/>
                  <a:pt x="4264" y="14399"/>
                  <a:pt x="4264" y="14337"/>
                </a:cubicBezTo>
                <a:cubicBezTo>
                  <a:pt x="4264" y="14274"/>
                  <a:pt x="4240" y="14223"/>
                  <a:pt x="4210" y="14223"/>
                </a:cubicBezTo>
                <a:close/>
                <a:moveTo>
                  <a:pt x="4210" y="13897"/>
                </a:moveTo>
                <a:cubicBezTo>
                  <a:pt x="4180" y="13897"/>
                  <a:pt x="4156" y="13947"/>
                  <a:pt x="4156" y="14010"/>
                </a:cubicBezTo>
                <a:cubicBezTo>
                  <a:pt x="4156" y="14072"/>
                  <a:pt x="4180" y="14123"/>
                  <a:pt x="4210" y="14123"/>
                </a:cubicBezTo>
                <a:cubicBezTo>
                  <a:pt x="4240" y="14123"/>
                  <a:pt x="4264" y="14072"/>
                  <a:pt x="4264" y="14010"/>
                </a:cubicBezTo>
                <a:cubicBezTo>
                  <a:pt x="4264" y="13947"/>
                  <a:pt x="4240" y="13897"/>
                  <a:pt x="4210" y="13897"/>
                </a:cubicBezTo>
                <a:close/>
                <a:moveTo>
                  <a:pt x="5593" y="16168"/>
                </a:moveTo>
                <a:cubicBezTo>
                  <a:pt x="5563" y="16168"/>
                  <a:pt x="5539" y="16218"/>
                  <a:pt x="5539" y="16281"/>
                </a:cubicBezTo>
                <a:cubicBezTo>
                  <a:pt x="5539" y="16343"/>
                  <a:pt x="5563" y="16394"/>
                  <a:pt x="5593" y="16394"/>
                </a:cubicBezTo>
                <a:cubicBezTo>
                  <a:pt x="5622" y="16394"/>
                  <a:pt x="5646" y="16343"/>
                  <a:pt x="5646" y="16281"/>
                </a:cubicBezTo>
                <a:cubicBezTo>
                  <a:pt x="5646" y="16218"/>
                  <a:pt x="5622" y="16168"/>
                  <a:pt x="5593" y="16168"/>
                </a:cubicBezTo>
                <a:close/>
                <a:moveTo>
                  <a:pt x="5593" y="15841"/>
                </a:moveTo>
                <a:cubicBezTo>
                  <a:pt x="5563" y="15841"/>
                  <a:pt x="5539" y="15891"/>
                  <a:pt x="5539" y="15954"/>
                </a:cubicBezTo>
                <a:cubicBezTo>
                  <a:pt x="5539" y="16016"/>
                  <a:pt x="5563" y="16067"/>
                  <a:pt x="5593" y="16067"/>
                </a:cubicBezTo>
                <a:cubicBezTo>
                  <a:pt x="5622" y="16067"/>
                  <a:pt x="5646" y="16016"/>
                  <a:pt x="5646" y="15954"/>
                </a:cubicBezTo>
                <a:cubicBezTo>
                  <a:pt x="5646" y="15891"/>
                  <a:pt x="5622" y="15841"/>
                  <a:pt x="5593" y="15841"/>
                </a:cubicBezTo>
                <a:close/>
                <a:moveTo>
                  <a:pt x="5440" y="16168"/>
                </a:moveTo>
                <a:cubicBezTo>
                  <a:pt x="5410" y="16168"/>
                  <a:pt x="5386" y="16218"/>
                  <a:pt x="5386" y="16281"/>
                </a:cubicBezTo>
                <a:cubicBezTo>
                  <a:pt x="5386" y="16343"/>
                  <a:pt x="5410" y="16394"/>
                  <a:pt x="5440" y="16394"/>
                </a:cubicBezTo>
                <a:cubicBezTo>
                  <a:pt x="5470" y="16394"/>
                  <a:pt x="5494" y="16343"/>
                  <a:pt x="5494" y="16281"/>
                </a:cubicBezTo>
                <a:cubicBezTo>
                  <a:pt x="5494" y="16218"/>
                  <a:pt x="5470" y="16168"/>
                  <a:pt x="5440" y="16168"/>
                </a:cubicBezTo>
                <a:close/>
                <a:moveTo>
                  <a:pt x="5440" y="15841"/>
                </a:moveTo>
                <a:cubicBezTo>
                  <a:pt x="5410" y="15841"/>
                  <a:pt x="5386" y="15891"/>
                  <a:pt x="5386" y="15954"/>
                </a:cubicBezTo>
                <a:cubicBezTo>
                  <a:pt x="5386" y="16016"/>
                  <a:pt x="5410" y="16067"/>
                  <a:pt x="5440" y="16067"/>
                </a:cubicBezTo>
                <a:cubicBezTo>
                  <a:pt x="5470" y="16067"/>
                  <a:pt x="5494" y="16016"/>
                  <a:pt x="5494" y="15954"/>
                </a:cubicBezTo>
                <a:cubicBezTo>
                  <a:pt x="5494" y="15891"/>
                  <a:pt x="5470" y="15841"/>
                  <a:pt x="5440" y="15841"/>
                </a:cubicBezTo>
                <a:close/>
                <a:moveTo>
                  <a:pt x="5285" y="16168"/>
                </a:moveTo>
                <a:cubicBezTo>
                  <a:pt x="5255" y="16168"/>
                  <a:pt x="5231" y="16218"/>
                  <a:pt x="5231" y="16281"/>
                </a:cubicBezTo>
                <a:cubicBezTo>
                  <a:pt x="5231" y="16343"/>
                  <a:pt x="5255" y="16394"/>
                  <a:pt x="5285" y="16394"/>
                </a:cubicBezTo>
                <a:cubicBezTo>
                  <a:pt x="5314" y="16394"/>
                  <a:pt x="5338" y="16343"/>
                  <a:pt x="5338" y="16281"/>
                </a:cubicBezTo>
                <a:cubicBezTo>
                  <a:pt x="5338" y="16218"/>
                  <a:pt x="5314" y="16168"/>
                  <a:pt x="5285" y="16168"/>
                </a:cubicBezTo>
                <a:close/>
                <a:moveTo>
                  <a:pt x="5285" y="15841"/>
                </a:moveTo>
                <a:cubicBezTo>
                  <a:pt x="5255" y="15841"/>
                  <a:pt x="5231" y="15891"/>
                  <a:pt x="5231" y="15954"/>
                </a:cubicBezTo>
                <a:cubicBezTo>
                  <a:pt x="5231" y="16016"/>
                  <a:pt x="5255" y="16067"/>
                  <a:pt x="5285" y="16067"/>
                </a:cubicBezTo>
                <a:cubicBezTo>
                  <a:pt x="5314" y="16067"/>
                  <a:pt x="5338" y="16016"/>
                  <a:pt x="5338" y="15954"/>
                </a:cubicBezTo>
                <a:cubicBezTo>
                  <a:pt x="5338" y="15891"/>
                  <a:pt x="5314" y="15841"/>
                  <a:pt x="5285" y="15841"/>
                </a:cubicBezTo>
                <a:close/>
                <a:moveTo>
                  <a:pt x="5131" y="16168"/>
                </a:moveTo>
                <a:cubicBezTo>
                  <a:pt x="5101" y="16168"/>
                  <a:pt x="5077" y="16218"/>
                  <a:pt x="5077" y="16281"/>
                </a:cubicBezTo>
                <a:cubicBezTo>
                  <a:pt x="5077" y="16343"/>
                  <a:pt x="5101" y="16394"/>
                  <a:pt x="5131" y="16394"/>
                </a:cubicBezTo>
                <a:cubicBezTo>
                  <a:pt x="5160" y="16394"/>
                  <a:pt x="5184" y="16343"/>
                  <a:pt x="5184" y="16281"/>
                </a:cubicBezTo>
                <a:cubicBezTo>
                  <a:pt x="5184" y="16218"/>
                  <a:pt x="5160" y="16168"/>
                  <a:pt x="5131" y="16168"/>
                </a:cubicBezTo>
                <a:close/>
                <a:moveTo>
                  <a:pt x="5131" y="15841"/>
                </a:moveTo>
                <a:cubicBezTo>
                  <a:pt x="5101" y="15841"/>
                  <a:pt x="5077" y="15891"/>
                  <a:pt x="5077" y="15954"/>
                </a:cubicBezTo>
                <a:cubicBezTo>
                  <a:pt x="5077" y="16016"/>
                  <a:pt x="5101" y="16067"/>
                  <a:pt x="5131" y="16067"/>
                </a:cubicBezTo>
                <a:cubicBezTo>
                  <a:pt x="5160" y="16067"/>
                  <a:pt x="5184" y="16016"/>
                  <a:pt x="5184" y="15954"/>
                </a:cubicBezTo>
                <a:cubicBezTo>
                  <a:pt x="5184" y="15891"/>
                  <a:pt x="5160" y="15841"/>
                  <a:pt x="5131" y="15841"/>
                </a:cubicBezTo>
                <a:close/>
                <a:moveTo>
                  <a:pt x="4978" y="16168"/>
                </a:moveTo>
                <a:cubicBezTo>
                  <a:pt x="4948" y="16168"/>
                  <a:pt x="4924" y="16218"/>
                  <a:pt x="4924" y="16281"/>
                </a:cubicBezTo>
                <a:cubicBezTo>
                  <a:pt x="4924" y="16343"/>
                  <a:pt x="4948" y="16394"/>
                  <a:pt x="4978" y="16394"/>
                </a:cubicBezTo>
                <a:cubicBezTo>
                  <a:pt x="5008" y="16394"/>
                  <a:pt x="5032" y="16343"/>
                  <a:pt x="5032" y="16281"/>
                </a:cubicBezTo>
                <a:cubicBezTo>
                  <a:pt x="5032" y="16218"/>
                  <a:pt x="5008" y="16168"/>
                  <a:pt x="4978" y="16168"/>
                </a:cubicBezTo>
                <a:close/>
                <a:moveTo>
                  <a:pt x="4978" y="15841"/>
                </a:moveTo>
                <a:cubicBezTo>
                  <a:pt x="4948" y="15841"/>
                  <a:pt x="4924" y="15891"/>
                  <a:pt x="4924" y="15954"/>
                </a:cubicBezTo>
                <a:cubicBezTo>
                  <a:pt x="4924" y="16016"/>
                  <a:pt x="4948" y="16067"/>
                  <a:pt x="4978" y="16067"/>
                </a:cubicBezTo>
                <a:cubicBezTo>
                  <a:pt x="5008" y="16067"/>
                  <a:pt x="5032" y="16016"/>
                  <a:pt x="5032" y="15954"/>
                </a:cubicBezTo>
                <a:cubicBezTo>
                  <a:pt x="5032" y="15891"/>
                  <a:pt x="5008" y="15841"/>
                  <a:pt x="4978" y="15841"/>
                </a:cubicBezTo>
                <a:close/>
                <a:moveTo>
                  <a:pt x="5593" y="15514"/>
                </a:moveTo>
                <a:cubicBezTo>
                  <a:pt x="5563" y="15514"/>
                  <a:pt x="5539" y="15565"/>
                  <a:pt x="5539" y="15627"/>
                </a:cubicBezTo>
                <a:cubicBezTo>
                  <a:pt x="5539" y="15690"/>
                  <a:pt x="5563" y="15740"/>
                  <a:pt x="5593" y="15740"/>
                </a:cubicBezTo>
                <a:cubicBezTo>
                  <a:pt x="5622" y="15740"/>
                  <a:pt x="5646" y="15690"/>
                  <a:pt x="5646" y="15627"/>
                </a:cubicBezTo>
                <a:cubicBezTo>
                  <a:pt x="5646" y="15565"/>
                  <a:pt x="5622" y="15514"/>
                  <a:pt x="5593" y="15514"/>
                </a:cubicBezTo>
                <a:close/>
                <a:moveTo>
                  <a:pt x="5593" y="15187"/>
                </a:moveTo>
                <a:cubicBezTo>
                  <a:pt x="5563" y="15187"/>
                  <a:pt x="5539" y="15238"/>
                  <a:pt x="5539" y="15300"/>
                </a:cubicBezTo>
                <a:cubicBezTo>
                  <a:pt x="5539" y="15363"/>
                  <a:pt x="5563" y="15413"/>
                  <a:pt x="5593" y="15413"/>
                </a:cubicBezTo>
                <a:cubicBezTo>
                  <a:pt x="5622" y="15413"/>
                  <a:pt x="5646" y="15363"/>
                  <a:pt x="5646" y="15300"/>
                </a:cubicBezTo>
                <a:cubicBezTo>
                  <a:pt x="5646" y="15238"/>
                  <a:pt x="5622" y="15187"/>
                  <a:pt x="5593" y="15187"/>
                </a:cubicBezTo>
                <a:close/>
                <a:moveTo>
                  <a:pt x="5440" y="15514"/>
                </a:moveTo>
                <a:cubicBezTo>
                  <a:pt x="5410" y="15514"/>
                  <a:pt x="5386" y="15565"/>
                  <a:pt x="5386" y="15627"/>
                </a:cubicBezTo>
                <a:cubicBezTo>
                  <a:pt x="5386" y="15690"/>
                  <a:pt x="5410" y="15740"/>
                  <a:pt x="5440" y="15740"/>
                </a:cubicBezTo>
                <a:cubicBezTo>
                  <a:pt x="5470" y="15740"/>
                  <a:pt x="5494" y="15690"/>
                  <a:pt x="5494" y="15627"/>
                </a:cubicBezTo>
                <a:cubicBezTo>
                  <a:pt x="5494" y="15565"/>
                  <a:pt x="5470" y="15514"/>
                  <a:pt x="5440" y="15514"/>
                </a:cubicBezTo>
                <a:close/>
                <a:moveTo>
                  <a:pt x="5440" y="15187"/>
                </a:moveTo>
                <a:cubicBezTo>
                  <a:pt x="5410" y="15187"/>
                  <a:pt x="5386" y="15238"/>
                  <a:pt x="5386" y="15300"/>
                </a:cubicBezTo>
                <a:cubicBezTo>
                  <a:pt x="5386" y="15363"/>
                  <a:pt x="5410" y="15413"/>
                  <a:pt x="5440" y="15413"/>
                </a:cubicBezTo>
                <a:cubicBezTo>
                  <a:pt x="5470" y="15413"/>
                  <a:pt x="5494" y="15363"/>
                  <a:pt x="5494" y="15300"/>
                </a:cubicBezTo>
                <a:cubicBezTo>
                  <a:pt x="5494" y="15238"/>
                  <a:pt x="5470" y="15187"/>
                  <a:pt x="5440" y="15187"/>
                </a:cubicBezTo>
                <a:close/>
                <a:moveTo>
                  <a:pt x="5285" y="15514"/>
                </a:moveTo>
                <a:cubicBezTo>
                  <a:pt x="5255" y="15514"/>
                  <a:pt x="5231" y="15565"/>
                  <a:pt x="5231" y="15627"/>
                </a:cubicBezTo>
                <a:cubicBezTo>
                  <a:pt x="5231" y="15690"/>
                  <a:pt x="5255" y="15740"/>
                  <a:pt x="5285" y="15740"/>
                </a:cubicBezTo>
                <a:cubicBezTo>
                  <a:pt x="5314" y="15740"/>
                  <a:pt x="5338" y="15690"/>
                  <a:pt x="5338" y="15627"/>
                </a:cubicBezTo>
                <a:cubicBezTo>
                  <a:pt x="5338" y="15565"/>
                  <a:pt x="5314" y="15514"/>
                  <a:pt x="5285" y="15514"/>
                </a:cubicBezTo>
                <a:close/>
                <a:moveTo>
                  <a:pt x="5285" y="15187"/>
                </a:moveTo>
                <a:cubicBezTo>
                  <a:pt x="5255" y="15187"/>
                  <a:pt x="5231" y="15238"/>
                  <a:pt x="5231" y="15300"/>
                </a:cubicBezTo>
                <a:cubicBezTo>
                  <a:pt x="5231" y="15363"/>
                  <a:pt x="5255" y="15413"/>
                  <a:pt x="5285" y="15413"/>
                </a:cubicBezTo>
                <a:cubicBezTo>
                  <a:pt x="5314" y="15413"/>
                  <a:pt x="5338" y="15363"/>
                  <a:pt x="5338" y="15300"/>
                </a:cubicBezTo>
                <a:cubicBezTo>
                  <a:pt x="5338" y="15238"/>
                  <a:pt x="5314" y="15187"/>
                  <a:pt x="5285" y="15187"/>
                </a:cubicBezTo>
                <a:close/>
                <a:moveTo>
                  <a:pt x="5131" y="15514"/>
                </a:moveTo>
                <a:cubicBezTo>
                  <a:pt x="5101" y="15514"/>
                  <a:pt x="5077" y="15565"/>
                  <a:pt x="5077" y="15627"/>
                </a:cubicBezTo>
                <a:cubicBezTo>
                  <a:pt x="5077" y="15690"/>
                  <a:pt x="5101" y="15740"/>
                  <a:pt x="5131" y="15740"/>
                </a:cubicBezTo>
                <a:cubicBezTo>
                  <a:pt x="5160" y="15740"/>
                  <a:pt x="5184" y="15690"/>
                  <a:pt x="5184" y="15627"/>
                </a:cubicBezTo>
                <a:cubicBezTo>
                  <a:pt x="5184" y="15565"/>
                  <a:pt x="5160" y="15514"/>
                  <a:pt x="5131" y="15514"/>
                </a:cubicBezTo>
                <a:close/>
                <a:moveTo>
                  <a:pt x="5131" y="15187"/>
                </a:moveTo>
                <a:cubicBezTo>
                  <a:pt x="5101" y="15187"/>
                  <a:pt x="5077" y="15238"/>
                  <a:pt x="5077" y="15300"/>
                </a:cubicBezTo>
                <a:cubicBezTo>
                  <a:pt x="5077" y="15363"/>
                  <a:pt x="5101" y="15413"/>
                  <a:pt x="5131" y="15413"/>
                </a:cubicBezTo>
                <a:cubicBezTo>
                  <a:pt x="5160" y="15413"/>
                  <a:pt x="5184" y="15363"/>
                  <a:pt x="5184" y="15300"/>
                </a:cubicBezTo>
                <a:cubicBezTo>
                  <a:pt x="5184" y="15238"/>
                  <a:pt x="5160" y="15187"/>
                  <a:pt x="5131" y="15187"/>
                </a:cubicBezTo>
                <a:close/>
                <a:moveTo>
                  <a:pt x="4978" y="15514"/>
                </a:moveTo>
                <a:cubicBezTo>
                  <a:pt x="4948" y="15514"/>
                  <a:pt x="4924" y="15565"/>
                  <a:pt x="4924" y="15627"/>
                </a:cubicBezTo>
                <a:cubicBezTo>
                  <a:pt x="4924" y="15690"/>
                  <a:pt x="4948" y="15740"/>
                  <a:pt x="4978" y="15740"/>
                </a:cubicBezTo>
                <a:cubicBezTo>
                  <a:pt x="5008" y="15740"/>
                  <a:pt x="5032" y="15690"/>
                  <a:pt x="5032" y="15627"/>
                </a:cubicBezTo>
                <a:cubicBezTo>
                  <a:pt x="5032" y="15565"/>
                  <a:pt x="5008" y="15514"/>
                  <a:pt x="4978" y="15514"/>
                </a:cubicBezTo>
                <a:close/>
                <a:moveTo>
                  <a:pt x="4978" y="15187"/>
                </a:moveTo>
                <a:cubicBezTo>
                  <a:pt x="4948" y="15187"/>
                  <a:pt x="4924" y="15238"/>
                  <a:pt x="4924" y="15300"/>
                </a:cubicBezTo>
                <a:cubicBezTo>
                  <a:pt x="4924" y="15363"/>
                  <a:pt x="4948" y="15413"/>
                  <a:pt x="4978" y="15413"/>
                </a:cubicBezTo>
                <a:cubicBezTo>
                  <a:pt x="5008" y="15413"/>
                  <a:pt x="5032" y="15363"/>
                  <a:pt x="5032" y="15300"/>
                </a:cubicBezTo>
                <a:cubicBezTo>
                  <a:pt x="5032" y="15238"/>
                  <a:pt x="5008" y="15187"/>
                  <a:pt x="4978" y="15187"/>
                </a:cubicBezTo>
                <a:close/>
                <a:moveTo>
                  <a:pt x="5593" y="14877"/>
                </a:moveTo>
                <a:cubicBezTo>
                  <a:pt x="5563" y="14877"/>
                  <a:pt x="5539" y="14928"/>
                  <a:pt x="5539" y="14990"/>
                </a:cubicBezTo>
                <a:cubicBezTo>
                  <a:pt x="5539" y="15053"/>
                  <a:pt x="5563" y="15103"/>
                  <a:pt x="5593" y="15103"/>
                </a:cubicBezTo>
                <a:cubicBezTo>
                  <a:pt x="5622" y="15103"/>
                  <a:pt x="5646" y="15053"/>
                  <a:pt x="5646" y="14990"/>
                </a:cubicBezTo>
                <a:cubicBezTo>
                  <a:pt x="5646" y="14928"/>
                  <a:pt x="5622" y="14877"/>
                  <a:pt x="5593" y="14877"/>
                </a:cubicBezTo>
                <a:close/>
                <a:moveTo>
                  <a:pt x="5593" y="14550"/>
                </a:moveTo>
                <a:cubicBezTo>
                  <a:pt x="5563" y="14550"/>
                  <a:pt x="5539" y="14601"/>
                  <a:pt x="5539" y="14663"/>
                </a:cubicBezTo>
                <a:cubicBezTo>
                  <a:pt x="5539" y="14726"/>
                  <a:pt x="5563" y="14777"/>
                  <a:pt x="5593" y="14777"/>
                </a:cubicBezTo>
                <a:cubicBezTo>
                  <a:pt x="5622" y="14777"/>
                  <a:pt x="5646" y="14726"/>
                  <a:pt x="5646" y="14663"/>
                </a:cubicBezTo>
                <a:cubicBezTo>
                  <a:pt x="5646" y="14601"/>
                  <a:pt x="5622" y="14550"/>
                  <a:pt x="5593" y="14550"/>
                </a:cubicBezTo>
                <a:close/>
                <a:moveTo>
                  <a:pt x="5440" y="14877"/>
                </a:moveTo>
                <a:cubicBezTo>
                  <a:pt x="5410" y="14877"/>
                  <a:pt x="5386" y="14928"/>
                  <a:pt x="5386" y="14990"/>
                </a:cubicBezTo>
                <a:cubicBezTo>
                  <a:pt x="5386" y="15053"/>
                  <a:pt x="5410" y="15103"/>
                  <a:pt x="5440" y="15103"/>
                </a:cubicBezTo>
                <a:cubicBezTo>
                  <a:pt x="5470" y="15103"/>
                  <a:pt x="5494" y="15053"/>
                  <a:pt x="5494" y="14990"/>
                </a:cubicBezTo>
                <a:cubicBezTo>
                  <a:pt x="5494" y="14928"/>
                  <a:pt x="5470" y="14877"/>
                  <a:pt x="5440" y="14877"/>
                </a:cubicBezTo>
                <a:close/>
                <a:moveTo>
                  <a:pt x="5440" y="14550"/>
                </a:moveTo>
                <a:cubicBezTo>
                  <a:pt x="5410" y="14550"/>
                  <a:pt x="5386" y="14601"/>
                  <a:pt x="5386" y="14663"/>
                </a:cubicBezTo>
                <a:cubicBezTo>
                  <a:pt x="5386" y="14726"/>
                  <a:pt x="5410" y="14777"/>
                  <a:pt x="5440" y="14777"/>
                </a:cubicBezTo>
                <a:cubicBezTo>
                  <a:pt x="5470" y="14777"/>
                  <a:pt x="5494" y="14726"/>
                  <a:pt x="5494" y="14663"/>
                </a:cubicBezTo>
                <a:cubicBezTo>
                  <a:pt x="5494" y="14601"/>
                  <a:pt x="5470" y="14550"/>
                  <a:pt x="5440" y="14550"/>
                </a:cubicBezTo>
                <a:close/>
                <a:moveTo>
                  <a:pt x="5285" y="14877"/>
                </a:moveTo>
                <a:cubicBezTo>
                  <a:pt x="5255" y="14877"/>
                  <a:pt x="5231" y="14928"/>
                  <a:pt x="5231" y="14990"/>
                </a:cubicBezTo>
                <a:cubicBezTo>
                  <a:pt x="5231" y="15053"/>
                  <a:pt x="5255" y="15103"/>
                  <a:pt x="5285" y="15103"/>
                </a:cubicBezTo>
                <a:cubicBezTo>
                  <a:pt x="5314" y="15103"/>
                  <a:pt x="5338" y="15053"/>
                  <a:pt x="5338" y="14990"/>
                </a:cubicBezTo>
                <a:cubicBezTo>
                  <a:pt x="5338" y="14928"/>
                  <a:pt x="5314" y="14877"/>
                  <a:pt x="5285" y="14877"/>
                </a:cubicBezTo>
                <a:close/>
                <a:moveTo>
                  <a:pt x="5285" y="14550"/>
                </a:moveTo>
                <a:cubicBezTo>
                  <a:pt x="5255" y="14550"/>
                  <a:pt x="5231" y="14601"/>
                  <a:pt x="5231" y="14663"/>
                </a:cubicBezTo>
                <a:cubicBezTo>
                  <a:pt x="5231" y="14726"/>
                  <a:pt x="5255" y="14777"/>
                  <a:pt x="5285" y="14777"/>
                </a:cubicBezTo>
                <a:cubicBezTo>
                  <a:pt x="5314" y="14777"/>
                  <a:pt x="5338" y="14726"/>
                  <a:pt x="5338" y="14663"/>
                </a:cubicBezTo>
                <a:cubicBezTo>
                  <a:pt x="5338" y="14601"/>
                  <a:pt x="5314" y="14550"/>
                  <a:pt x="5285" y="14550"/>
                </a:cubicBezTo>
                <a:close/>
                <a:moveTo>
                  <a:pt x="5131" y="14877"/>
                </a:moveTo>
                <a:cubicBezTo>
                  <a:pt x="5101" y="14877"/>
                  <a:pt x="5077" y="14928"/>
                  <a:pt x="5077" y="14990"/>
                </a:cubicBezTo>
                <a:cubicBezTo>
                  <a:pt x="5077" y="15053"/>
                  <a:pt x="5101" y="15103"/>
                  <a:pt x="5131" y="15103"/>
                </a:cubicBezTo>
                <a:cubicBezTo>
                  <a:pt x="5160" y="15103"/>
                  <a:pt x="5184" y="15053"/>
                  <a:pt x="5184" y="14990"/>
                </a:cubicBezTo>
                <a:cubicBezTo>
                  <a:pt x="5184" y="14928"/>
                  <a:pt x="5160" y="14877"/>
                  <a:pt x="5131" y="14877"/>
                </a:cubicBezTo>
                <a:close/>
                <a:moveTo>
                  <a:pt x="5131" y="14550"/>
                </a:moveTo>
                <a:cubicBezTo>
                  <a:pt x="5101" y="14550"/>
                  <a:pt x="5077" y="14601"/>
                  <a:pt x="5077" y="14663"/>
                </a:cubicBezTo>
                <a:cubicBezTo>
                  <a:pt x="5077" y="14726"/>
                  <a:pt x="5101" y="14777"/>
                  <a:pt x="5131" y="14777"/>
                </a:cubicBezTo>
                <a:cubicBezTo>
                  <a:pt x="5160" y="14777"/>
                  <a:pt x="5184" y="14726"/>
                  <a:pt x="5184" y="14663"/>
                </a:cubicBezTo>
                <a:cubicBezTo>
                  <a:pt x="5184" y="14601"/>
                  <a:pt x="5160" y="14550"/>
                  <a:pt x="5131" y="14550"/>
                </a:cubicBezTo>
                <a:close/>
                <a:moveTo>
                  <a:pt x="4978" y="14877"/>
                </a:moveTo>
                <a:cubicBezTo>
                  <a:pt x="4948" y="14877"/>
                  <a:pt x="4924" y="14928"/>
                  <a:pt x="4924" y="14990"/>
                </a:cubicBezTo>
                <a:cubicBezTo>
                  <a:pt x="4924" y="15053"/>
                  <a:pt x="4948" y="15103"/>
                  <a:pt x="4978" y="15103"/>
                </a:cubicBezTo>
                <a:cubicBezTo>
                  <a:pt x="5008" y="15103"/>
                  <a:pt x="5032" y="15053"/>
                  <a:pt x="5032" y="14990"/>
                </a:cubicBezTo>
                <a:cubicBezTo>
                  <a:pt x="5032" y="14928"/>
                  <a:pt x="5008" y="14877"/>
                  <a:pt x="4978" y="14877"/>
                </a:cubicBezTo>
                <a:close/>
                <a:moveTo>
                  <a:pt x="4978" y="14550"/>
                </a:moveTo>
                <a:cubicBezTo>
                  <a:pt x="4948" y="14550"/>
                  <a:pt x="4924" y="14601"/>
                  <a:pt x="4924" y="14663"/>
                </a:cubicBezTo>
                <a:cubicBezTo>
                  <a:pt x="4924" y="14726"/>
                  <a:pt x="4948" y="14777"/>
                  <a:pt x="4978" y="14777"/>
                </a:cubicBezTo>
                <a:cubicBezTo>
                  <a:pt x="5008" y="14777"/>
                  <a:pt x="5032" y="14726"/>
                  <a:pt x="5032" y="14663"/>
                </a:cubicBezTo>
                <a:cubicBezTo>
                  <a:pt x="5032" y="14601"/>
                  <a:pt x="5008" y="14550"/>
                  <a:pt x="4978" y="14550"/>
                </a:cubicBezTo>
                <a:close/>
                <a:moveTo>
                  <a:pt x="5593" y="14223"/>
                </a:moveTo>
                <a:cubicBezTo>
                  <a:pt x="5563" y="14223"/>
                  <a:pt x="5539" y="14274"/>
                  <a:pt x="5539" y="14337"/>
                </a:cubicBezTo>
                <a:cubicBezTo>
                  <a:pt x="5539" y="14399"/>
                  <a:pt x="5563" y="14450"/>
                  <a:pt x="5593" y="14450"/>
                </a:cubicBezTo>
                <a:cubicBezTo>
                  <a:pt x="5622" y="14450"/>
                  <a:pt x="5646" y="14399"/>
                  <a:pt x="5646" y="14337"/>
                </a:cubicBezTo>
                <a:cubicBezTo>
                  <a:pt x="5646" y="14274"/>
                  <a:pt x="5622" y="14223"/>
                  <a:pt x="5593" y="14223"/>
                </a:cubicBezTo>
                <a:close/>
                <a:moveTo>
                  <a:pt x="5593" y="13897"/>
                </a:moveTo>
                <a:cubicBezTo>
                  <a:pt x="5563" y="13897"/>
                  <a:pt x="5539" y="13947"/>
                  <a:pt x="5539" y="14010"/>
                </a:cubicBezTo>
                <a:cubicBezTo>
                  <a:pt x="5539" y="14072"/>
                  <a:pt x="5563" y="14123"/>
                  <a:pt x="5593" y="14123"/>
                </a:cubicBezTo>
                <a:cubicBezTo>
                  <a:pt x="5622" y="14123"/>
                  <a:pt x="5646" y="14072"/>
                  <a:pt x="5646" y="14010"/>
                </a:cubicBezTo>
                <a:cubicBezTo>
                  <a:pt x="5646" y="13947"/>
                  <a:pt x="5622" y="13897"/>
                  <a:pt x="5593" y="13897"/>
                </a:cubicBezTo>
                <a:close/>
                <a:moveTo>
                  <a:pt x="5440" y="14223"/>
                </a:moveTo>
                <a:cubicBezTo>
                  <a:pt x="5410" y="14223"/>
                  <a:pt x="5386" y="14274"/>
                  <a:pt x="5386" y="14337"/>
                </a:cubicBezTo>
                <a:cubicBezTo>
                  <a:pt x="5386" y="14399"/>
                  <a:pt x="5410" y="14450"/>
                  <a:pt x="5440" y="14450"/>
                </a:cubicBezTo>
                <a:cubicBezTo>
                  <a:pt x="5470" y="14450"/>
                  <a:pt x="5494" y="14399"/>
                  <a:pt x="5494" y="14337"/>
                </a:cubicBezTo>
                <a:cubicBezTo>
                  <a:pt x="5494" y="14274"/>
                  <a:pt x="5470" y="14223"/>
                  <a:pt x="5440" y="14223"/>
                </a:cubicBezTo>
                <a:close/>
                <a:moveTo>
                  <a:pt x="5440" y="13897"/>
                </a:moveTo>
                <a:cubicBezTo>
                  <a:pt x="5410" y="13897"/>
                  <a:pt x="5386" y="13947"/>
                  <a:pt x="5386" y="14010"/>
                </a:cubicBezTo>
                <a:cubicBezTo>
                  <a:pt x="5386" y="14072"/>
                  <a:pt x="5410" y="14123"/>
                  <a:pt x="5440" y="14123"/>
                </a:cubicBezTo>
                <a:cubicBezTo>
                  <a:pt x="5470" y="14123"/>
                  <a:pt x="5494" y="14072"/>
                  <a:pt x="5494" y="14010"/>
                </a:cubicBezTo>
                <a:cubicBezTo>
                  <a:pt x="5494" y="13947"/>
                  <a:pt x="5470" y="13897"/>
                  <a:pt x="5440" y="13897"/>
                </a:cubicBezTo>
                <a:close/>
                <a:moveTo>
                  <a:pt x="5285" y="14223"/>
                </a:moveTo>
                <a:cubicBezTo>
                  <a:pt x="5255" y="14223"/>
                  <a:pt x="5231" y="14274"/>
                  <a:pt x="5231" y="14337"/>
                </a:cubicBezTo>
                <a:cubicBezTo>
                  <a:pt x="5231" y="14399"/>
                  <a:pt x="5255" y="14450"/>
                  <a:pt x="5285" y="14450"/>
                </a:cubicBezTo>
                <a:cubicBezTo>
                  <a:pt x="5314" y="14450"/>
                  <a:pt x="5338" y="14399"/>
                  <a:pt x="5338" y="14337"/>
                </a:cubicBezTo>
                <a:cubicBezTo>
                  <a:pt x="5338" y="14274"/>
                  <a:pt x="5314" y="14223"/>
                  <a:pt x="5285" y="14223"/>
                </a:cubicBezTo>
                <a:close/>
                <a:moveTo>
                  <a:pt x="5285" y="13897"/>
                </a:moveTo>
                <a:cubicBezTo>
                  <a:pt x="5255" y="13897"/>
                  <a:pt x="5231" y="13947"/>
                  <a:pt x="5231" y="14010"/>
                </a:cubicBezTo>
                <a:cubicBezTo>
                  <a:pt x="5231" y="14072"/>
                  <a:pt x="5255" y="14123"/>
                  <a:pt x="5285" y="14123"/>
                </a:cubicBezTo>
                <a:cubicBezTo>
                  <a:pt x="5314" y="14123"/>
                  <a:pt x="5338" y="14072"/>
                  <a:pt x="5338" y="14010"/>
                </a:cubicBezTo>
                <a:cubicBezTo>
                  <a:pt x="5338" y="13947"/>
                  <a:pt x="5314" y="13897"/>
                  <a:pt x="5285" y="13897"/>
                </a:cubicBezTo>
                <a:close/>
                <a:moveTo>
                  <a:pt x="5131" y="14223"/>
                </a:moveTo>
                <a:cubicBezTo>
                  <a:pt x="5101" y="14223"/>
                  <a:pt x="5077" y="14274"/>
                  <a:pt x="5077" y="14337"/>
                </a:cubicBezTo>
                <a:cubicBezTo>
                  <a:pt x="5077" y="14399"/>
                  <a:pt x="5101" y="14450"/>
                  <a:pt x="5131" y="14450"/>
                </a:cubicBezTo>
                <a:cubicBezTo>
                  <a:pt x="5160" y="14450"/>
                  <a:pt x="5184" y="14399"/>
                  <a:pt x="5184" y="14337"/>
                </a:cubicBezTo>
                <a:cubicBezTo>
                  <a:pt x="5184" y="14274"/>
                  <a:pt x="5160" y="14223"/>
                  <a:pt x="5131" y="14223"/>
                </a:cubicBezTo>
                <a:close/>
                <a:moveTo>
                  <a:pt x="5131" y="13897"/>
                </a:moveTo>
                <a:cubicBezTo>
                  <a:pt x="5101" y="13897"/>
                  <a:pt x="5077" y="13947"/>
                  <a:pt x="5077" y="14010"/>
                </a:cubicBezTo>
                <a:cubicBezTo>
                  <a:pt x="5077" y="14072"/>
                  <a:pt x="5101" y="14123"/>
                  <a:pt x="5131" y="14123"/>
                </a:cubicBezTo>
                <a:cubicBezTo>
                  <a:pt x="5160" y="14123"/>
                  <a:pt x="5184" y="14072"/>
                  <a:pt x="5184" y="14010"/>
                </a:cubicBezTo>
                <a:cubicBezTo>
                  <a:pt x="5184" y="13947"/>
                  <a:pt x="5160" y="13897"/>
                  <a:pt x="5131" y="13897"/>
                </a:cubicBezTo>
                <a:close/>
                <a:moveTo>
                  <a:pt x="4978" y="14223"/>
                </a:moveTo>
                <a:cubicBezTo>
                  <a:pt x="4948" y="14223"/>
                  <a:pt x="4924" y="14274"/>
                  <a:pt x="4924" y="14337"/>
                </a:cubicBezTo>
                <a:cubicBezTo>
                  <a:pt x="4924" y="14399"/>
                  <a:pt x="4948" y="14450"/>
                  <a:pt x="4978" y="14450"/>
                </a:cubicBezTo>
                <a:cubicBezTo>
                  <a:pt x="5008" y="14450"/>
                  <a:pt x="5032" y="14399"/>
                  <a:pt x="5032" y="14337"/>
                </a:cubicBezTo>
                <a:cubicBezTo>
                  <a:pt x="5032" y="14274"/>
                  <a:pt x="5008" y="14223"/>
                  <a:pt x="4978" y="14223"/>
                </a:cubicBezTo>
                <a:close/>
                <a:moveTo>
                  <a:pt x="4978" y="13897"/>
                </a:moveTo>
                <a:cubicBezTo>
                  <a:pt x="4948" y="13897"/>
                  <a:pt x="4924" y="13947"/>
                  <a:pt x="4924" y="14010"/>
                </a:cubicBezTo>
                <a:cubicBezTo>
                  <a:pt x="4924" y="14072"/>
                  <a:pt x="4948" y="14123"/>
                  <a:pt x="4978" y="14123"/>
                </a:cubicBezTo>
                <a:cubicBezTo>
                  <a:pt x="5008" y="14123"/>
                  <a:pt x="5032" y="14072"/>
                  <a:pt x="5032" y="14010"/>
                </a:cubicBezTo>
                <a:cubicBezTo>
                  <a:pt x="5032" y="13947"/>
                  <a:pt x="5008" y="13897"/>
                  <a:pt x="4978" y="13897"/>
                </a:cubicBezTo>
                <a:close/>
                <a:moveTo>
                  <a:pt x="10350" y="18134"/>
                </a:moveTo>
                <a:cubicBezTo>
                  <a:pt x="10320" y="18134"/>
                  <a:pt x="10296" y="18185"/>
                  <a:pt x="10296" y="18248"/>
                </a:cubicBezTo>
                <a:cubicBezTo>
                  <a:pt x="10296" y="18310"/>
                  <a:pt x="10320" y="18361"/>
                  <a:pt x="10350" y="18361"/>
                </a:cubicBezTo>
                <a:cubicBezTo>
                  <a:pt x="10380" y="18361"/>
                  <a:pt x="10404" y="18310"/>
                  <a:pt x="10404" y="18248"/>
                </a:cubicBezTo>
                <a:cubicBezTo>
                  <a:pt x="10404" y="18185"/>
                  <a:pt x="10380" y="18134"/>
                  <a:pt x="10350" y="18134"/>
                </a:cubicBezTo>
                <a:close/>
                <a:moveTo>
                  <a:pt x="10350" y="17808"/>
                </a:moveTo>
                <a:cubicBezTo>
                  <a:pt x="10320" y="17808"/>
                  <a:pt x="10296" y="17858"/>
                  <a:pt x="10296" y="17921"/>
                </a:cubicBezTo>
                <a:cubicBezTo>
                  <a:pt x="10296" y="17983"/>
                  <a:pt x="10320" y="18034"/>
                  <a:pt x="10350" y="18034"/>
                </a:cubicBezTo>
                <a:cubicBezTo>
                  <a:pt x="10380" y="18034"/>
                  <a:pt x="10404" y="17983"/>
                  <a:pt x="10404" y="17921"/>
                </a:cubicBezTo>
                <a:cubicBezTo>
                  <a:pt x="10404" y="17858"/>
                  <a:pt x="10380" y="17808"/>
                  <a:pt x="10350" y="17808"/>
                </a:cubicBezTo>
                <a:close/>
                <a:moveTo>
                  <a:pt x="10350" y="17481"/>
                </a:moveTo>
                <a:cubicBezTo>
                  <a:pt x="10320" y="17481"/>
                  <a:pt x="10296" y="17531"/>
                  <a:pt x="10296" y="17594"/>
                </a:cubicBezTo>
                <a:cubicBezTo>
                  <a:pt x="10296" y="17656"/>
                  <a:pt x="10320" y="17707"/>
                  <a:pt x="10350" y="17707"/>
                </a:cubicBezTo>
                <a:cubicBezTo>
                  <a:pt x="10380" y="17707"/>
                  <a:pt x="10404" y="17656"/>
                  <a:pt x="10404" y="17594"/>
                </a:cubicBezTo>
                <a:cubicBezTo>
                  <a:pt x="10404" y="17531"/>
                  <a:pt x="10380" y="17481"/>
                  <a:pt x="10350" y="17481"/>
                </a:cubicBezTo>
                <a:close/>
                <a:moveTo>
                  <a:pt x="10808" y="18134"/>
                </a:moveTo>
                <a:cubicBezTo>
                  <a:pt x="10778" y="18134"/>
                  <a:pt x="10754" y="18185"/>
                  <a:pt x="10754" y="18248"/>
                </a:cubicBezTo>
                <a:cubicBezTo>
                  <a:pt x="10754" y="18310"/>
                  <a:pt x="10778" y="18361"/>
                  <a:pt x="10808" y="18361"/>
                </a:cubicBezTo>
                <a:cubicBezTo>
                  <a:pt x="10838" y="18361"/>
                  <a:pt x="10862" y="18310"/>
                  <a:pt x="10862" y="18248"/>
                </a:cubicBezTo>
                <a:cubicBezTo>
                  <a:pt x="10862" y="18185"/>
                  <a:pt x="10838" y="18134"/>
                  <a:pt x="10808" y="18134"/>
                </a:cubicBezTo>
                <a:close/>
                <a:moveTo>
                  <a:pt x="10654" y="18134"/>
                </a:moveTo>
                <a:cubicBezTo>
                  <a:pt x="10624" y="18134"/>
                  <a:pt x="10600" y="18185"/>
                  <a:pt x="10600" y="18248"/>
                </a:cubicBezTo>
                <a:cubicBezTo>
                  <a:pt x="10600" y="18310"/>
                  <a:pt x="10624" y="18361"/>
                  <a:pt x="10654" y="18361"/>
                </a:cubicBezTo>
                <a:cubicBezTo>
                  <a:pt x="10684" y="18361"/>
                  <a:pt x="10708" y="18310"/>
                  <a:pt x="10708" y="18248"/>
                </a:cubicBezTo>
                <a:cubicBezTo>
                  <a:pt x="10708" y="18185"/>
                  <a:pt x="10684" y="18134"/>
                  <a:pt x="10654" y="18134"/>
                </a:cubicBezTo>
                <a:close/>
                <a:moveTo>
                  <a:pt x="10501" y="18134"/>
                </a:moveTo>
                <a:cubicBezTo>
                  <a:pt x="10472" y="18134"/>
                  <a:pt x="10448" y="18185"/>
                  <a:pt x="10448" y="18248"/>
                </a:cubicBezTo>
                <a:cubicBezTo>
                  <a:pt x="10448" y="18310"/>
                  <a:pt x="10472" y="18361"/>
                  <a:pt x="10501" y="18361"/>
                </a:cubicBezTo>
                <a:cubicBezTo>
                  <a:pt x="10531" y="18361"/>
                  <a:pt x="10555" y="18310"/>
                  <a:pt x="10555" y="18248"/>
                </a:cubicBezTo>
                <a:cubicBezTo>
                  <a:pt x="10555" y="18185"/>
                  <a:pt x="10531" y="18134"/>
                  <a:pt x="10501" y="18134"/>
                </a:cubicBezTo>
                <a:close/>
                <a:moveTo>
                  <a:pt x="10808" y="17808"/>
                </a:moveTo>
                <a:cubicBezTo>
                  <a:pt x="10778" y="17808"/>
                  <a:pt x="10754" y="17858"/>
                  <a:pt x="10754" y="17921"/>
                </a:cubicBezTo>
                <a:cubicBezTo>
                  <a:pt x="10754" y="17983"/>
                  <a:pt x="10778" y="18034"/>
                  <a:pt x="10808" y="18034"/>
                </a:cubicBezTo>
                <a:cubicBezTo>
                  <a:pt x="10838" y="18034"/>
                  <a:pt x="10862" y="17983"/>
                  <a:pt x="10862" y="17921"/>
                </a:cubicBezTo>
                <a:cubicBezTo>
                  <a:pt x="10862" y="17858"/>
                  <a:pt x="10838" y="17808"/>
                  <a:pt x="10808" y="17808"/>
                </a:cubicBezTo>
                <a:close/>
                <a:moveTo>
                  <a:pt x="10808" y="17481"/>
                </a:moveTo>
                <a:cubicBezTo>
                  <a:pt x="10778" y="17481"/>
                  <a:pt x="10754" y="17531"/>
                  <a:pt x="10754" y="17594"/>
                </a:cubicBezTo>
                <a:cubicBezTo>
                  <a:pt x="10754" y="17656"/>
                  <a:pt x="10778" y="17707"/>
                  <a:pt x="10808" y="17707"/>
                </a:cubicBezTo>
                <a:cubicBezTo>
                  <a:pt x="10838" y="17707"/>
                  <a:pt x="10862" y="17656"/>
                  <a:pt x="10862" y="17594"/>
                </a:cubicBezTo>
                <a:cubicBezTo>
                  <a:pt x="10862" y="17531"/>
                  <a:pt x="10838" y="17481"/>
                  <a:pt x="10808" y="17481"/>
                </a:cubicBezTo>
                <a:close/>
                <a:moveTo>
                  <a:pt x="10654" y="17808"/>
                </a:moveTo>
                <a:cubicBezTo>
                  <a:pt x="10624" y="17808"/>
                  <a:pt x="10600" y="17858"/>
                  <a:pt x="10600" y="17921"/>
                </a:cubicBezTo>
                <a:cubicBezTo>
                  <a:pt x="10600" y="17983"/>
                  <a:pt x="10624" y="18034"/>
                  <a:pt x="10654" y="18034"/>
                </a:cubicBezTo>
                <a:cubicBezTo>
                  <a:pt x="10684" y="18034"/>
                  <a:pt x="10708" y="17983"/>
                  <a:pt x="10708" y="17921"/>
                </a:cubicBezTo>
                <a:cubicBezTo>
                  <a:pt x="10708" y="17858"/>
                  <a:pt x="10684" y="17808"/>
                  <a:pt x="10654" y="17808"/>
                </a:cubicBezTo>
                <a:close/>
                <a:moveTo>
                  <a:pt x="10654" y="17481"/>
                </a:moveTo>
                <a:cubicBezTo>
                  <a:pt x="10624" y="17481"/>
                  <a:pt x="10600" y="17531"/>
                  <a:pt x="10600" y="17594"/>
                </a:cubicBezTo>
                <a:cubicBezTo>
                  <a:pt x="10600" y="17656"/>
                  <a:pt x="10624" y="17707"/>
                  <a:pt x="10654" y="17707"/>
                </a:cubicBezTo>
                <a:cubicBezTo>
                  <a:pt x="10684" y="17707"/>
                  <a:pt x="10708" y="17656"/>
                  <a:pt x="10708" y="17594"/>
                </a:cubicBezTo>
                <a:cubicBezTo>
                  <a:pt x="10708" y="17531"/>
                  <a:pt x="10684" y="17481"/>
                  <a:pt x="10654" y="17481"/>
                </a:cubicBezTo>
                <a:close/>
                <a:moveTo>
                  <a:pt x="10501" y="17808"/>
                </a:moveTo>
                <a:cubicBezTo>
                  <a:pt x="10472" y="17808"/>
                  <a:pt x="10448" y="17858"/>
                  <a:pt x="10448" y="17921"/>
                </a:cubicBezTo>
                <a:cubicBezTo>
                  <a:pt x="10448" y="17983"/>
                  <a:pt x="10472" y="18034"/>
                  <a:pt x="10501" y="18034"/>
                </a:cubicBezTo>
                <a:cubicBezTo>
                  <a:pt x="10531" y="18034"/>
                  <a:pt x="10555" y="17983"/>
                  <a:pt x="10555" y="17921"/>
                </a:cubicBezTo>
                <a:cubicBezTo>
                  <a:pt x="10555" y="17858"/>
                  <a:pt x="10531" y="17808"/>
                  <a:pt x="10501" y="17808"/>
                </a:cubicBezTo>
                <a:close/>
                <a:moveTo>
                  <a:pt x="10501" y="17481"/>
                </a:moveTo>
                <a:cubicBezTo>
                  <a:pt x="10472" y="17481"/>
                  <a:pt x="10448" y="17531"/>
                  <a:pt x="10448" y="17594"/>
                </a:cubicBezTo>
                <a:cubicBezTo>
                  <a:pt x="10448" y="17656"/>
                  <a:pt x="10472" y="17707"/>
                  <a:pt x="10501" y="17707"/>
                </a:cubicBezTo>
                <a:cubicBezTo>
                  <a:pt x="10531" y="17707"/>
                  <a:pt x="10555" y="17656"/>
                  <a:pt x="10555" y="17594"/>
                </a:cubicBezTo>
                <a:cubicBezTo>
                  <a:pt x="10555" y="17531"/>
                  <a:pt x="10531" y="17481"/>
                  <a:pt x="10501" y="17481"/>
                </a:cubicBezTo>
                <a:close/>
                <a:moveTo>
                  <a:pt x="11119" y="17481"/>
                </a:moveTo>
                <a:cubicBezTo>
                  <a:pt x="11089" y="17481"/>
                  <a:pt x="11065" y="17531"/>
                  <a:pt x="11065" y="17594"/>
                </a:cubicBezTo>
                <a:cubicBezTo>
                  <a:pt x="11065" y="17656"/>
                  <a:pt x="11089" y="17707"/>
                  <a:pt x="11119" y="17707"/>
                </a:cubicBezTo>
                <a:cubicBezTo>
                  <a:pt x="11149" y="17707"/>
                  <a:pt x="11173" y="17656"/>
                  <a:pt x="11173" y="17594"/>
                </a:cubicBezTo>
                <a:cubicBezTo>
                  <a:pt x="11173" y="17531"/>
                  <a:pt x="11149" y="17481"/>
                  <a:pt x="11119" y="17481"/>
                </a:cubicBezTo>
                <a:close/>
                <a:moveTo>
                  <a:pt x="10967" y="17808"/>
                </a:moveTo>
                <a:cubicBezTo>
                  <a:pt x="10937" y="17808"/>
                  <a:pt x="10913" y="17858"/>
                  <a:pt x="10913" y="17921"/>
                </a:cubicBezTo>
                <a:cubicBezTo>
                  <a:pt x="10913" y="17983"/>
                  <a:pt x="10937" y="18034"/>
                  <a:pt x="10967" y="18034"/>
                </a:cubicBezTo>
                <a:cubicBezTo>
                  <a:pt x="10996" y="18034"/>
                  <a:pt x="11020" y="17983"/>
                  <a:pt x="11020" y="17921"/>
                </a:cubicBezTo>
                <a:cubicBezTo>
                  <a:pt x="11020" y="17858"/>
                  <a:pt x="10996" y="17808"/>
                  <a:pt x="10967" y="17808"/>
                </a:cubicBezTo>
                <a:close/>
                <a:moveTo>
                  <a:pt x="10967" y="17481"/>
                </a:moveTo>
                <a:cubicBezTo>
                  <a:pt x="10937" y="17481"/>
                  <a:pt x="10913" y="17531"/>
                  <a:pt x="10913" y="17594"/>
                </a:cubicBezTo>
                <a:cubicBezTo>
                  <a:pt x="10913" y="17656"/>
                  <a:pt x="10937" y="17707"/>
                  <a:pt x="10967" y="17707"/>
                </a:cubicBezTo>
                <a:cubicBezTo>
                  <a:pt x="10996" y="17707"/>
                  <a:pt x="11020" y="17656"/>
                  <a:pt x="11020" y="17594"/>
                </a:cubicBezTo>
                <a:cubicBezTo>
                  <a:pt x="11020" y="17531"/>
                  <a:pt x="10996" y="17481"/>
                  <a:pt x="10967" y="17481"/>
                </a:cubicBezTo>
                <a:close/>
                <a:moveTo>
                  <a:pt x="10350" y="17177"/>
                </a:moveTo>
                <a:cubicBezTo>
                  <a:pt x="10320" y="17177"/>
                  <a:pt x="10296" y="17227"/>
                  <a:pt x="10296" y="17290"/>
                </a:cubicBezTo>
                <a:cubicBezTo>
                  <a:pt x="10296" y="17352"/>
                  <a:pt x="10320" y="17403"/>
                  <a:pt x="10350" y="17403"/>
                </a:cubicBezTo>
                <a:cubicBezTo>
                  <a:pt x="10380" y="17403"/>
                  <a:pt x="10404" y="17352"/>
                  <a:pt x="10404" y="17290"/>
                </a:cubicBezTo>
                <a:cubicBezTo>
                  <a:pt x="10404" y="17227"/>
                  <a:pt x="10380" y="17177"/>
                  <a:pt x="10350" y="17177"/>
                </a:cubicBezTo>
                <a:close/>
                <a:moveTo>
                  <a:pt x="10350" y="16850"/>
                </a:moveTo>
                <a:cubicBezTo>
                  <a:pt x="10320" y="16850"/>
                  <a:pt x="10296" y="16900"/>
                  <a:pt x="10296" y="16963"/>
                </a:cubicBezTo>
                <a:cubicBezTo>
                  <a:pt x="10296" y="17025"/>
                  <a:pt x="10320" y="17076"/>
                  <a:pt x="10350" y="17076"/>
                </a:cubicBezTo>
                <a:cubicBezTo>
                  <a:pt x="10380" y="17076"/>
                  <a:pt x="10404" y="17025"/>
                  <a:pt x="10404" y="16963"/>
                </a:cubicBezTo>
                <a:cubicBezTo>
                  <a:pt x="10404" y="16900"/>
                  <a:pt x="10380" y="16850"/>
                  <a:pt x="10350" y="16850"/>
                </a:cubicBezTo>
                <a:close/>
                <a:moveTo>
                  <a:pt x="10196" y="17177"/>
                </a:moveTo>
                <a:cubicBezTo>
                  <a:pt x="10166" y="17177"/>
                  <a:pt x="10142" y="17227"/>
                  <a:pt x="10142" y="17290"/>
                </a:cubicBezTo>
                <a:cubicBezTo>
                  <a:pt x="10142" y="17352"/>
                  <a:pt x="10166" y="17403"/>
                  <a:pt x="10196" y="17403"/>
                </a:cubicBezTo>
                <a:cubicBezTo>
                  <a:pt x="10226" y="17403"/>
                  <a:pt x="10250" y="17352"/>
                  <a:pt x="10250" y="17290"/>
                </a:cubicBezTo>
                <a:cubicBezTo>
                  <a:pt x="10250" y="17227"/>
                  <a:pt x="10226" y="17177"/>
                  <a:pt x="10196" y="17177"/>
                </a:cubicBezTo>
                <a:close/>
                <a:moveTo>
                  <a:pt x="10196" y="16850"/>
                </a:moveTo>
                <a:cubicBezTo>
                  <a:pt x="10166" y="16850"/>
                  <a:pt x="10142" y="16900"/>
                  <a:pt x="10142" y="16963"/>
                </a:cubicBezTo>
                <a:cubicBezTo>
                  <a:pt x="10142" y="17025"/>
                  <a:pt x="10166" y="17076"/>
                  <a:pt x="10196" y="17076"/>
                </a:cubicBezTo>
                <a:cubicBezTo>
                  <a:pt x="10226" y="17076"/>
                  <a:pt x="10250" y="17025"/>
                  <a:pt x="10250" y="16963"/>
                </a:cubicBezTo>
                <a:cubicBezTo>
                  <a:pt x="10250" y="16900"/>
                  <a:pt x="10226" y="16850"/>
                  <a:pt x="10196" y="16850"/>
                </a:cubicBezTo>
                <a:close/>
                <a:moveTo>
                  <a:pt x="10350" y="16523"/>
                </a:moveTo>
                <a:cubicBezTo>
                  <a:pt x="10320" y="16523"/>
                  <a:pt x="10296" y="16574"/>
                  <a:pt x="10296" y="16636"/>
                </a:cubicBezTo>
                <a:cubicBezTo>
                  <a:pt x="10296" y="16699"/>
                  <a:pt x="10320" y="16749"/>
                  <a:pt x="10350" y="16749"/>
                </a:cubicBezTo>
                <a:cubicBezTo>
                  <a:pt x="10380" y="16749"/>
                  <a:pt x="10404" y="16699"/>
                  <a:pt x="10404" y="16636"/>
                </a:cubicBezTo>
                <a:cubicBezTo>
                  <a:pt x="10404" y="16574"/>
                  <a:pt x="10380" y="16523"/>
                  <a:pt x="10350" y="16523"/>
                </a:cubicBezTo>
                <a:close/>
                <a:moveTo>
                  <a:pt x="10350" y="16196"/>
                </a:moveTo>
                <a:cubicBezTo>
                  <a:pt x="10320" y="16196"/>
                  <a:pt x="10296" y="16247"/>
                  <a:pt x="10296" y="16309"/>
                </a:cubicBezTo>
                <a:cubicBezTo>
                  <a:pt x="10296" y="16372"/>
                  <a:pt x="10320" y="16422"/>
                  <a:pt x="10350" y="16422"/>
                </a:cubicBezTo>
                <a:cubicBezTo>
                  <a:pt x="10380" y="16422"/>
                  <a:pt x="10404" y="16372"/>
                  <a:pt x="10404" y="16309"/>
                </a:cubicBezTo>
                <a:cubicBezTo>
                  <a:pt x="10404" y="16247"/>
                  <a:pt x="10380" y="16196"/>
                  <a:pt x="10350" y="16196"/>
                </a:cubicBezTo>
                <a:close/>
                <a:moveTo>
                  <a:pt x="10196" y="16523"/>
                </a:moveTo>
                <a:cubicBezTo>
                  <a:pt x="10166" y="16523"/>
                  <a:pt x="10142" y="16574"/>
                  <a:pt x="10142" y="16636"/>
                </a:cubicBezTo>
                <a:cubicBezTo>
                  <a:pt x="10142" y="16699"/>
                  <a:pt x="10166" y="16749"/>
                  <a:pt x="10196" y="16749"/>
                </a:cubicBezTo>
                <a:cubicBezTo>
                  <a:pt x="10226" y="16749"/>
                  <a:pt x="10250" y="16699"/>
                  <a:pt x="10250" y="16636"/>
                </a:cubicBezTo>
                <a:cubicBezTo>
                  <a:pt x="10250" y="16574"/>
                  <a:pt x="10226" y="16523"/>
                  <a:pt x="10196" y="16523"/>
                </a:cubicBezTo>
                <a:close/>
                <a:moveTo>
                  <a:pt x="10196" y="16196"/>
                </a:moveTo>
                <a:cubicBezTo>
                  <a:pt x="10166" y="16196"/>
                  <a:pt x="10142" y="16247"/>
                  <a:pt x="10142" y="16309"/>
                </a:cubicBezTo>
                <a:cubicBezTo>
                  <a:pt x="10142" y="16372"/>
                  <a:pt x="10166" y="16422"/>
                  <a:pt x="10196" y="16422"/>
                </a:cubicBezTo>
                <a:cubicBezTo>
                  <a:pt x="10226" y="16422"/>
                  <a:pt x="10250" y="16372"/>
                  <a:pt x="10250" y="16309"/>
                </a:cubicBezTo>
                <a:cubicBezTo>
                  <a:pt x="10250" y="16247"/>
                  <a:pt x="10226" y="16196"/>
                  <a:pt x="10196" y="16196"/>
                </a:cubicBezTo>
                <a:close/>
                <a:moveTo>
                  <a:pt x="10350" y="15871"/>
                </a:moveTo>
                <a:cubicBezTo>
                  <a:pt x="10320" y="15871"/>
                  <a:pt x="10296" y="15922"/>
                  <a:pt x="10296" y="15985"/>
                </a:cubicBezTo>
                <a:cubicBezTo>
                  <a:pt x="10296" y="16047"/>
                  <a:pt x="10320" y="16098"/>
                  <a:pt x="10350" y="16098"/>
                </a:cubicBezTo>
                <a:cubicBezTo>
                  <a:pt x="10380" y="16098"/>
                  <a:pt x="10404" y="16047"/>
                  <a:pt x="10404" y="15985"/>
                </a:cubicBezTo>
                <a:cubicBezTo>
                  <a:pt x="10404" y="15922"/>
                  <a:pt x="10380" y="15871"/>
                  <a:pt x="10350" y="15871"/>
                </a:cubicBezTo>
                <a:close/>
                <a:moveTo>
                  <a:pt x="10350" y="15545"/>
                </a:moveTo>
                <a:cubicBezTo>
                  <a:pt x="10320" y="15545"/>
                  <a:pt x="10296" y="15595"/>
                  <a:pt x="10296" y="15658"/>
                </a:cubicBezTo>
                <a:cubicBezTo>
                  <a:pt x="10296" y="15720"/>
                  <a:pt x="10320" y="15771"/>
                  <a:pt x="10350" y="15771"/>
                </a:cubicBezTo>
                <a:cubicBezTo>
                  <a:pt x="10380" y="15771"/>
                  <a:pt x="10404" y="15720"/>
                  <a:pt x="10404" y="15658"/>
                </a:cubicBezTo>
                <a:cubicBezTo>
                  <a:pt x="10404" y="15595"/>
                  <a:pt x="10380" y="15545"/>
                  <a:pt x="10350" y="15545"/>
                </a:cubicBezTo>
                <a:close/>
                <a:moveTo>
                  <a:pt x="10196" y="15871"/>
                </a:moveTo>
                <a:cubicBezTo>
                  <a:pt x="10166" y="15871"/>
                  <a:pt x="10142" y="15922"/>
                  <a:pt x="10142" y="15985"/>
                </a:cubicBezTo>
                <a:cubicBezTo>
                  <a:pt x="10142" y="16047"/>
                  <a:pt x="10166" y="16098"/>
                  <a:pt x="10196" y="16098"/>
                </a:cubicBezTo>
                <a:cubicBezTo>
                  <a:pt x="10226" y="16098"/>
                  <a:pt x="10250" y="16047"/>
                  <a:pt x="10250" y="15985"/>
                </a:cubicBezTo>
                <a:cubicBezTo>
                  <a:pt x="10250" y="15922"/>
                  <a:pt x="10226" y="15871"/>
                  <a:pt x="10196" y="15871"/>
                </a:cubicBezTo>
                <a:close/>
                <a:moveTo>
                  <a:pt x="10196" y="15545"/>
                </a:moveTo>
                <a:cubicBezTo>
                  <a:pt x="10166" y="15545"/>
                  <a:pt x="10142" y="15595"/>
                  <a:pt x="10142" y="15658"/>
                </a:cubicBezTo>
                <a:cubicBezTo>
                  <a:pt x="10142" y="15720"/>
                  <a:pt x="10166" y="15771"/>
                  <a:pt x="10196" y="15771"/>
                </a:cubicBezTo>
                <a:cubicBezTo>
                  <a:pt x="10226" y="15771"/>
                  <a:pt x="10250" y="15720"/>
                  <a:pt x="10250" y="15658"/>
                </a:cubicBezTo>
                <a:cubicBezTo>
                  <a:pt x="10250" y="15595"/>
                  <a:pt x="10226" y="15545"/>
                  <a:pt x="10196" y="15545"/>
                </a:cubicBezTo>
                <a:close/>
                <a:moveTo>
                  <a:pt x="10043" y="15871"/>
                </a:moveTo>
                <a:cubicBezTo>
                  <a:pt x="10014" y="15871"/>
                  <a:pt x="9989" y="15922"/>
                  <a:pt x="9989" y="15985"/>
                </a:cubicBezTo>
                <a:cubicBezTo>
                  <a:pt x="9989" y="16047"/>
                  <a:pt x="10014" y="16098"/>
                  <a:pt x="10043" y="16098"/>
                </a:cubicBezTo>
                <a:cubicBezTo>
                  <a:pt x="10073" y="16098"/>
                  <a:pt x="10097" y="16047"/>
                  <a:pt x="10097" y="15985"/>
                </a:cubicBezTo>
                <a:cubicBezTo>
                  <a:pt x="10097" y="15922"/>
                  <a:pt x="10073" y="15871"/>
                  <a:pt x="10043" y="15871"/>
                </a:cubicBezTo>
                <a:close/>
                <a:moveTo>
                  <a:pt x="10043" y="15545"/>
                </a:moveTo>
                <a:cubicBezTo>
                  <a:pt x="10014" y="15545"/>
                  <a:pt x="9989" y="15595"/>
                  <a:pt x="9989" y="15658"/>
                </a:cubicBezTo>
                <a:cubicBezTo>
                  <a:pt x="9989" y="15720"/>
                  <a:pt x="10014" y="15771"/>
                  <a:pt x="10043" y="15771"/>
                </a:cubicBezTo>
                <a:cubicBezTo>
                  <a:pt x="10073" y="15771"/>
                  <a:pt x="10097" y="15720"/>
                  <a:pt x="10097" y="15658"/>
                </a:cubicBezTo>
                <a:cubicBezTo>
                  <a:pt x="10097" y="15595"/>
                  <a:pt x="10073" y="15545"/>
                  <a:pt x="10043" y="15545"/>
                </a:cubicBezTo>
                <a:close/>
                <a:moveTo>
                  <a:pt x="14648" y="11026"/>
                </a:moveTo>
                <a:cubicBezTo>
                  <a:pt x="14618" y="11026"/>
                  <a:pt x="14594" y="11077"/>
                  <a:pt x="14594" y="11140"/>
                </a:cubicBezTo>
                <a:cubicBezTo>
                  <a:pt x="14594" y="11202"/>
                  <a:pt x="14618" y="11253"/>
                  <a:pt x="14648" y="11253"/>
                </a:cubicBezTo>
                <a:cubicBezTo>
                  <a:pt x="14677" y="11253"/>
                  <a:pt x="14701" y="11202"/>
                  <a:pt x="14701" y="11140"/>
                </a:cubicBezTo>
                <a:cubicBezTo>
                  <a:pt x="14701" y="11077"/>
                  <a:pt x="14677" y="11026"/>
                  <a:pt x="14648" y="11026"/>
                </a:cubicBezTo>
                <a:close/>
                <a:moveTo>
                  <a:pt x="14648" y="10700"/>
                </a:moveTo>
                <a:cubicBezTo>
                  <a:pt x="14618" y="10700"/>
                  <a:pt x="14594" y="10750"/>
                  <a:pt x="14594" y="10813"/>
                </a:cubicBezTo>
                <a:cubicBezTo>
                  <a:pt x="14594" y="10875"/>
                  <a:pt x="14618" y="10926"/>
                  <a:pt x="14648" y="10926"/>
                </a:cubicBezTo>
                <a:cubicBezTo>
                  <a:pt x="14677" y="10926"/>
                  <a:pt x="14701" y="10875"/>
                  <a:pt x="14701" y="10813"/>
                </a:cubicBezTo>
                <a:cubicBezTo>
                  <a:pt x="14701" y="10750"/>
                  <a:pt x="14677" y="10700"/>
                  <a:pt x="14648" y="10700"/>
                </a:cubicBezTo>
                <a:close/>
                <a:moveTo>
                  <a:pt x="14494" y="11026"/>
                </a:moveTo>
                <a:cubicBezTo>
                  <a:pt x="14464" y="11026"/>
                  <a:pt x="14440" y="11077"/>
                  <a:pt x="14440" y="11140"/>
                </a:cubicBezTo>
                <a:cubicBezTo>
                  <a:pt x="14440" y="11202"/>
                  <a:pt x="14464" y="11253"/>
                  <a:pt x="14494" y="11253"/>
                </a:cubicBezTo>
                <a:cubicBezTo>
                  <a:pt x="14523" y="11253"/>
                  <a:pt x="14547" y="11202"/>
                  <a:pt x="14547" y="11140"/>
                </a:cubicBezTo>
                <a:cubicBezTo>
                  <a:pt x="14547" y="11077"/>
                  <a:pt x="14523" y="11026"/>
                  <a:pt x="14494" y="11026"/>
                </a:cubicBezTo>
                <a:close/>
                <a:moveTo>
                  <a:pt x="14494" y="10700"/>
                </a:moveTo>
                <a:cubicBezTo>
                  <a:pt x="14464" y="10700"/>
                  <a:pt x="14440" y="10750"/>
                  <a:pt x="14440" y="10813"/>
                </a:cubicBezTo>
                <a:cubicBezTo>
                  <a:pt x="14440" y="10875"/>
                  <a:pt x="14464" y="10926"/>
                  <a:pt x="14494" y="10926"/>
                </a:cubicBezTo>
                <a:cubicBezTo>
                  <a:pt x="14523" y="10926"/>
                  <a:pt x="14547" y="10875"/>
                  <a:pt x="14547" y="10813"/>
                </a:cubicBezTo>
                <a:cubicBezTo>
                  <a:pt x="14547" y="10750"/>
                  <a:pt x="14523" y="10700"/>
                  <a:pt x="14494" y="10700"/>
                </a:cubicBezTo>
                <a:close/>
                <a:moveTo>
                  <a:pt x="14648" y="10373"/>
                </a:moveTo>
                <a:cubicBezTo>
                  <a:pt x="14618" y="10373"/>
                  <a:pt x="14594" y="10423"/>
                  <a:pt x="14594" y="10486"/>
                </a:cubicBezTo>
                <a:cubicBezTo>
                  <a:pt x="14594" y="10548"/>
                  <a:pt x="14618" y="10599"/>
                  <a:pt x="14648" y="10599"/>
                </a:cubicBezTo>
                <a:cubicBezTo>
                  <a:pt x="14677" y="10599"/>
                  <a:pt x="14701" y="10548"/>
                  <a:pt x="14701" y="10486"/>
                </a:cubicBezTo>
                <a:cubicBezTo>
                  <a:pt x="14701" y="10423"/>
                  <a:pt x="14677" y="10373"/>
                  <a:pt x="14648" y="10373"/>
                </a:cubicBezTo>
                <a:close/>
                <a:moveTo>
                  <a:pt x="14494" y="10373"/>
                </a:moveTo>
                <a:cubicBezTo>
                  <a:pt x="14464" y="10373"/>
                  <a:pt x="14440" y="10423"/>
                  <a:pt x="14440" y="10486"/>
                </a:cubicBezTo>
                <a:cubicBezTo>
                  <a:pt x="14440" y="10548"/>
                  <a:pt x="14464" y="10599"/>
                  <a:pt x="14494" y="10599"/>
                </a:cubicBezTo>
                <a:cubicBezTo>
                  <a:pt x="14523" y="10599"/>
                  <a:pt x="14547" y="10548"/>
                  <a:pt x="14547" y="10486"/>
                </a:cubicBezTo>
                <a:cubicBezTo>
                  <a:pt x="14547" y="10423"/>
                  <a:pt x="14523" y="10373"/>
                  <a:pt x="14494" y="10373"/>
                </a:cubicBezTo>
                <a:close/>
                <a:moveTo>
                  <a:pt x="14341" y="10373"/>
                </a:moveTo>
                <a:cubicBezTo>
                  <a:pt x="14311" y="10373"/>
                  <a:pt x="14287" y="10423"/>
                  <a:pt x="14287" y="10486"/>
                </a:cubicBezTo>
                <a:cubicBezTo>
                  <a:pt x="14287" y="10548"/>
                  <a:pt x="14311" y="10599"/>
                  <a:pt x="14341" y="10599"/>
                </a:cubicBezTo>
                <a:cubicBezTo>
                  <a:pt x="14371" y="10599"/>
                  <a:pt x="14395" y="10548"/>
                  <a:pt x="14395" y="10486"/>
                </a:cubicBezTo>
                <a:cubicBezTo>
                  <a:pt x="14395" y="10423"/>
                  <a:pt x="14371" y="10373"/>
                  <a:pt x="14341" y="10373"/>
                </a:cubicBezTo>
                <a:close/>
                <a:moveTo>
                  <a:pt x="14799" y="11336"/>
                </a:moveTo>
                <a:cubicBezTo>
                  <a:pt x="14769" y="11336"/>
                  <a:pt x="14745" y="11387"/>
                  <a:pt x="14745" y="11449"/>
                </a:cubicBezTo>
                <a:cubicBezTo>
                  <a:pt x="14745" y="11512"/>
                  <a:pt x="14769" y="11563"/>
                  <a:pt x="14799" y="11563"/>
                </a:cubicBezTo>
                <a:cubicBezTo>
                  <a:pt x="14829" y="11563"/>
                  <a:pt x="14853" y="11512"/>
                  <a:pt x="14853" y="11449"/>
                </a:cubicBezTo>
                <a:cubicBezTo>
                  <a:pt x="14853" y="11387"/>
                  <a:pt x="14829" y="11336"/>
                  <a:pt x="14799" y="11336"/>
                </a:cubicBezTo>
                <a:close/>
                <a:moveTo>
                  <a:pt x="14648" y="10272"/>
                </a:moveTo>
                <a:cubicBezTo>
                  <a:pt x="14677" y="10272"/>
                  <a:pt x="14701" y="10221"/>
                  <a:pt x="14701" y="10159"/>
                </a:cubicBezTo>
                <a:cubicBezTo>
                  <a:pt x="14701" y="10096"/>
                  <a:pt x="14677" y="10046"/>
                  <a:pt x="14648" y="10046"/>
                </a:cubicBezTo>
                <a:cubicBezTo>
                  <a:pt x="14618" y="10046"/>
                  <a:pt x="14594" y="10096"/>
                  <a:pt x="14594" y="10159"/>
                </a:cubicBezTo>
                <a:cubicBezTo>
                  <a:pt x="14594" y="10221"/>
                  <a:pt x="14618" y="10272"/>
                  <a:pt x="14648" y="10272"/>
                </a:cubicBezTo>
                <a:close/>
                <a:moveTo>
                  <a:pt x="14494" y="10272"/>
                </a:moveTo>
                <a:cubicBezTo>
                  <a:pt x="14523" y="10272"/>
                  <a:pt x="14547" y="10221"/>
                  <a:pt x="14547" y="10159"/>
                </a:cubicBezTo>
                <a:cubicBezTo>
                  <a:pt x="14547" y="10096"/>
                  <a:pt x="14523" y="10046"/>
                  <a:pt x="14494" y="10046"/>
                </a:cubicBezTo>
                <a:cubicBezTo>
                  <a:pt x="14464" y="10046"/>
                  <a:pt x="14440" y="10096"/>
                  <a:pt x="14440" y="10159"/>
                </a:cubicBezTo>
                <a:cubicBezTo>
                  <a:pt x="14440" y="10221"/>
                  <a:pt x="14464" y="10272"/>
                  <a:pt x="14494" y="10272"/>
                </a:cubicBezTo>
                <a:close/>
                <a:moveTo>
                  <a:pt x="14341" y="10272"/>
                </a:moveTo>
                <a:cubicBezTo>
                  <a:pt x="14371" y="10272"/>
                  <a:pt x="14395" y="10221"/>
                  <a:pt x="14395" y="10159"/>
                </a:cubicBezTo>
                <a:cubicBezTo>
                  <a:pt x="14395" y="10096"/>
                  <a:pt x="14371" y="10046"/>
                  <a:pt x="14341" y="10046"/>
                </a:cubicBezTo>
                <a:cubicBezTo>
                  <a:pt x="14311" y="10046"/>
                  <a:pt x="14287" y="10096"/>
                  <a:pt x="14287" y="10159"/>
                </a:cubicBezTo>
                <a:cubicBezTo>
                  <a:pt x="14287" y="10221"/>
                  <a:pt x="14311" y="10272"/>
                  <a:pt x="14341" y="10272"/>
                </a:cubicBezTo>
                <a:close/>
                <a:moveTo>
                  <a:pt x="15726" y="5167"/>
                </a:moveTo>
                <a:cubicBezTo>
                  <a:pt x="15697" y="5167"/>
                  <a:pt x="15673" y="5217"/>
                  <a:pt x="15673" y="5280"/>
                </a:cubicBezTo>
                <a:cubicBezTo>
                  <a:pt x="15673" y="5342"/>
                  <a:pt x="15697" y="5393"/>
                  <a:pt x="15726" y="5393"/>
                </a:cubicBezTo>
                <a:cubicBezTo>
                  <a:pt x="15756" y="5393"/>
                  <a:pt x="15780" y="5342"/>
                  <a:pt x="15780" y="5280"/>
                </a:cubicBezTo>
                <a:cubicBezTo>
                  <a:pt x="15780" y="5217"/>
                  <a:pt x="15756" y="5167"/>
                  <a:pt x="15726" y="5167"/>
                </a:cubicBezTo>
                <a:close/>
                <a:moveTo>
                  <a:pt x="15726" y="4840"/>
                </a:moveTo>
                <a:cubicBezTo>
                  <a:pt x="15697" y="4840"/>
                  <a:pt x="15673" y="4890"/>
                  <a:pt x="15673" y="4953"/>
                </a:cubicBezTo>
                <a:cubicBezTo>
                  <a:pt x="15673" y="5015"/>
                  <a:pt x="15697" y="5066"/>
                  <a:pt x="15726" y="5066"/>
                </a:cubicBezTo>
                <a:cubicBezTo>
                  <a:pt x="15756" y="5066"/>
                  <a:pt x="15780" y="5015"/>
                  <a:pt x="15780" y="4953"/>
                </a:cubicBezTo>
                <a:cubicBezTo>
                  <a:pt x="15780" y="4890"/>
                  <a:pt x="15756" y="4840"/>
                  <a:pt x="15726" y="4840"/>
                </a:cubicBezTo>
                <a:close/>
                <a:moveTo>
                  <a:pt x="15571" y="5167"/>
                </a:moveTo>
                <a:cubicBezTo>
                  <a:pt x="15541" y="5167"/>
                  <a:pt x="15517" y="5217"/>
                  <a:pt x="15517" y="5280"/>
                </a:cubicBezTo>
                <a:cubicBezTo>
                  <a:pt x="15517" y="5342"/>
                  <a:pt x="15541" y="5393"/>
                  <a:pt x="15571" y="5393"/>
                </a:cubicBezTo>
                <a:cubicBezTo>
                  <a:pt x="15601" y="5393"/>
                  <a:pt x="15625" y="5342"/>
                  <a:pt x="15625" y="5280"/>
                </a:cubicBezTo>
                <a:cubicBezTo>
                  <a:pt x="15625" y="5217"/>
                  <a:pt x="15601" y="5167"/>
                  <a:pt x="15571" y="5167"/>
                </a:cubicBezTo>
                <a:close/>
                <a:moveTo>
                  <a:pt x="15571" y="4840"/>
                </a:moveTo>
                <a:cubicBezTo>
                  <a:pt x="15541" y="4840"/>
                  <a:pt x="15517" y="4890"/>
                  <a:pt x="15517" y="4953"/>
                </a:cubicBezTo>
                <a:cubicBezTo>
                  <a:pt x="15517" y="5015"/>
                  <a:pt x="15541" y="5066"/>
                  <a:pt x="15571" y="5066"/>
                </a:cubicBezTo>
                <a:cubicBezTo>
                  <a:pt x="15601" y="5066"/>
                  <a:pt x="15625" y="5015"/>
                  <a:pt x="15625" y="4953"/>
                </a:cubicBezTo>
                <a:cubicBezTo>
                  <a:pt x="15625" y="4890"/>
                  <a:pt x="15601" y="4840"/>
                  <a:pt x="15571" y="4840"/>
                </a:cubicBezTo>
                <a:close/>
                <a:moveTo>
                  <a:pt x="15417" y="5167"/>
                </a:moveTo>
                <a:cubicBezTo>
                  <a:pt x="15387" y="5167"/>
                  <a:pt x="15363" y="5217"/>
                  <a:pt x="15363" y="5280"/>
                </a:cubicBezTo>
                <a:cubicBezTo>
                  <a:pt x="15363" y="5342"/>
                  <a:pt x="15387" y="5393"/>
                  <a:pt x="15417" y="5393"/>
                </a:cubicBezTo>
                <a:cubicBezTo>
                  <a:pt x="15447" y="5393"/>
                  <a:pt x="15471" y="5342"/>
                  <a:pt x="15471" y="5280"/>
                </a:cubicBezTo>
                <a:cubicBezTo>
                  <a:pt x="15471" y="5217"/>
                  <a:pt x="15447" y="5167"/>
                  <a:pt x="15417" y="5167"/>
                </a:cubicBezTo>
                <a:close/>
                <a:moveTo>
                  <a:pt x="15417" y="4840"/>
                </a:moveTo>
                <a:cubicBezTo>
                  <a:pt x="15387" y="4840"/>
                  <a:pt x="15363" y="4890"/>
                  <a:pt x="15363" y="4953"/>
                </a:cubicBezTo>
                <a:cubicBezTo>
                  <a:pt x="15363" y="5015"/>
                  <a:pt x="15387" y="5066"/>
                  <a:pt x="15417" y="5066"/>
                </a:cubicBezTo>
                <a:cubicBezTo>
                  <a:pt x="15447" y="5066"/>
                  <a:pt x="15471" y="5015"/>
                  <a:pt x="15471" y="4953"/>
                </a:cubicBezTo>
                <a:cubicBezTo>
                  <a:pt x="15471" y="4890"/>
                  <a:pt x="15447" y="4840"/>
                  <a:pt x="15417" y="4840"/>
                </a:cubicBezTo>
                <a:close/>
                <a:moveTo>
                  <a:pt x="15264" y="5167"/>
                </a:moveTo>
                <a:cubicBezTo>
                  <a:pt x="15235" y="5167"/>
                  <a:pt x="15211" y="5217"/>
                  <a:pt x="15211" y="5280"/>
                </a:cubicBezTo>
                <a:cubicBezTo>
                  <a:pt x="15211" y="5342"/>
                  <a:pt x="15235" y="5393"/>
                  <a:pt x="15264" y="5393"/>
                </a:cubicBezTo>
                <a:cubicBezTo>
                  <a:pt x="15294" y="5393"/>
                  <a:pt x="15318" y="5342"/>
                  <a:pt x="15318" y="5280"/>
                </a:cubicBezTo>
                <a:cubicBezTo>
                  <a:pt x="15318" y="5217"/>
                  <a:pt x="15294" y="5167"/>
                  <a:pt x="15264" y="5167"/>
                </a:cubicBezTo>
                <a:close/>
                <a:moveTo>
                  <a:pt x="15264" y="4840"/>
                </a:moveTo>
                <a:cubicBezTo>
                  <a:pt x="15235" y="4840"/>
                  <a:pt x="15211" y="4890"/>
                  <a:pt x="15211" y="4953"/>
                </a:cubicBezTo>
                <a:cubicBezTo>
                  <a:pt x="15211" y="5015"/>
                  <a:pt x="15235" y="5066"/>
                  <a:pt x="15264" y="5066"/>
                </a:cubicBezTo>
                <a:cubicBezTo>
                  <a:pt x="15294" y="5066"/>
                  <a:pt x="15318" y="5015"/>
                  <a:pt x="15318" y="4953"/>
                </a:cubicBezTo>
                <a:cubicBezTo>
                  <a:pt x="15318" y="4890"/>
                  <a:pt x="15294" y="4840"/>
                  <a:pt x="15264" y="4840"/>
                </a:cubicBezTo>
                <a:close/>
                <a:moveTo>
                  <a:pt x="12350" y="7772"/>
                </a:moveTo>
                <a:cubicBezTo>
                  <a:pt x="12320" y="7772"/>
                  <a:pt x="12296" y="7823"/>
                  <a:pt x="12296" y="7886"/>
                </a:cubicBezTo>
                <a:cubicBezTo>
                  <a:pt x="12296" y="7948"/>
                  <a:pt x="12320" y="7999"/>
                  <a:pt x="12350" y="7999"/>
                </a:cubicBezTo>
                <a:cubicBezTo>
                  <a:pt x="12380" y="7999"/>
                  <a:pt x="12404" y="7948"/>
                  <a:pt x="12404" y="7886"/>
                </a:cubicBezTo>
                <a:cubicBezTo>
                  <a:pt x="12404" y="7823"/>
                  <a:pt x="12380" y="7772"/>
                  <a:pt x="12350" y="7772"/>
                </a:cubicBezTo>
                <a:close/>
                <a:moveTo>
                  <a:pt x="12346" y="7672"/>
                </a:moveTo>
                <a:cubicBezTo>
                  <a:pt x="12376" y="7672"/>
                  <a:pt x="12400" y="7621"/>
                  <a:pt x="12400" y="7559"/>
                </a:cubicBezTo>
                <a:cubicBezTo>
                  <a:pt x="12400" y="7496"/>
                  <a:pt x="12376" y="7446"/>
                  <a:pt x="12346" y="7446"/>
                </a:cubicBezTo>
                <a:cubicBezTo>
                  <a:pt x="12317" y="7446"/>
                  <a:pt x="12292" y="7496"/>
                  <a:pt x="12292" y="7559"/>
                </a:cubicBezTo>
                <a:cubicBezTo>
                  <a:pt x="12292" y="7621"/>
                  <a:pt x="12317" y="7672"/>
                  <a:pt x="12346" y="7672"/>
                </a:cubicBezTo>
                <a:close/>
                <a:moveTo>
                  <a:pt x="12350" y="8440"/>
                </a:moveTo>
                <a:cubicBezTo>
                  <a:pt x="12320" y="8440"/>
                  <a:pt x="12296" y="8490"/>
                  <a:pt x="12296" y="8553"/>
                </a:cubicBezTo>
                <a:cubicBezTo>
                  <a:pt x="12296" y="8615"/>
                  <a:pt x="12320" y="8666"/>
                  <a:pt x="12350" y="8666"/>
                </a:cubicBezTo>
                <a:cubicBezTo>
                  <a:pt x="12380" y="8666"/>
                  <a:pt x="12404" y="8615"/>
                  <a:pt x="12404" y="8553"/>
                </a:cubicBezTo>
                <a:cubicBezTo>
                  <a:pt x="12404" y="8490"/>
                  <a:pt x="12380" y="8440"/>
                  <a:pt x="12350" y="8440"/>
                </a:cubicBezTo>
                <a:close/>
                <a:moveTo>
                  <a:pt x="12350" y="8113"/>
                </a:moveTo>
                <a:cubicBezTo>
                  <a:pt x="12320" y="8113"/>
                  <a:pt x="12296" y="8164"/>
                  <a:pt x="12296" y="8226"/>
                </a:cubicBezTo>
                <a:cubicBezTo>
                  <a:pt x="12296" y="8289"/>
                  <a:pt x="12320" y="8339"/>
                  <a:pt x="12350" y="8339"/>
                </a:cubicBezTo>
                <a:cubicBezTo>
                  <a:pt x="12380" y="8339"/>
                  <a:pt x="12404" y="8289"/>
                  <a:pt x="12404" y="8226"/>
                </a:cubicBezTo>
                <a:cubicBezTo>
                  <a:pt x="12404" y="8164"/>
                  <a:pt x="12380" y="8113"/>
                  <a:pt x="12350" y="8113"/>
                </a:cubicBezTo>
                <a:close/>
                <a:moveTo>
                  <a:pt x="12656" y="10279"/>
                </a:moveTo>
                <a:cubicBezTo>
                  <a:pt x="12685" y="10279"/>
                  <a:pt x="12709" y="10229"/>
                  <a:pt x="12709" y="10166"/>
                </a:cubicBezTo>
                <a:cubicBezTo>
                  <a:pt x="12709" y="10104"/>
                  <a:pt x="12685" y="10053"/>
                  <a:pt x="12656" y="10053"/>
                </a:cubicBezTo>
                <a:cubicBezTo>
                  <a:pt x="12626" y="10053"/>
                  <a:pt x="12602" y="10104"/>
                  <a:pt x="12602" y="10166"/>
                </a:cubicBezTo>
                <a:cubicBezTo>
                  <a:pt x="12602" y="10229"/>
                  <a:pt x="12626" y="10279"/>
                  <a:pt x="12656" y="10279"/>
                </a:cubicBezTo>
                <a:close/>
                <a:moveTo>
                  <a:pt x="12968" y="9731"/>
                </a:moveTo>
                <a:cubicBezTo>
                  <a:pt x="12939" y="9731"/>
                  <a:pt x="12915" y="9782"/>
                  <a:pt x="12915" y="9845"/>
                </a:cubicBezTo>
                <a:cubicBezTo>
                  <a:pt x="12915" y="9907"/>
                  <a:pt x="12939" y="9958"/>
                  <a:pt x="12968" y="9958"/>
                </a:cubicBezTo>
                <a:cubicBezTo>
                  <a:pt x="12998" y="9958"/>
                  <a:pt x="13022" y="9907"/>
                  <a:pt x="13022" y="9845"/>
                </a:cubicBezTo>
                <a:cubicBezTo>
                  <a:pt x="13022" y="9782"/>
                  <a:pt x="12998" y="9731"/>
                  <a:pt x="12968" y="9731"/>
                </a:cubicBezTo>
                <a:close/>
                <a:moveTo>
                  <a:pt x="12968" y="9404"/>
                </a:moveTo>
                <a:cubicBezTo>
                  <a:pt x="12939" y="9404"/>
                  <a:pt x="12915" y="9455"/>
                  <a:pt x="12915" y="9518"/>
                </a:cubicBezTo>
                <a:cubicBezTo>
                  <a:pt x="12915" y="9580"/>
                  <a:pt x="12939" y="9631"/>
                  <a:pt x="12968" y="9631"/>
                </a:cubicBezTo>
                <a:cubicBezTo>
                  <a:pt x="12998" y="9631"/>
                  <a:pt x="13022" y="9580"/>
                  <a:pt x="13022" y="9518"/>
                </a:cubicBezTo>
                <a:cubicBezTo>
                  <a:pt x="13022" y="9455"/>
                  <a:pt x="12998" y="9404"/>
                  <a:pt x="12968" y="9404"/>
                </a:cubicBezTo>
                <a:close/>
                <a:moveTo>
                  <a:pt x="12968" y="8411"/>
                </a:moveTo>
                <a:cubicBezTo>
                  <a:pt x="12939" y="8411"/>
                  <a:pt x="12915" y="8461"/>
                  <a:pt x="12915" y="8524"/>
                </a:cubicBezTo>
                <a:cubicBezTo>
                  <a:pt x="12915" y="8586"/>
                  <a:pt x="12939" y="8637"/>
                  <a:pt x="12968" y="8637"/>
                </a:cubicBezTo>
                <a:cubicBezTo>
                  <a:pt x="12998" y="8637"/>
                  <a:pt x="13022" y="8586"/>
                  <a:pt x="13022" y="8524"/>
                </a:cubicBezTo>
                <a:cubicBezTo>
                  <a:pt x="13022" y="8461"/>
                  <a:pt x="12998" y="8411"/>
                  <a:pt x="12968" y="8411"/>
                </a:cubicBezTo>
                <a:close/>
                <a:moveTo>
                  <a:pt x="12968" y="8747"/>
                </a:moveTo>
                <a:cubicBezTo>
                  <a:pt x="12939" y="8747"/>
                  <a:pt x="12915" y="8798"/>
                  <a:pt x="12915" y="8860"/>
                </a:cubicBezTo>
                <a:cubicBezTo>
                  <a:pt x="12915" y="8923"/>
                  <a:pt x="12939" y="8973"/>
                  <a:pt x="12968" y="8973"/>
                </a:cubicBezTo>
                <a:cubicBezTo>
                  <a:pt x="12998" y="8973"/>
                  <a:pt x="13022" y="8923"/>
                  <a:pt x="13022" y="8860"/>
                </a:cubicBezTo>
                <a:cubicBezTo>
                  <a:pt x="13022" y="8798"/>
                  <a:pt x="12998" y="8747"/>
                  <a:pt x="12968" y="8747"/>
                </a:cubicBezTo>
                <a:close/>
                <a:moveTo>
                  <a:pt x="13113" y="8744"/>
                </a:moveTo>
                <a:cubicBezTo>
                  <a:pt x="13083" y="8744"/>
                  <a:pt x="13059" y="8795"/>
                  <a:pt x="13059" y="8857"/>
                </a:cubicBezTo>
                <a:cubicBezTo>
                  <a:pt x="13059" y="8920"/>
                  <a:pt x="13083" y="8970"/>
                  <a:pt x="13113" y="8970"/>
                </a:cubicBezTo>
                <a:cubicBezTo>
                  <a:pt x="13143" y="8970"/>
                  <a:pt x="13167" y="8920"/>
                  <a:pt x="13167" y="8857"/>
                </a:cubicBezTo>
                <a:cubicBezTo>
                  <a:pt x="13167" y="8795"/>
                  <a:pt x="13143" y="8744"/>
                  <a:pt x="13113" y="8744"/>
                </a:cubicBezTo>
                <a:close/>
                <a:moveTo>
                  <a:pt x="12968" y="9078"/>
                </a:moveTo>
                <a:cubicBezTo>
                  <a:pt x="12939" y="9078"/>
                  <a:pt x="12915" y="9128"/>
                  <a:pt x="12915" y="9191"/>
                </a:cubicBezTo>
                <a:cubicBezTo>
                  <a:pt x="12915" y="9253"/>
                  <a:pt x="12939" y="9304"/>
                  <a:pt x="12968" y="9304"/>
                </a:cubicBezTo>
                <a:cubicBezTo>
                  <a:pt x="12998" y="9304"/>
                  <a:pt x="13022" y="9253"/>
                  <a:pt x="13022" y="9191"/>
                </a:cubicBezTo>
                <a:cubicBezTo>
                  <a:pt x="13022" y="9128"/>
                  <a:pt x="12998" y="9078"/>
                  <a:pt x="12968" y="9078"/>
                </a:cubicBezTo>
                <a:close/>
                <a:moveTo>
                  <a:pt x="13113" y="9402"/>
                </a:moveTo>
                <a:cubicBezTo>
                  <a:pt x="13083" y="9402"/>
                  <a:pt x="13059" y="9452"/>
                  <a:pt x="13059" y="9515"/>
                </a:cubicBezTo>
                <a:cubicBezTo>
                  <a:pt x="13059" y="9577"/>
                  <a:pt x="13083" y="9628"/>
                  <a:pt x="13113" y="9628"/>
                </a:cubicBezTo>
                <a:cubicBezTo>
                  <a:pt x="13143" y="9628"/>
                  <a:pt x="13167" y="9577"/>
                  <a:pt x="13167" y="9515"/>
                </a:cubicBezTo>
                <a:cubicBezTo>
                  <a:pt x="13167" y="9452"/>
                  <a:pt x="13143" y="9402"/>
                  <a:pt x="13113" y="9402"/>
                </a:cubicBezTo>
                <a:close/>
                <a:moveTo>
                  <a:pt x="13113" y="9075"/>
                </a:moveTo>
                <a:cubicBezTo>
                  <a:pt x="13083" y="9075"/>
                  <a:pt x="13059" y="9125"/>
                  <a:pt x="13059" y="9188"/>
                </a:cubicBezTo>
                <a:cubicBezTo>
                  <a:pt x="13059" y="9250"/>
                  <a:pt x="13083" y="9301"/>
                  <a:pt x="13113" y="9301"/>
                </a:cubicBezTo>
                <a:cubicBezTo>
                  <a:pt x="13143" y="9301"/>
                  <a:pt x="13167" y="9250"/>
                  <a:pt x="13167" y="9188"/>
                </a:cubicBezTo>
                <a:cubicBezTo>
                  <a:pt x="13167" y="9125"/>
                  <a:pt x="13143" y="9075"/>
                  <a:pt x="13113" y="9075"/>
                </a:cubicBezTo>
                <a:close/>
                <a:moveTo>
                  <a:pt x="12656" y="9731"/>
                </a:moveTo>
                <a:cubicBezTo>
                  <a:pt x="12626" y="9731"/>
                  <a:pt x="12602" y="9782"/>
                  <a:pt x="12602" y="9845"/>
                </a:cubicBezTo>
                <a:cubicBezTo>
                  <a:pt x="12602" y="9907"/>
                  <a:pt x="12626" y="9958"/>
                  <a:pt x="12656" y="9958"/>
                </a:cubicBezTo>
                <a:cubicBezTo>
                  <a:pt x="12685" y="9958"/>
                  <a:pt x="12709" y="9907"/>
                  <a:pt x="12709" y="9845"/>
                </a:cubicBezTo>
                <a:cubicBezTo>
                  <a:pt x="12709" y="9782"/>
                  <a:pt x="12685" y="9731"/>
                  <a:pt x="12656" y="9731"/>
                </a:cubicBezTo>
                <a:close/>
                <a:moveTo>
                  <a:pt x="12656" y="9404"/>
                </a:moveTo>
                <a:cubicBezTo>
                  <a:pt x="12626" y="9404"/>
                  <a:pt x="12602" y="9455"/>
                  <a:pt x="12602" y="9518"/>
                </a:cubicBezTo>
                <a:cubicBezTo>
                  <a:pt x="12602" y="9580"/>
                  <a:pt x="12626" y="9631"/>
                  <a:pt x="12656" y="9631"/>
                </a:cubicBezTo>
                <a:cubicBezTo>
                  <a:pt x="12685" y="9631"/>
                  <a:pt x="12709" y="9580"/>
                  <a:pt x="12709" y="9518"/>
                </a:cubicBezTo>
                <a:cubicBezTo>
                  <a:pt x="12709" y="9455"/>
                  <a:pt x="12685" y="9404"/>
                  <a:pt x="12656" y="9404"/>
                </a:cubicBezTo>
                <a:close/>
                <a:moveTo>
                  <a:pt x="12656" y="9078"/>
                </a:moveTo>
                <a:cubicBezTo>
                  <a:pt x="12626" y="9078"/>
                  <a:pt x="12602" y="9128"/>
                  <a:pt x="12602" y="9191"/>
                </a:cubicBezTo>
                <a:cubicBezTo>
                  <a:pt x="12602" y="9253"/>
                  <a:pt x="12626" y="9304"/>
                  <a:pt x="12656" y="9304"/>
                </a:cubicBezTo>
                <a:cubicBezTo>
                  <a:pt x="12685" y="9304"/>
                  <a:pt x="12709" y="9253"/>
                  <a:pt x="12709" y="9191"/>
                </a:cubicBezTo>
                <a:cubicBezTo>
                  <a:pt x="12709" y="9128"/>
                  <a:pt x="12685" y="9078"/>
                  <a:pt x="12656" y="9078"/>
                </a:cubicBezTo>
                <a:close/>
                <a:moveTo>
                  <a:pt x="12656" y="8751"/>
                </a:moveTo>
                <a:cubicBezTo>
                  <a:pt x="12626" y="8751"/>
                  <a:pt x="12602" y="8801"/>
                  <a:pt x="12602" y="8864"/>
                </a:cubicBezTo>
                <a:cubicBezTo>
                  <a:pt x="12602" y="8926"/>
                  <a:pt x="12626" y="8977"/>
                  <a:pt x="12656" y="8977"/>
                </a:cubicBezTo>
                <a:cubicBezTo>
                  <a:pt x="12685" y="8977"/>
                  <a:pt x="12709" y="8926"/>
                  <a:pt x="12709" y="8864"/>
                </a:cubicBezTo>
                <a:cubicBezTo>
                  <a:pt x="12709" y="8801"/>
                  <a:pt x="12685" y="8751"/>
                  <a:pt x="12656" y="8751"/>
                </a:cubicBezTo>
                <a:close/>
                <a:moveTo>
                  <a:pt x="12800" y="10038"/>
                </a:moveTo>
                <a:cubicBezTo>
                  <a:pt x="12771" y="10038"/>
                  <a:pt x="12746" y="10089"/>
                  <a:pt x="12746" y="10151"/>
                </a:cubicBezTo>
                <a:cubicBezTo>
                  <a:pt x="12746" y="10214"/>
                  <a:pt x="12771" y="10265"/>
                  <a:pt x="12800" y="10265"/>
                </a:cubicBezTo>
                <a:cubicBezTo>
                  <a:pt x="12830" y="10265"/>
                  <a:pt x="12854" y="10214"/>
                  <a:pt x="12854" y="10151"/>
                </a:cubicBezTo>
                <a:cubicBezTo>
                  <a:pt x="12854" y="10089"/>
                  <a:pt x="12830" y="10038"/>
                  <a:pt x="12800" y="10038"/>
                </a:cubicBezTo>
                <a:close/>
                <a:moveTo>
                  <a:pt x="12800" y="9728"/>
                </a:moveTo>
                <a:cubicBezTo>
                  <a:pt x="12771" y="9728"/>
                  <a:pt x="12746" y="9779"/>
                  <a:pt x="12746" y="9842"/>
                </a:cubicBezTo>
                <a:cubicBezTo>
                  <a:pt x="12746" y="9904"/>
                  <a:pt x="12771" y="9955"/>
                  <a:pt x="12800" y="9955"/>
                </a:cubicBezTo>
                <a:cubicBezTo>
                  <a:pt x="12830" y="9955"/>
                  <a:pt x="12854" y="9904"/>
                  <a:pt x="12854" y="9842"/>
                </a:cubicBezTo>
                <a:cubicBezTo>
                  <a:pt x="12854" y="9779"/>
                  <a:pt x="12830" y="9728"/>
                  <a:pt x="12800" y="9728"/>
                </a:cubicBezTo>
                <a:close/>
                <a:moveTo>
                  <a:pt x="12800" y="9402"/>
                </a:moveTo>
                <a:cubicBezTo>
                  <a:pt x="12771" y="9402"/>
                  <a:pt x="12746" y="9452"/>
                  <a:pt x="12746" y="9515"/>
                </a:cubicBezTo>
                <a:cubicBezTo>
                  <a:pt x="12746" y="9577"/>
                  <a:pt x="12771" y="9628"/>
                  <a:pt x="12800" y="9628"/>
                </a:cubicBezTo>
                <a:cubicBezTo>
                  <a:pt x="12830" y="9628"/>
                  <a:pt x="12854" y="9577"/>
                  <a:pt x="12854" y="9515"/>
                </a:cubicBezTo>
                <a:cubicBezTo>
                  <a:pt x="12854" y="9452"/>
                  <a:pt x="12830" y="9402"/>
                  <a:pt x="12800" y="9402"/>
                </a:cubicBezTo>
                <a:close/>
                <a:moveTo>
                  <a:pt x="12800" y="9075"/>
                </a:moveTo>
                <a:cubicBezTo>
                  <a:pt x="12771" y="9075"/>
                  <a:pt x="12746" y="9125"/>
                  <a:pt x="12746" y="9188"/>
                </a:cubicBezTo>
                <a:cubicBezTo>
                  <a:pt x="12746" y="9250"/>
                  <a:pt x="12771" y="9301"/>
                  <a:pt x="12800" y="9301"/>
                </a:cubicBezTo>
                <a:cubicBezTo>
                  <a:pt x="12830" y="9301"/>
                  <a:pt x="12854" y="9250"/>
                  <a:pt x="12854" y="9188"/>
                </a:cubicBezTo>
                <a:cubicBezTo>
                  <a:pt x="12854" y="9125"/>
                  <a:pt x="12830" y="9075"/>
                  <a:pt x="12800" y="9075"/>
                </a:cubicBezTo>
                <a:close/>
                <a:moveTo>
                  <a:pt x="12800" y="8748"/>
                </a:moveTo>
                <a:cubicBezTo>
                  <a:pt x="12771" y="8748"/>
                  <a:pt x="12746" y="8799"/>
                  <a:pt x="12746" y="8861"/>
                </a:cubicBezTo>
                <a:cubicBezTo>
                  <a:pt x="12746" y="8924"/>
                  <a:pt x="12771" y="8974"/>
                  <a:pt x="12800" y="8974"/>
                </a:cubicBezTo>
                <a:cubicBezTo>
                  <a:pt x="12830" y="8974"/>
                  <a:pt x="12854" y="8924"/>
                  <a:pt x="12854" y="8861"/>
                </a:cubicBezTo>
                <a:cubicBezTo>
                  <a:pt x="12854" y="8799"/>
                  <a:pt x="12830" y="8748"/>
                  <a:pt x="12800" y="8748"/>
                </a:cubicBezTo>
                <a:close/>
                <a:moveTo>
                  <a:pt x="12350" y="10053"/>
                </a:moveTo>
                <a:cubicBezTo>
                  <a:pt x="12320" y="10053"/>
                  <a:pt x="12296" y="10104"/>
                  <a:pt x="12296" y="10166"/>
                </a:cubicBezTo>
                <a:cubicBezTo>
                  <a:pt x="12296" y="10229"/>
                  <a:pt x="12320" y="10279"/>
                  <a:pt x="12350" y="10279"/>
                </a:cubicBezTo>
                <a:cubicBezTo>
                  <a:pt x="12380" y="10279"/>
                  <a:pt x="12404" y="10229"/>
                  <a:pt x="12404" y="10166"/>
                </a:cubicBezTo>
                <a:cubicBezTo>
                  <a:pt x="12404" y="10104"/>
                  <a:pt x="12380" y="10053"/>
                  <a:pt x="12350" y="10053"/>
                </a:cubicBezTo>
                <a:close/>
                <a:moveTo>
                  <a:pt x="12195" y="10237"/>
                </a:moveTo>
                <a:cubicBezTo>
                  <a:pt x="12225" y="10237"/>
                  <a:pt x="12249" y="10186"/>
                  <a:pt x="12249" y="10124"/>
                </a:cubicBezTo>
                <a:cubicBezTo>
                  <a:pt x="12249" y="10061"/>
                  <a:pt x="12225" y="10011"/>
                  <a:pt x="12195" y="10011"/>
                </a:cubicBezTo>
                <a:cubicBezTo>
                  <a:pt x="12165" y="10011"/>
                  <a:pt x="12141" y="10061"/>
                  <a:pt x="12141" y="10124"/>
                </a:cubicBezTo>
                <a:cubicBezTo>
                  <a:pt x="12141" y="10186"/>
                  <a:pt x="12165" y="10237"/>
                  <a:pt x="12195" y="10237"/>
                </a:cubicBezTo>
                <a:close/>
                <a:moveTo>
                  <a:pt x="12350" y="9731"/>
                </a:moveTo>
                <a:cubicBezTo>
                  <a:pt x="12320" y="9731"/>
                  <a:pt x="12296" y="9782"/>
                  <a:pt x="12296" y="9845"/>
                </a:cubicBezTo>
                <a:cubicBezTo>
                  <a:pt x="12296" y="9907"/>
                  <a:pt x="12320" y="9958"/>
                  <a:pt x="12350" y="9958"/>
                </a:cubicBezTo>
                <a:cubicBezTo>
                  <a:pt x="12380" y="9958"/>
                  <a:pt x="12404" y="9907"/>
                  <a:pt x="12404" y="9845"/>
                </a:cubicBezTo>
                <a:cubicBezTo>
                  <a:pt x="12404" y="9782"/>
                  <a:pt x="12380" y="9731"/>
                  <a:pt x="12350" y="9731"/>
                </a:cubicBezTo>
                <a:close/>
                <a:moveTo>
                  <a:pt x="12350" y="9404"/>
                </a:moveTo>
                <a:cubicBezTo>
                  <a:pt x="12320" y="9404"/>
                  <a:pt x="12296" y="9455"/>
                  <a:pt x="12296" y="9518"/>
                </a:cubicBezTo>
                <a:cubicBezTo>
                  <a:pt x="12296" y="9580"/>
                  <a:pt x="12320" y="9631"/>
                  <a:pt x="12350" y="9631"/>
                </a:cubicBezTo>
                <a:cubicBezTo>
                  <a:pt x="12380" y="9631"/>
                  <a:pt x="12404" y="9580"/>
                  <a:pt x="12404" y="9518"/>
                </a:cubicBezTo>
                <a:cubicBezTo>
                  <a:pt x="12404" y="9455"/>
                  <a:pt x="12380" y="9404"/>
                  <a:pt x="12350" y="9404"/>
                </a:cubicBezTo>
                <a:close/>
                <a:moveTo>
                  <a:pt x="12350" y="9078"/>
                </a:moveTo>
                <a:cubicBezTo>
                  <a:pt x="12320" y="9078"/>
                  <a:pt x="12296" y="9128"/>
                  <a:pt x="12296" y="9191"/>
                </a:cubicBezTo>
                <a:cubicBezTo>
                  <a:pt x="12296" y="9253"/>
                  <a:pt x="12320" y="9304"/>
                  <a:pt x="12350" y="9304"/>
                </a:cubicBezTo>
                <a:cubicBezTo>
                  <a:pt x="12380" y="9304"/>
                  <a:pt x="12404" y="9253"/>
                  <a:pt x="12404" y="9191"/>
                </a:cubicBezTo>
                <a:cubicBezTo>
                  <a:pt x="12404" y="9128"/>
                  <a:pt x="12380" y="9078"/>
                  <a:pt x="12350" y="9078"/>
                </a:cubicBezTo>
                <a:close/>
                <a:moveTo>
                  <a:pt x="12350" y="8751"/>
                </a:moveTo>
                <a:cubicBezTo>
                  <a:pt x="12320" y="8751"/>
                  <a:pt x="12296" y="8801"/>
                  <a:pt x="12296" y="8864"/>
                </a:cubicBezTo>
                <a:cubicBezTo>
                  <a:pt x="12296" y="8926"/>
                  <a:pt x="12320" y="8977"/>
                  <a:pt x="12350" y="8977"/>
                </a:cubicBezTo>
                <a:cubicBezTo>
                  <a:pt x="12380" y="8977"/>
                  <a:pt x="12404" y="8926"/>
                  <a:pt x="12404" y="8864"/>
                </a:cubicBezTo>
                <a:cubicBezTo>
                  <a:pt x="12404" y="8801"/>
                  <a:pt x="12380" y="8751"/>
                  <a:pt x="12350" y="8751"/>
                </a:cubicBezTo>
                <a:close/>
                <a:moveTo>
                  <a:pt x="12350" y="5167"/>
                </a:moveTo>
                <a:cubicBezTo>
                  <a:pt x="12320" y="5167"/>
                  <a:pt x="12296" y="5217"/>
                  <a:pt x="12296" y="5280"/>
                </a:cubicBezTo>
                <a:cubicBezTo>
                  <a:pt x="12296" y="5342"/>
                  <a:pt x="12320" y="5393"/>
                  <a:pt x="12350" y="5393"/>
                </a:cubicBezTo>
                <a:cubicBezTo>
                  <a:pt x="12380" y="5393"/>
                  <a:pt x="12404" y="5342"/>
                  <a:pt x="12404" y="5280"/>
                </a:cubicBezTo>
                <a:cubicBezTo>
                  <a:pt x="12404" y="5217"/>
                  <a:pt x="12380" y="5167"/>
                  <a:pt x="12350" y="5167"/>
                </a:cubicBezTo>
                <a:close/>
                <a:moveTo>
                  <a:pt x="13109" y="5393"/>
                </a:moveTo>
                <a:cubicBezTo>
                  <a:pt x="13139" y="5393"/>
                  <a:pt x="13163" y="5342"/>
                  <a:pt x="13163" y="5280"/>
                </a:cubicBezTo>
                <a:cubicBezTo>
                  <a:pt x="13163" y="5217"/>
                  <a:pt x="13139" y="5167"/>
                  <a:pt x="13109" y="5167"/>
                </a:cubicBezTo>
                <a:cubicBezTo>
                  <a:pt x="13079" y="5167"/>
                  <a:pt x="13055" y="5217"/>
                  <a:pt x="13055" y="5280"/>
                </a:cubicBezTo>
                <a:cubicBezTo>
                  <a:pt x="13055" y="5342"/>
                  <a:pt x="13079" y="5393"/>
                  <a:pt x="13109" y="5393"/>
                </a:cubicBezTo>
                <a:close/>
                <a:moveTo>
                  <a:pt x="13109" y="5066"/>
                </a:moveTo>
                <a:cubicBezTo>
                  <a:pt x="13139" y="5066"/>
                  <a:pt x="13163" y="5015"/>
                  <a:pt x="13163" y="4953"/>
                </a:cubicBezTo>
                <a:cubicBezTo>
                  <a:pt x="13163" y="4890"/>
                  <a:pt x="13139" y="4840"/>
                  <a:pt x="13109" y="4840"/>
                </a:cubicBezTo>
                <a:cubicBezTo>
                  <a:pt x="13079" y="4840"/>
                  <a:pt x="13055" y="4890"/>
                  <a:pt x="13055" y="4953"/>
                </a:cubicBezTo>
                <a:cubicBezTo>
                  <a:pt x="13055" y="5015"/>
                  <a:pt x="13079" y="5066"/>
                  <a:pt x="13109" y="5066"/>
                </a:cubicBezTo>
                <a:close/>
                <a:moveTo>
                  <a:pt x="12956" y="5393"/>
                </a:moveTo>
                <a:cubicBezTo>
                  <a:pt x="12986" y="5393"/>
                  <a:pt x="13010" y="5342"/>
                  <a:pt x="13010" y="5280"/>
                </a:cubicBezTo>
                <a:cubicBezTo>
                  <a:pt x="13010" y="5217"/>
                  <a:pt x="12986" y="5167"/>
                  <a:pt x="12956" y="5167"/>
                </a:cubicBezTo>
                <a:cubicBezTo>
                  <a:pt x="12927" y="5167"/>
                  <a:pt x="12903" y="5217"/>
                  <a:pt x="12903" y="5280"/>
                </a:cubicBezTo>
                <a:cubicBezTo>
                  <a:pt x="12903" y="5342"/>
                  <a:pt x="12927" y="5393"/>
                  <a:pt x="12956" y="5393"/>
                </a:cubicBezTo>
                <a:close/>
                <a:moveTo>
                  <a:pt x="12956" y="5066"/>
                </a:moveTo>
                <a:cubicBezTo>
                  <a:pt x="12986" y="5066"/>
                  <a:pt x="13010" y="5015"/>
                  <a:pt x="13010" y="4953"/>
                </a:cubicBezTo>
                <a:cubicBezTo>
                  <a:pt x="13010" y="4890"/>
                  <a:pt x="12986" y="4840"/>
                  <a:pt x="12956" y="4840"/>
                </a:cubicBezTo>
                <a:cubicBezTo>
                  <a:pt x="12927" y="4840"/>
                  <a:pt x="12903" y="4890"/>
                  <a:pt x="12903" y="4953"/>
                </a:cubicBezTo>
                <a:cubicBezTo>
                  <a:pt x="12903" y="5015"/>
                  <a:pt x="12927" y="5066"/>
                  <a:pt x="12956" y="5066"/>
                </a:cubicBezTo>
                <a:close/>
                <a:moveTo>
                  <a:pt x="12801" y="5167"/>
                </a:moveTo>
                <a:cubicBezTo>
                  <a:pt x="12771" y="5167"/>
                  <a:pt x="12747" y="5217"/>
                  <a:pt x="12747" y="5280"/>
                </a:cubicBezTo>
                <a:cubicBezTo>
                  <a:pt x="12747" y="5342"/>
                  <a:pt x="12771" y="5393"/>
                  <a:pt x="12801" y="5393"/>
                </a:cubicBezTo>
                <a:cubicBezTo>
                  <a:pt x="12831" y="5393"/>
                  <a:pt x="12855" y="5342"/>
                  <a:pt x="12855" y="5280"/>
                </a:cubicBezTo>
                <a:cubicBezTo>
                  <a:pt x="12855" y="5217"/>
                  <a:pt x="12831" y="5167"/>
                  <a:pt x="12801" y="5167"/>
                </a:cubicBezTo>
                <a:close/>
                <a:moveTo>
                  <a:pt x="12801" y="4840"/>
                </a:moveTo>
                <a:cubicBezTo>
                  <a:pt x="12771" y="4840"/>
                  <a:pt x="12747" y="4890"/>
                  <a:pt x="12747" y="4953"/>
                </a:cubicBezTo>
                <a:cubicBezTo>
                  <a:pt x="12747" y="5015"/>
                  <a:pt x="12771" y="5066"/>
                  <a:pt x="12801" y="5066"/>
                </a:cubicBezTo>
                <a:cubicBezTo>
                  <a:pt x="12831" y="5066"/>
                  <a:pt x="12855" y="5015"/>
                  <a:pt x="12855" y="4953"/>
                </a:cubicBezTo>
                <a:cubicBezTo>
                  <a:pt x="12855" y="4890"/>
                  <a:pt x="12831" y="4840"/>
                  <a:pt x="12801" y="4840"/>
                </a:cubicBezTo>
                <a:close/>
                <a:moveTo>
                  <a:pt x="12647" y="5393"/>
                </a:moveTo>
                <a:cubicBezTo>
                  <a:pt x="12677" y="5393"/>
                  <a:pt x="12701" y="5342"/>
                  <a:pt x="12701" y="5280"/>
                </a:cubicBezTo>
                <a:cubicBezTo>
                  <a:pt x="12701" y="5217"/>
                  <a:pt x="12677" y="5167"/>
                  <a:pt x="12647" y="5167"/>
                </a:cubicBezTo>
                <a:cubicBezTo>
                  <a:pt x="12617" y="5167"/>
                  <a:pt x="12593" y="5217"/>
                  <a:pt x="12593" y="5280"/>
                </a:cubicBezTo>
                <a:cubicBezTo>
                  <a:pt x="12593" y="5342"/>
                  <a:pt x="12617" y="5393"/>
                  <a:pt x="12647" y="5393"/>
                </a:cubicBezTo>
                <a:close/>
                <a:moveTo>
                  <a:pt x="12647" y="5066"/>
                </a:moveTo>
                <a:cubicBezTo>
                  <a:pt x="12677" y="5066"/>
                  <a:pt x="12701" y="5015"/>
                  <a:pt x="12701" y="4953"/>
                </a:cubicBezTo>
                <a:cubicBezTo>
                  <a:pt x="12701" y="4890"/>
                  <a:pt x="12677" y="4840"/>
                  <a:pt x="12647" y="4840"/>
                </a:cubicBezTo>
                <a:cubicBezTo>
                  <a:pt x="12617" y="4840"/>
                  <a:pt x="12593" y="4890"/>
                  <a:pt x="12593" y="4953"/>
                </a:cubicBezTo>
                <a:cubicBezTo>
                  <a:pt x="12593" y="5015"/>
                  <a:pt x="12617" y="5066"/>
                  <a:pt x="12647" y="5066"/>
                </a:cubicBezTo>
                <a:close/>
                <a:moveTo>
                  <a:pt x="12495" y="5393"/>
                </a:moveTo>
                <a:cubicBezTo>
                  <a:pt x="12524" y="5393"/>
                  <a:pt x="12548" y="5342"/>
                  <a:pt x="12548" y="5280"/>
                </a:cubicBezTo>
                <a:cubicBezTo>
                  <a:pt x="12548" y="5217"/>
                  <a:pt x="12524" y="5167"/>
                  <a:pt x="12495" y="5167"/>
                </a:cubicBezTo>
                <a:cubicBezTo>
                  <a:pt x="12465" y="5167"/>
                  <a:pt x="12441" y="5217"/>
                  <a:pt x="12441" y="5280"/>
                </a:cubicBezTo>
                <a:cubicBezTo>
                  <a:pt x="12441" y="5342"/>
                  <a:pt x="12465" y="5393"/>
                  <a:pt x="12495" y="5393"/>
                </a:cubicBezTo>
                <a:close/>
                <a:moveTo>
                  <a:pt x="12346" y="5066"/>
                </a:moveTo>
                <a:cubicBezTo>
                  <a:pt x="12376" y="5066"/>
                  <a:pt x="12400" y="5015"/>
                  <a:pt x="12400" y="4953"/>
                </a:cubicBezTo>
                <a:cubicBezTo>
                  <a:pt x="12400" y="4890"/>
                  <a:pt x="12376" y="4840"/>
                  <a:pt x="12346" y="4840"/>
                </a:cubicBezTo>
                <a:cubicBezTo>
                  <a:pt x="12317" y="4840"/>
                  <a:pt x="12292" y="4890"/>
                  <a:pt x="12292" y="4953"/>
                </a:cubicBezTo>
                <a:cubicBezTo>
                  <a:pt x="12292" y="5015"/>
                  <a:pt x="12317" y="5066"/>
                  <a:pt x="12346" y="5066"/>
                </a:cubicBezTo>
                <a:close/>
                <a:moveTo>
                  <a:pt x="12495" y="5066"/>
                </a:moveTo>
                <a:cubicBezTo>
                  <a:pt x="12524" y="5066"/>
                  <a:pt x="12548" y="5015"/>
                  <a:pt x="12548" y="4953"/>
                </a:cubicBezTo>
                <a:cubicBezTo>
                  <a:pt x="12548" y="4890"/>
                  <a:pt x="12524" y="4840"/>
                  <a:pt x="12495" y="4840"/>
                </a:cubicBezTo>
                <a:cubicBezTo>
                  <a:pt x="12465" y="4840"/>
                  <a:pt x="12441" y="4890"/>
                  <a:pt x="12441" y="4953"/>
                </a:cubicBezTo>
                <a:cubicBezTo>
                  <a:pt x="12441" y="5015"/>
                  <a:pt x="12465" y="5066"/>
                  <a:pt x="12495" y="5066"/>
                </a:cubicBezTo>
                <a:close/>
                <a:moveTo>
                  <a:pt x="16498" y="2493"/>
                </a:moveTo>
                <a:cubicBezTo>
                  <a:pt x="16528" y="2493"/>
                  <a:pt x="16552" y="2442"/>
                  <a:pt x="16552" y="2380"/>
                </a:cubicBezTo>
                <a:cubicBezTo>
                  <a:pt x="16552" y="2317"/>
                  <a:pt x="16528" y="2266"/>
                  <a:pt x="16498" y="2266"/>
                </a:cubicBezTo>
                <a:cubicBezTo>
                  <a:pt x="16468" y="2266"/>
                  <a:pt x="16444" y="2317"/>
                  <a:pt x="16444" y="2380"/>
                </a:cubicBezTo>
                <a:cubicBezTo>
                  <a:pt x="16444" y="2442"/>
                  <a:pt x="16468" y="2493"/>
                  <a:pt x="16498" y="2493"/>
                </a:cubicBezTo>
                <a:close/>
                <a:moveTo>
                  <a:pt x="16498" y="2166"/>
                </a:moveTo>
                <a:cubicBezTo>
                  <a:pt x="16528" y="2166"/>
                  <a:pt x="16552" y="2115"/>
                  <a:pt x="16552" y="2053"/>
                </a:cubicBezTo>
                <a:cubicBezTo>
                  <a:pt x="16552" y="1990"/>
                  <a:pt x="16528" y="1940"/>
                  <a:pt x="16498" y="1940"/>
                </a:cubicBezTo>
                <a:cubicBezTo>
                  <a:pt x="16468" y="1940"/>
                  <a:pt x="16444" y="1990"/>
                  <a:pt x="16444" y="2053"/>
                </a:cubicBezTo>
                <a:cubicBezTo>
                  <a:pt x="16444" y="2115"/>
                  <a:pt x="16468" y="2166"/>
                  <a:pt x="16498" y="2166"/>
                </a:cubicBezTo>
                <a:close/>
                <a:moveTo>
                  <a:pt x="16344" y="2493"/>
                </a:moveTo>
                <a:cubicBezTo>
                  <a:pt x="16374" y="2493"/>
                  <a:pt x="16398" y="2442"/>
                  <a:pt x="16398" y="2380"/>
                </a:cubicBezTo>
                <a:cubicBezTo>
                  <a:pt x="16398" y="2317"/>
                  <a:pt x="16374" y="2266"/>
                  <a:pt x="16344" y="2266"/>
                </a:cubicBezTo>
                <a:cubicBezTo>
                  <a:pt x="16314" y="2266"/>
                  <a:pt x="16290" y="2317"/>
                  <a:pt x="16290" y="2380"/>
                </a:cubicBezTo>
                <a:cubicBezTo>
                  <a:pt x="16290" y="2442"/>
                  <a:pt x="16314" y="2493"/>
                  <a:pt x="16344" y="2493"/>
                </a:cubicBezTo>
                <a:close/>
                <a:moveTo>
                  <a:pt x="16344" y="2166"/>
                </a:moveTo>
                <a:cubicBezTo>
                  <a:pt x="16374" y="2166"/>
                  <a:pt x="16398" y="2115"/>
                  <a:pt x="16398" y="2053"/>
                </a:cubicBezTo>
                <a:cubicBezTo>
                  <a:pt x="16398" y="1990"/>
                  <a:pt x="16374" y="1940"/>
                  <a:pt x="16344" y="1940"/>
                </a:cubicBezTo>
                <a:cubicBezTo>
                  <a:pt x="16314" y="1940"/>
                  <a:pt x="16290" y="1990"/>
                  <a:pt x="16290" y="2053"/>
                </a:cubicBezTo>
                <a:cubicBezTo>
                  <a:pt x="16290" y="2115"/>
                  <a:pt x="16314" y="2166"/>
                  <a:pt x="16344" y="2166"/>
                </a:cubicBezTo>
                <a:close/>
                <a:moveTo>
                  <a:pt x="18345" y="2266"/>
                </a:moveTo>
                <a:cubicBezTo>
                  <a:pt x="18315" y="2266"/>
                  <a:pt x="18291" y="2317"/>
                  <a:pt x="18291" y="2380"/>
                </a:cubicBezTo>
                <a:cubicBezTo>
                  <a:pt x="18291" y="2442"/>
                  <a:pt x="18315" y="2493"/>
                  <a:pt x="18345" y="2493"/>
                </a:cubicBezTo>
                <a:cubicBezTo>
                  <a:pt x="18374" y="2493"/>
                  <a:pt x="18399" y="2442"/>
                  <a:pt x="18399" y="2380"/>
                </a:cubicBezTo>
                <a:cubicBezTo>
                  <a:pt x="18399" y="2317"/>
                  <a:pt x="18374" y="2266"/>
                  <a:pt x="18345" y="2266"/>
                </a:cubicBezTo>
                <a:close/>
                <a:moveTo>
                  <a:pt x="18345" y="1940"/>
                </a:moveTo>
                <a:cubicBezTo>
                  <a:pt x="18315" y="1940"/>
                  <a:pt x="18291" y="1990"/>
                  <a:pt x="18291" y="2053"/>
                </a:cubicBezTo>
                <a:cubicBezTo>
                  <a:pt x="18291" y="2115"/>
                  <a:pt x="18315" y="2166"/>
                  <a:pt x="18345" y="2166"/>
                </a:cubicBezTo>
                <a:cubicBezTo>
                  <a:pt x="18374" y="2166"/>
                  <a:pt x="18399" y="2115"/>
                  <a:pt x="18399" y="2053"/>
                </a:cubicBezTo>
                <a:cubicBezTo>
                  <a:pt x="18399" y="1990"/>
                  <a:pt x="18374" y="1940"/>
                  <a:pt x="18345" y="1940"/>
                </a:cubicBezTo>
                <a:close/>
                <a:moveTo>
                  <a:pt x="18192" y="2493"/>
                </a:moveTo>
                <a:cubicBezTo>
                  <a:pt x="18222" y="2493"/>
                  <a:pt x="18246" y="2442"/>
                  <a:pt x="18246" y="2380"/>
                </a:cubicBezTo>
                <a:cubicBezTo>
                  <a:pt x="18246" y="2317"/>
                  <a:pt x="18222" y="2266"/>
                  <a:pt x="18192" y="2266"/>
                </a:cubicBezTo>
                <a:cubicBezTo>
                  <a:pt x="18162" y="2266"/>
                  <a:pt x="18138" y="2317"/>
                  <a:pt x="18138" y="2380"/>
                </a:cubicBezTo>
                <a:cubicBezTo>
                  <a:pt x="18138" y="2442"/>
                  <a:pt x="18162" y="2493"/>
                  <a:pt x="18192" y="2493"/>
                </a:cubicBezTo>
                <a:close/>
                <a:moveTo>
                  <a:pt x="18192" y="1940"/>
                </a:moveTo>
                <a:cubicBezTo>
                  <a:pt x="18162" y="1940"/>
                  <a:pt x="18138" y="1990"/>
                  <a:pt x="18138" y="2053"/>
                </a:cubicBezTo>
                <a:cubicBezTo>
                  <a:pt x="18138" y="2115"/>
                  <a:pt x="18162" y="2166"/>
                  <a:pt x="18192" y="2166"/>
                </a:cubicBezTo>
                <a:cubicBezTo>
                  <a:pt x="18222" y="2166"/>
                  <a:pt x="18246" y="2115"/>
                  <a:pt x="18246" y="2053"/>
                </a:cubicBezTo>
                <a:cubicBezTo>
                  <a:pt x="18246" y="1990"/>
                  <a:pt x="18222" y="1940"/>
                  <a:pt x="18192" y="1940"/>
                </a:cubicBezTo>
                <a:close/>
                <a:moveTo>
                  <a:pt x="18037" y="2493"/>
                </a:moveTo>
                <a:cubicBezTo>
                  <a:pt x="18066" y="2493"/>
                  <a:pt x="18091" y="2442"/>
                  <a:pt x="18091" y="2380"/>
                </a:cubicBezTo>
                <a:cubicBezTo>
                  <a:pt x="18091" y="2317"/>
                  <a:pt x="18066" y="2266"/>
                  <a:pt x="18037" y="2266"/>
                </a:cubicBezTo>
                <a:cubicBezTo>
                  <a:pt x="18007" y="2266"/>
                  <a:pt x="17983" y="2317"/>
                  <a:pt x="17983" y="2380"/>
                </a:cubicBezTo>
                <a:cubicBezTo>
                  <a:pt x="17983" y="2442"/>
                  <a:pt x="18007" y="2493"/>
                  <a:pt x="18037" y="2493"/>
                </a:cubicBezTo>
                <a:close/>
                <a:moveTo>
                  <a:pt x="18037" y="2166"/>
                </a:moveTo>
                <a:cubicBezTo>
                  <a:pt x="18066" y="2166"/>
                  <a:pt x="18091" y="2115"/>
                  <a:pt x="18091" y="2053"/>
                </a:cubicBezTo>
                <a:cubicBezTo>
                  <a:pt x="18091" y="1990"/>
                  <a:pt x="18066" y="1940"/>
                  <a:pt x="18037" y="1940"/>
                </a:cubicBezTo>
                <a:cubicBezTo>
                  <a:pt x="18007" y="1940"/>
                  <a:pt x="17983" y="1990"/>
                  <a:pt x="17983" y="2053"/>
                </a:cubicBezTo>
                <a:cubicBezTo>
                  <a:pt x="17983" y="2115"/>
                  <a:pt x="18007" y="2166"/>
                  <a:pt x="18037" y="2166"/>
                </a:cubicBezTo>
                <a:close/>
                <a:moveTo>
                  <a:pt x="17883" y="2266"/>
                </a:moveTo>
                <a:cubicBezTo>
                  <a:pt x="17853" y="2266"/>
                  <a:pt x="17829" y="2317"/>
                  <a:pt x="17829" y="2380"/>
                </a:cubicBezTo>
                <a:cubicBezTo>
                  <a:pt x="17829" y="2442"/>
                  <a:pt x="17853" y="2493"/>
                  <a:pt x="17883" y="2493"/>
                </a:cubicBezTo>
                <a:cubicBezTo>
                  <a:pt x="17912" y="2493"/>
                  <a:pt x="17937" y="2442"/>
                  <a:pt x="17937" y="2380"/>
                </a:cubicBezTo>
                <a:cubicBezTo>
                  <a:pt x="17937" y="2317"/>
                  <a:pt x="17912" y="2266"/>
                  <a:pt x="17883" y="2266"/>
                </a:cubicBezTo>
                <a:close/>
                <a:moveTo>
                  <a:pt x="17883" y="1940"/>
                </a:moveTo>
                <a:cubicBezTo>
                  <a:pt x="17853" y="1940"/>
                  <a:pt x="17829" y="1990"/>
                  <a:pt x="17829" y="2053"/>
                </a:cubicBezTo>
                <a:cubicBezTo>
                  <a:pt x="17829" y="2115"/>
                  <a:pt x="17853" y="2166"/>
                  <a:pt x="17883" y="2166"/>
                </a:cubicBezTo>
                <a:cubicBezTo>
                  <a:pt x="17912" y="2166"/>
                  <a:pt x="17937" y="2115"/>
                  <a:pt x="17937" y="2053"/>
                </a:cubicBezTo>
                <a:cubicBezTo>
                  <a:pt x="17937" y="1990"/>
                  <a:pt x="17912" y="1940"/>
                  <a:pt x="17883" y="1940"/>
                </a:cubicBezTo>
                <a:close/>
                <a:moveTo>
                  <a:pt x="17730" y="2266"/>
                </a:moveTo>
                <a:cubicBezTo>
                  <a:pt x="17700" y="2266"/>
                  <a:pt x="17676" y="2317"/>
                  <a:pt x="17676" y="2380"/>
                </a:cubicBezTo>
                <a:cubicBezTo>
                  <a:pt x="17676" y="2442"/>
                  <a:pt x="17700" y="2493"/>
                  <a:pt x="17730" y="2493"/>
                </a:cubicBezTo>
                <a:cubicBezTo>
                  <a:pt x="17760" y="2493"/>
                  <a:pt x="17784" y="2442"/>
                  <a:pt x="17784" y="2380"/>
                </a:cubicBezTo>
                <a:cubicBezTo>
                  <a:pt x="17784" y="2317"/>
                  <a:pt x="17760" y="2266"/>
                  <a:pt x="17730" y="2266"/>
                </a:cubicBezTo>
                <a:close/>
                <a:moveTo>
                  <a:pt x="17730" y="1940"/>
                </a:moveTo>
                <a:cubicBezTo>
                  <a:pt x="17700" y="1940"/>
                  <a:pt x="17676" y="1990"/>
                  <a:pt x="17676" y="2053"/>
                </a:cubicBezTo>
                <a:cubicBezTo>
                  <a:pt x="17676" y="2115"/>
                  <a:pt x="17700" y="2166"/>
                  <a:pt x="17730" y="2166"/>
                </a:cubicBezTo>
                <a:cubicBezTo>
                  <a:pt x="17760" y="2166"/>
                  <a:pt x="17784" y="2115"/>
                  <a:pt x="17784" y="2053"/>
                </a:cubicBezTo>
                <a:cubicBezTo>
                  <a:pt x="17784" y="1990"/>
                  <a:pt x="17760" y="1940"/>
                  <a:pt x="17730" y="1940"/>
                </a:cubicBezTo>
                <a:close/>
                <a:moveTo>
                  <a:pt x="18800" y="2493"/>
                </a:moveTo>
                <a:cubicBezTo>
                  <a:pt x="18830" y="2493"/>
                  <a:pt x="18854" y="2442"/>
                  <a:pt x="18854" y="2380"/>
                </a:cubicBezTo>
                <a:cubicBezTo>
                  <a:pt x="18854" y="2317"/>
                  <a:pt x="18830" y="2266"/>
                  <a:pt x="18800" y="2266"/>
                </a:cubicBezTo>
                <a:cubicBezTo>
                  <a:pt x="18771" y="2266"/>
                  <a:pt x="18747" y="2317"/>
                  <a:pt x="18747" y="2380"/>
                </a:cubicBezTo>
                <a:cubicBezTo>
                  <a:pt x="18747" y="2442"/>
                  <a:pt x="18771" y="2493"/>
                  <a:pt x="18800" y="2493"/>
                </a:cubicBezTo>
                <a:close/>
                <a:moveTo>
                  <a:pt x="18953" y="2166"/>
                </a:moveTo>
                <a:cubicBezTo>
                  <a:pt x="18983" y="2166"/>
                  <a:pt x="19007" y="2115"/>
                  <a:pt x="19007" y="2053"/>
                </a:cubicBezTo>
                <a:cubicBezTo>
                  <a:pt x="19007" y="1990"/>
                  <a:pt x="18983" y="1940"/>
                  <a:pt x="18953" y="1940"/>
                </a:cubicBezTo>
                <a:cubicBezTo>
                  <a:pt x="18924" y="1940"/>
                  <a:pt x="18900" y="1990"/>
                  <a:pt x="18900" y="2053"/>
                </a:cubicBezTo>
                <a:cubicBezTo>
                  <a:pt x="18900" y="2115"/>
                  <a:pt x="18924" y="2166"/>
                  <a:pt x="18953" y="2166"/>
                </a:cubicBezTo>
                <a:close/>
                <a:moveTo>
                  <a:pt x="18800" y="2166"/>
                </a:moveTo>
                <a:cubicBezTo>
                  <a:pt x="18830" y="2166"/>
                  <a:pt x="18854" y="2115"/>
                  <a:pt x="18854" y="2053"/>
                </a:cubicBezTo>
                <a:cubicBezTo>
                  <a:pt x="18854" y="1990"/>
                  <a:pt x="18830" y="1940"/>
                  <a:pt x="18800" y="1940"/>
                </a:cubicBezTo>
                <a:cubicBezTo>
                  <a:pt x="18771" y="1940"/>
                  <a:pt x="18747" y="1990"/>
                  <a:pt x="18747" y="2053"/>
                </a:cubicBezTo>
                <a:cubicBezTo>
                  <a:pt x="18747" y="2115"/>
                  <a:pt x="18771" y="2166"/>
                  <a:pt x="18800" y="2166"/>
                </a:cubicBezTo>
                <a:close/>
                <a:moveTo>
                  <a:pt x="18502" y="3888"/>
                </a:moveTo>
                <a:cubicBezTo>
                  <a:pt x="18472" y="3888"/>
                  <a:pt x="18448" y="3939"/>
                  <a:pt x="18448" y="4002"/>
                </a:cubicBezTo>
                <a:cubicBezTo>
                  <a:pt x="18448" y="4064"/>
                  <a:pt x="18472" y="4115"/>
                  <a:pt x="18502" y="4115"/>
                </a:cubicBezTo>
                <a:cubicBezTo>
                  <a:pt x="18531" y="4115"/>
                  <a:pt x="18555" y="4064"/>
                  <a:pt x="18555" y="4002"/>
                </a:cubicBezTo>
                <a:cubicBezTo>
                  <a:pt x="18555" y="3939"/>
                  <a:pt x="18531" y="3888"/>
                  <a:pt x="18502" y="3888"/>
                </a:cubicBezTo>
                <a:close/>
                <a:moveTo>
                  <a:pt x="18498" y="3801"/>
                </a:moveTo>
                <a:cubicBezTo>
                  <a:pt x="18528" y="3801"/>
                  <a:pt x="18552" y="3750"/>
                  <a:pt x="18552" y="3687"/>
                </a:cubicBezTo>
                <a:cubicBezTo>
                  <a:pt x="18552" y="3625"/>
                  <a:pt x="18528" y="3574"/>
                  <a:pt x="18498" y="3574"/>
                </a:cubicBezTo>
                <a:cubicBezTo>
                  <a:pt x="18469" y="3574"/>
                  <a:pt x="18445" y="3625"/>
                  <a:pt x="18445" y="3687"/>
                </a:cubicBezTo>
                <a:cubicBezTo>
                  <a:pt x="18445" y="3750"/>
                  <a:pt x="18469" y="3801"/>
                  <a:pt x="18498" y="3801"/>
                </a:cubicBezTo>
                <a:close/>
                <a:moveTo>
                  <a:pt x="18502" y="3248"/>
                </a:moveTo>
                <a:cubicBezTo>
                  <a:pt x="18472" y="3248"/>
                  <a:pt x="18448" y="3299"/>
                  <a:pt x="18448" y="3361"/>
                </a:cubicBezTo>
                <a:cubicBezTo>
                  <a:pt x="18448" y="3424"/>
                  <a:pt x="18472" y="3474"/>
                  <a:pt x="18502" y="3474"/>
                </a:cubicBezTo>
                <a:cubicBezTo>
                  <a:pt x="18531" y="3474"/>
                  <a:pt x="18555" y="3424"/>
                  <a:pt x="18555" y="3361"/>
                </a:cubicBezTo>
                <a:cubicBezTo>
                  <a:pt x="18555" y="3299"/>
                  <a:pt x="18531" y="3248"/>
                  <a:pt x="18502" y="3248"/>
                </a:cubicBezTo>
                <a:close/>
                <a:moveTo>
                  <a:pt x="18349" y="3248"/>
                </a:moveTo>
                <a:cubicBezTo>
                  <a:pt x="18319" y="3248"/>
                  <a:pt x="18295" y="3299"/>
                  <a:pt x="18295" y="3361"/>
                </a:cubicBezTo>
                <a:cubicBezTo>
                  <a:pt x="18295" y="3424"/>
                  <a:pt x="18319" y="3474"/>
                  <a:pt x="18349" y="3474"/>
                </a:cubicBezTo>
                <a:cubicBezTo>
                  <a:pt x="18379" y="3474"/>
                  <a:pt x="18403" y="3424"/>
                  <a:pt x="18403" y="3361"/>
                </a:cubicBezTo>
                <a:cubicBezTo>
                  <a:pt x="18403" y="3299"/>
                  <a:pt x="18379" y="3248"/>
                  <a:pt x="18349" y="3248"/>
                </a:cubicBezTo>
                <a:close/>
                <a:moveTo>
                  <a:pt x="18800" y="3160"/>
                </a:moveTo>
                <a:cubicBezTo>
                  <a:pt x="18830" y="3160"/>
                  <a:pt x="18854" y="3109"/>
                  <a:pt x="18854" y="3047"/>
                </a:cubicBezTo>
                <a:cubicBezTo>
                  <a:pt x="18854" y="2984"/>
                  <a:pt x="18830" y="2934"/>
                  <a:pt x="18800" y="2934"/>
                </a:cubicBezTo>
                <a:cubicBezTo>
                  <a:pt x="18771" y="2934"/>
                  <a:pt x="18747" y="2984"/>
                  <a:pt x="18747" y="3047"/>
                </a:cubicBezTo>
                <a:cubicBezTo>
                  <a:pt x="18747" y="3109"/>
                  <a:pt x="18771" y="3160"/>
                  <a:pt x="18800" y="3160"/>
                </a:cubicBezTo>
                <a:close/>
                <a:moveTo>
                  <a:pt x="19263" y="2489"/>
                </a:moveTo>
                <a:cubicBezTo>
                  <a:pt x="19292" y="2489"/>
                  <a:pt x="19316" y="2438"/>
                  <a:pt x="19316" y="2376"/>
                </a:cubicBezTo>
                <a:cubicBezTo>
                  <a:pt x="19316" y="2313"/>
                  <a:pt x="19292" y="2263"/>
                  <a:pt x="19263" y="2263"/>
                </a:cubicBezTo>
                <a:cubicBezTo>
                  <a:pt x="19233" y="2263"/>
                  <a:pt x="19209" y="2313"/>
                  <a:pt x="19209" y="2376"/>
                </a:cubicBezTo>
                <a:cubicBezTo>
                  <a:pt x="19209" y="2438"/>
                  <a:pt x="19233" y="2489"/>
                  <a:pt x="19263" y="2489"/>
                </a:cubicBezTo>
                <a:close/>
                <a:moveTo>
                  <a:pt x="19099" y="2833"/>
                </a:moveTo>
                <a:cubicBezTo>
                  <a:pt x="19129" y="2833"/>
                  <a:pt x="19153" y="2783"/>
                  <a:pt x="19153" y="2720"/>
                </a:cubicBezTo>
                <a:cubicBezTo>
                  <a:pt x="19153" y="2658"/>
                  <a:pt x="19129" y="2607"/>
                  <a:pt x="19099" y="2607"/>
                </a:cubicBezTo>
                <a:cubicBezTo>
                  <a:pt x="19069" y="2607"/>
                  <a:pt x="19045" y="2658"/>
                  <a:pt x="19045" y="2720"/>
                </a:cubicBezTo>
                <a:cubicBezTo>
                  <a:pt x="19045" y="2783"/>
                  <a:pt x="19069" y="2833"/>
                  <a:pt x="19099" y="2833"/>
                </a:cubicBezTo>
                <a:close/>
                <a:moveTo>
                  <a:pt x="18955" y="2833"/>
                </a:moveTo>
                <a:cubicBezTo>
                  <a:pt x="18985" y="2833"/>
                  <a:pt x="19009" y="2783"/>
                  <a:pt x="19009" y="2720"/>
                </a:cubicBezTo>
                <a:cubicBezTo>
                  <a:pt x="19009" y="2658"/>
                  <a:pt x="18985" y="2607"/>
                  <a:pt x="18955" y="2607"/>
                </a:cubicBezTo>
                <a:cubicBezTo>
                  <a:pt x="18926" y="2607"/>
                  <a:pt x="18902" y="2658"/>
                  <a:pt x="18902" y="2720"/>
                </a:cubicBezTo>
                <a:cubicBezTo>
                  <a:pt x="18902" y="2783"/>
                  <a:pt x="18926" y="2833"/>
                  <a:pt x="18955" y="2833"/>
                </a:cubicBezTo>
                <a:close/>
                <a:moveTo>
                  <a:pt x="18800" y="2833"/>
                </a:moveTo>
                <a:cubicBezTo>
                  <a:pt x="18830" y="2833"/>
                  <a:pt x="18854" y="2783"/>
                  <a:pt x="18854" y="2720"/>
                </a:cubicBezTo>
                <a:cubicBezTo>
                  <a:pt x="18854" y="2658"/>
                  <a:pt x="18830" y="2607"/>
                  <a:pt x="18800" y="2607"/>
                </a:cubicBezTo>
                <a:cubicBezTo>
                  <a:pt x="18771" y="2607"/>
                  <a:pt x="18747" y="2658"/>
                  <a:pt x="18747" y="2720"/>
                </a:cubicBezTo>
                <a:cubicBezTo>
                  <a:pt x="18747" y="2783"/>
                  <a:pt x="18771" y="2833"/>
                  <a:pt x="18800" y="2833"/>
                </a:cubicBezTo>
                <a:close/>
                <a:moveTo>
                  <a:pt x="18651" y="2493"/>
                </a:moveTo>
                <a:cubicBezTo>
                  <a:pt x="18681" y="2493"/>
                  <a:pt x="18705" y="2442"/>
                  <a:pt x="18705" y="2380"/>
                </a:cubicBezTo>
                <a:cubicBezTo>
                  <a:pt x="18705" y="2317"/>
                  <a:pt x="18681" y="2266"/>
                  <a:pt x="18651" y="2266"/>
                </a:cubicBezTo>
                <a:cubicBezTo>
                  <a:pt x="18621" y="2266"/>
                  <a:pt x="18597" y="2317"/>
                  <a:pt x="18597" y="2380"/>
                </a:cubicBezTo>
                <a:cubicBezTo>
                  <a:pt x="18597" y="2442"/>
                  <a:pt x="18621" y="2493"/>
                  <a:pt x="18651" y="2493"/>
                </a:cubicBezTo>
                <a:close/>
                <a:moveTo>
                  <a:pt x="18651" y="2166"/>
                </a:moveTo>
                <a:cubicBezTo>
                  <a:pt x="18681" y="2166"/>
                  <a:pt x="18705" y="2115"/>
                  <a:pt x="18705" y="2053"/>
                </a:cubicBezTo>
                <a:cubicBezTo>
                  <a:pt x="18705" y="1990"/>
                  <a:pt x="18681" y="1940"/>
                  <a:pt x="18651" y="1940"/>
                </a:cubicBezTo>
                <a:cubicBezTo>
                  <a:pt x="18621" y="1940"/>
                  <a:pt x="18597" y="1990"/>
                  <a:pt x="18597" y="2053"/>
                </a:cubicBezTo>
                <a:cubicBezTo>
                  <a:pt x="18597" y="2115"/>
                  <a:pt x="18621" y="2166"/>
                  <a:pt x="18651" y="2166"/>
                </a:cubicBezTo>
                <a:close/>
                <a:moveTo>
                  <a:pt x="18498" y="2266"/>
                </a:moveTo>
                <a:cubicBezTo>
                  <a:pt x="18469" y="2266"/>
                  <a:pt x="18445" y="2317"/>
                  <a:pt x="18445" y="2380"/>
                </a:cubicBezTo>
                <a:cubicBezTo>
                  <a:pt x="18445" y="2442"/>
                  <a:pt x="18469" y="2493"/>
                  <a:pt x="18498" y="2493"/>
                </a:cubicBezTo>
                <a:cubicBezTo>
                  <a:pt x="18528" y="2493"/>
                  <a:pt x="18552" y="2442"/>
                  <a:pt x="18552" y="2380"/>
                </a:cubicBezTo>
                <a:cubicBezTo>
                  <a:pt x="18552" y="2317"/>
                  <a:pt x="18528" y="2266"/>
                  <a:pt x="18498" y="2266"/>
                </a:cubicBezTo>
                <a:close/>
                <a:moveTo>
                  <a:pt x="18498" y="1940"/>
                </a:moveTo>
                <a:cubicBezTo>
                  <a:pt x="18469" y="1940"/>
                  <a:pt x="18445" y="1990"/>
                  <a:pt x="18445" y="2053"/>
                </a:cubicBezTo>
                <a:cubicBezTo>
                  <a:pt x="18445" y="2115"/>
                  <a:pt x="18469" y="2166"/>
                  <a:pt x="18498" y="2166"/>
                </a:cubicBezTo>
                <a:cubicBezTo>
                  <a:pt x="18528" y="2166"/>
                  <a:pt x="18552" y="2115"/>
                  <a:pt x="18552" y="2053"/>
                </a:cubicBezTo>
                <a:cubicBezTo>
                  <a:pt x="18552" y="1990"/>
                  <a:pt x="18528" y="1940"/>
                  <a:pt x="18498" y="1940"/>
                </a:cubicBezTo>
                <a:close/>
                <a:moveTo>
                  <a:pt x="18345" y="2607"/>
                </a:moveTo>
                <a:cubicBezTo>
                  <a:pt x="18315" y="2607"/>
                  <a:pt x="18291" y="2658"/>
                  <a:pt x="18291" y="2720"/>
                </a:cubicBezTo>
                <a:cubicBezTo>
                  <a:pt x="18291" y="2783"/>
                  <a:pt x="18315" y="2833"/>
                  <a:pt x="18345" y="2833"/>
                </a:cubicBezTo>
                <a:cubicBezTo>
                  <a:pt x="18374" y="2833"/>
                  <a:pt x="18399" y="2783"/>
                  <a:pt x="18399" y="2720"/>
                </a:cubicBezTo>
                <a:cubicBezTo>
                  <a:pt x="18399" y="2658"/>
                  <a:pt x="18374" y="2607"/>
                  <a:pt x="18345" y="2607"/>
                </a:cubicBezTo>
                <a:close/>
                <a:moveTo>
                  <a:pt x="18192" y="2833"/>
                </a:moveTo>
                <a:cubicBezTo>
                  <a:pt x="18222" y="2833"/>
                  <a:pt x="18246" y="2783"/>
                  <a:pt x="18246" y="2720"/>
                </a:cubicBezTo>
                <a:cubicBezTo>
                  <a:pt x="18246" y="2658"/>
                  <a:pt x="18222" y="2607"/>
                  <a:pt x="18192" y="2607"/>
                </a:cubicBezTo>
                <a:cubicBezTo>
                  <a:pt x="18162" y="2607"/>
                  <a:pt x="18138" y="2658"/>
                  <a:pt x="18138" y="2720"/>
                </a:cubicBezTo>
                <a:cubicBezTo>
                  <a:pt x="18138" y="2783"/>
                  <a:pt x="18162" y="2833"/>
                  <a:pt x="18192" y="2833"/>
                </a:cubicBezTo>
                <a:close/>
                <a:moveTo>
                  <a:pt x="18037" y="2833"/>
                </a:moveTo>
                <a:cubicBezTo>
                  <a:pt x="18066" y="2833"/>
                  <a:pt x="18091" y="2783"/>
                  <a:pt x="18091" y="2720"/>
                </a:cubicBezTo>
                <a:cubicBezTo>
                  <a:pt x="18091" y="2658"/>
                  <a:pt x="18066" y="2607"/>
                  <a:pt x="18037" y="2607"/>
                </a:cubicBezTo>
                <a:cubicBezTo>
                  <a:pt x="18007" y="2607"/>
                  <a:pt x="17983" y="2658"/>
                  <a:pt x="17983" y="2720"/>
                </a:cubicBezTo>
                <a:cubicBezTo>
                  <a:pt x="17983" y="2783"/>
                  <a:pt x="18007" y="2833"/>
                  <a:pt x="18037" y="2833"/>
                </a:cubicBezTo>
                <a:close/>
                <a:moveTo>
                  <a:pt x="17883" y="2934"/>
                </a:moveTo>
                <a:cubicBezTo>
                  <a:pt x="17853" y="2934"/>
                  <a:pt x="17829" y="2984"/>
                  <a:pt x="17829" y="3047"/>
                </a:cubicBezTo>
                <a:cubicBezTo>
                  <a:pt x="17829" y="3109"/>
                  <a:pt x="17853" y="3160"/>
                  <a:pt x="17883" y="3160"/>
                </a:cubicBezTo>
                <a:cubicBezTo>
                  <a:pt x="17912" y="3160"/>
                  <a:pt x="17937" y="3109"/>
                  <a:pt x="17937" y="3047"/>
                </a:cubicBezTo>
                <a:cubicBezTo>
                  <a:pt x="17937" y="2984"/>
                  <a:pt x="17912" y="2934"/>
                  <a:pt x="17883" y="2934"/>
                </a:cubicBezTo>
                <a:close/>
                <a:moveTo>
                  <a:pt x="17883" y="2607"/>
                </a:moveTo>
                <a:cubicBezTo>
                  <a:pt x="17853" y="2607"/>
                  <a:pt x="17829" y="2658"/>
                  <a:pt x="17829" y="2720"/>
                </a:cubicBezTo>
                <a:cubicBezTo>
                  <a:pt x="17829" y="2783"/>
                  <a:pt x="17853" y="2833"/>
                  <a:pt x="17883" y="2833"/>
                </a:cubicBezTo>
                <a:cubicBezTo>
                  <a:pt x="17912" y="2833"/>
                  <a:pt x="17937" y="2783"/>
                  <a:pt x="17937" y="2720"/>
                </a:cubicBezTo>
                <a:cubicBezTo>
                  <a:pt x="17937" y="2658"/>
                  <a:pt x="17912" y="2607"/>
                  <a:pt x="17883" y="2607"/>
                </a:cubicBezTo>
                <a:close/>
                <a:moveTo>
                  <a:pt x="17730" y="2934"/>
                </a:moveTo>
                <a:cubicBezTo>
                  <a:pt x="17700" y="2934"/>
                  <a:pt x="17676" y="2984"/>
                  <a:pt x="17676" y="3047"/>
                </a:cubicBezTo>
                <a:cubicBezTo>
                  <a:pt x="17676" y="3109"/>
                  <a:pt x="17700" y="3160"/>
                  <a:pt x="17730" y="3160"/>
                </a:cubicBezTo>
                <a:cubicBezTo>
                  <a:pt x="17760" y="3160"/>
                  <a:pt x="17784" y="3109"/>
                  <a:pt x="17784" y="3047"/>
                </a:cubicBezTo>
                <a:cubicBezTo>
                  <a:pt x="17784" y="2984"/>
                  <a:pt x="17760" y="2934"/>
                  <a:pt x="17730" y="2934"/>
                </a:cubicBezTo>
                <a:close/>
                <a:moveTo>
                  <a:pt x="17730" y="2607"/>
                </a:moveTo>
                <a:cubicBezTo>
                  <a:pt x="17700" y="2607"/>
                  <a:pt x="17676" y="2658"/>
                  <a:pt x="17676" y="2720"/>
                </a:cubicBezTo>
                <a:cubicBezTo>
                  <a:pt x="17676" y="2783"/>
                  <a:pt x="17700" y="2833"/>
                  <a:pt x="17730" y="2833"/>
                </a:cubicBezTo>
                <a:cubicBezTo>
                  <a:pt x="17760" y="2833"/>
                  <a:pt x="17784" y="2783"/>
                  <a:pt x="17784" y="2720"/>
                </a:cubicBezTo>
                <a:cubicBezTo>
                  <a:pt x="17784" y="2658"/>
                  <a:pt x="17760" y="2607"/>
                  <a:pt x="17730" y="2607"/>
                </a:cubicBezTo>
                <a:close/>
                <a:moveTo>
                  <a:pt x="18651" y="4139"/>
                </a:moveTo>
                <a:cubicBezTo>
                  <a:pt x="18681" y="4139"/>
                  <a:pt x="18705" y="4088"/>
                  <a:pt x="18705" y="4026"/>
                </a:cubicBezTo>
                <a:cubicBezTo>
                  <a:pt x="18705" y="3963"/>
                  <a:pt x="18681" y="3913"/>
                  <a:pt x="18651" y="3913"/>
                </a:cubicBezTo>
                <a:cubicBezTo>
                  <a:pt x="18621" y="3913"/>
                  <a:pt x="18597" y="3963"/>
                  <a:pt x="18597" y="4026"/>
                </a:cubicBezTo>
                <a:cubicBezTo>
                  <a:pt x="18597" y="4088"/>
                  <a:pt x="18621" y="4139"/>
                  <a:pt x="18651" y="4139"/>
                </a:cubicBezTo>
                <a:close/>
                <a:moveTo>
                  <a:pt x="18651" y="3812"/>
                </a:moveTo>
                <a:cubicBezTo>
                  <a:pt x="18681" y="3812"/>
                  <a:pt x="18705" y="3761"/>
                  <a:pt x="18705" y="3699"/>
                </a:cubicBezTo>
                <a:cubicBezTo>
                  <a:pt x="18705" y="3636"/>
                  <a:pt x="18681" y="3586"/>
                  <a:pt x="18651" y="3586"/>
                </a:cubicBezTo>
                <a:cubicBezTo>
                  <a:pt x="18621" y="3586"/>
                  <a:pt x="18597" y="3636"/>
                  <a:pt x="18597" y="3699"/>
                </a:cubicBezTo>
                <a:cubicBezTo>
                  <a:pt x="18597" y="3761"/>
                  <a:pt x="18621" y="3812"/>
                  <a:pt x="18651" y="3812"/>
                </a:cubicBezTo>
                <a:close/>
                <a:moveTo>
                  <a:pt x="18651" y="3160"/>
                </a:moveTo>
                <a:cubicBezTo>
                  <a:pt x="18681" y="3160"/>
                  <a:pt x="18705" y="3109"/>
                  <a:pt x="18705" y="3047"/>
                </a:cubicBezTo>
                <a:cubicBezTo>
                  <a:pt x="18705" y="2984"/>
                  <a:pt x="18681" y="2934"/>
                  <a:pt x="18651" y="2934"/>
                </a:cubicBezTo>
                <a:cubicBezTo>
                  <a:pt x="18621" y="2934"/>
                  <a:pt x="18597" y="2984"/>
                  <a:pt x="18597" y="3047"/>
                </a:cubicBezTo>
                <a:cubicBezTo>
                  <a:pt x="18597" y="3109"/>
                  <a:pt x="18621" y="3160"/>
                  <a:pt x="18651" y="3160"/>
                </a:cubicBezTo>
                <a:close/>
                <a:moveTo>
                  <a:pt x="18651" y="2833"/>
                </a:moveTo>
                <a:cubicBezTo>
                  <a:pt x="18681" y="2833"/>
                  <a:pt x="18705" y="2783"/>
                  <a:pt x="18705" y="2720"/>
                </a:cubicBezTo>
                <a:cubicBezTo>
                  <a:pt x="18705" y="2658"/>
                  <a:pt x="18681" y="2607"/>
                  <a:pt x="18651" y="2607"/>
                </a:cubicBezTo>
                <a:cubicBezTo>
                  <a:pt x="18621" y="2607"/>
                  <a:pt x="18597" y="2658"/>
                  <a:pt x="18597" y="2720"/>
                </a:cubicBezTo>
                <a:cubicBezTo>
                  <a:pt x="18597" y="2783"/>
                  <a:pt x="18621" y="2833"/>
                  <a:pt x="18651" y="2833"/>
                </a:cubicBezTo>
                <a:close/>
                <a:moveTo>
                  <a:pt x="18498" y="2934"/>
                </a:moveTo>
                <a:cubicBezTo>
                  <a:pt x="18469" y="2934"/>
                  <a:pt x="18445" y="2984"/>
                  <a:pt x="18445" y="3047"/>
                </a:cubicBezTo>
                <a:cubicBezTo>
                  <a:pt x="18445" y="3109"/>
                  <a:pt x="18469" y="3160"/>
                  <a:pt x="18498" y="3160"/>
                </a:cubicBezTo>
                <a:cubicBezTo>
                  <a:pt x="18528" y="3160"/>
                  <a:pt x="18552" y="3109"/>
                  <a:pt x="18552" y="3047"/>
                </a:cubicBezTo>
                <a:cubicBezTo>
                  <a:pt x="18552" y="2984"/>
                  <a:pt x="18528" y="2934"/>
                  <a:pt x="18498" y="2934"/>
                </a:cubicBezTo>
                <a:close/>
                <a:moveTo>
                  <a:pt x="18498" y="2607"/>
                </a:moveTo>
                <a:cubicBezTo>
                  <a:pt x="18469" y="2607"/>
                  <a:pt x="18445" y="2658"/>
                  <a:pt x="18445" y="2720"/>
                </a:cubicBezTo>
                <a:cubicBezTo>
                  <a:pt x="18445" y="2783"/>
                  <a:pt x="18469" y="2833"/>
                  <a:pt x="18498" y="2833"/>
                </a:cubicBezTo>
                <a:cubicBezTo>
                  <a:pt x="18528" y="2833"/>
                  <a:pt x="18552" y="2783"/>
                  <a:pt x="18552" y="2720"/>
                </a:cubicBezTo>
                <a:cubicBezTo>
                  <a:pt x="18552" y="2658"/>
                  <a:pt x="18528" y="2607"/>
                  <a:pt x="18498" y="2607"/>
                </a:cubicBezTo>
                <a:close/>
                <a:moveTo>
                  <a:pt x="18496" y="1843"/>
                </a:moveTo>
                <a:cubicBezTo>
                  <a:pt x="18526" y="1843"/>
                  <a:pt x="18550" y="1792"/>
                  <a:pt x="18550" y="1730"/>
                </a:cubicBezTo>
                <a:cubicBezTo>
                  <a:pt x="18550" y="1667"/>
                  <a:pt x="18526" y="1617"/>
                  <a:pt x="18496" y="1617"/>
                </a:cubicBezTo>
                <a:cubicBezTo>
                  <a:pt x="18466" y="1617"/>
                  <a:pt x="18442" y="1667"/>
                  <a:pt x="18442" y="1730"/>
                </a:cubicBezTo>
                <a:cubicBezTo>
                  <a:pt x="18442" y="1792"/>
                  <a:pt x="18466" y="1843"/>
                  <a:pt x="18496" y="1843"/>
                </a:cubicBezTo>
                <a:close/>
                <a:moveTo>
                  <a:pt x="18343" y="1843"/>
                </a:moveTo>
                <a:cubicBezTo>
                  <a:pt x="18373" y="1843"/>
                  <a:pt x="18397" y="1792"/>
                  <a:pt x="18397" y="1730"/>
                </a:cubicBezTo>
                <a:cubicBezTo>
                  <a:pt x="18397" y="1667"/>
                  <a:pt x="18373" y="1617"/>
                  <a:pt x="18343" y="1617"/>
                </a:cubicBezTo>
                <a:cubicBezTo>
                  <a:pt x="18313" y="1617"/>
                  <a:pt x="18289" y="1667"/>
                  <a:pt x="18289" y="1730"/>
                </a:cubicBezTo>
                <a:cubicBezTo>
                  <a:pt x="18289" y="1792"/>
                  <a:pt x="18313" y="1843"/>
                  <a:pt x="18343" y="1843"/>
                </a:cubicBezTo>
                <a:close/>
                <a:moveTo>
                  <a:pt x="18190" y="1843"/>
                </a:moveTo>
                <a:cubicBezTo>
                  <a:pt x="18219" y="1843"/>
                  <a:pt x="18243" y="1792"/>
                  <a:pt x="18243" y="1730"/>
                </a:cubicBezTo>
                <a:cubicBezTo>
                  <a:pt x="18243" y="1667"/>
                  <a:pt x="18219" y="1617"/>
                  <a:pt x="18190" y="1617"/>
                </a:cubicBezTo>
                <a:cubicBezTo>
                  <a:pt x="18160" y="1617"/>
                  <a:pt x="18136" y="1667"/>
                  <a:pt x="18136" y="1730"/>
                </a:cubicBezTo>
                <a:cubicBezTo>
                  <a:pt x="18136" y="1792"/>
                  <a:pt x="18160" y="1843"/>
                  <a:pt x="18190" y="1843"/>
                </a:cubicBezTo>
                <a:close/>
                <a:moveTo>
                  <a:pt x="18037" y="1843"/>
                </a:moveTo>
                <a:cubicBezTo>
                  <a:pt x="18067" y="1843"/>
                  <a:pt x="18091" y="1792"/>
                  <a:pt x="18091" y="1730"/>
                </a:cubicBezTo>
                <a:cubicBezTo>
                  <a:pt x="18091" y="1667"/>
                  <a:pt x="18067" y="1617"/>
                  <a:pt x="18037" y="1617"/>
                </a:cubicBezTo>
                <a:cubicBezTo>
                  <a:pt x="18007" y="1617"/>
                  <a:pt x="17983" y="1667"/>
                  <a:pt x="17983" y="1730"/>
                </a:cubicBezTo>
                <a:cubicBezTo>
                  <a:pt x="17983" y="1792"/>
                  <a:pt x="18007" y="1843"/>
                  <a:pt x="18037" y="1843"/>
                </a:cubicBezTo>
                <a:close/>
                <a:moveTo>
                  <a:pt x="17882" y="1843"/>
                </a:moveTo>
                <a:cubicBezTo>
                  <a:pt x="17911" y="1843"/>
                  <a:pt x="17935" y="1792"/>
                  <a:pt x="17935" y="1730"/>
                </a:cubicBezTo>
                <a:cubicBezTo>
                  <a:pt x="17935" y="1667"/>
                  <a:pt x="17911" y="1617"/>
                  <a:pt x="17882" y="1617"/>
                </a:cubicBezTo>
                <a:cubicBezTo>
                  <a:pt x="17852" y="1617"/>
                  <a:pt x="17828" y="1667"/>
                  <a:pt x="17828" y="1730"/>
                </a:cubicBezTo>
                <a:cubicBezTo>
                  <a:pt x="17828" y="1792"/>
                  <a:pt x="17852" y="1843"/>
                  <a:pt x="17882" y="1843"/>
                </a:cubicBezTo>
                <a:close/>
                <a:moveTo>
                  <a:pt x="17728" y="1843"/>
                </a:moveTo>
                <a:cubicBezTo>
                  <a:pt x="17757" y="1843"/>
                  <a:pt x="17781" y="1792"/>
                  <a:pt x="17781" y="1730"/>
                </a:cubicBezTo>
                <a:cubicBezTo>
                  <a:pt x="17781" y="1667"/>
                  <a:pt x="17757" y="1617"/>
                  <a:pt x="17728" y="1617"/>
                </a:cubicBezTo>
                <a:cubicBezTo>
                  <a:pt x="17698" y="1617"/>
                  <a:pt x="17674" y="1667"/>
                  <a:pt x="17674" y="1730"/>
                </a:cubicBezTo>
                <a:cubicBezTo>
                  <a:pt x="17674" y="1792"/>
                  <a:pt x="17698" y="1843"/>
                  <a:pt x="17728" y="1843"/>
                </a:cubicBezTo>
                <a:close/>
                <a:moveTo>
                  <a:pt x="17271" y="2266"/>
                </a:moveTo>
                <a:cubicBezTo>
                  <a:pt x="17241" y="2266"/>
                  <a:pt x="17217" y="2317"/>
                  <a:pt x="17217" y="2380"/>
                </a:cubicBezTo>
                <a:cubicBezTo>
                  <a:pt x="17217" y="2442"/>
                  <a:pt x="17241" y="2493"/>
                  <a:pt x="17271" y="2493"/>
                </a:cubicBezTo>
                <a:cubicBezTo>
                  <a:pt x="17301" y="2493"/>
                  <a:pt x="17325" y="2442"/>
                  <a:pt x="17325" y="2380"/>
                </a:cubicBezTo>
                <a:cubicBezTo>
                  <a:pt x="17325" y="2317"/>
                  <a:pt x="17301" y="2266"/>
                  <a:pt x="17271" y="2266"/>
                </a:cubicBezTo>
                <a:close/>
                <a:moveTo>
                  <a:pt x="17271" y="1940"/>
                </a:moveTo>
                <a:cubicBezTo>
                  <a:pt x="17241" y="1940"/>
                  <a:pt x="17217" y="1990"/>
                  <a:pt x="17217" y="2053"/>
                </a:cubicBezTo>
                <a:cubicBezTo>
                  <a:pt x="17217" y="2115"/>
                  <a:pt x="17241" y="2166"/>
                  <a:pt x="17271" y="2166"/>
                </a:cubicBezTo>
                <a:cubicBezTo>
                  <a:pt x="17301" y="2166"/>
                  <a:pt x="17325" y="2115"/>
                  <a:pt x="17325" y="2053"/>
                </a:cubicBezTo>
                <a:cubicBezTo>
                  <a:pt x="17325" y="1990"/>
                  <a:pt x="17301" y="1940"/>
                  <a:pt x="17271" y="1940"/>
                </a:cubicBezTo>
                <a:close/>
                <a:moveTo>
                  <a:pt x="17118" y="2266"/>
                </a:moveTo>
                <a:cubicBezTo>
                  <a:pt x="17089" y="2266"/>
                  <a:pt x="17065" y="2317"/>
                  <a:pt x="17065" y="2380"/>
                </a:cubicBezTo>
                <a:cubicBezTo>
                  <a:pt x="17065" y="2442"/>
                  <a:pt x="17089" y="2493"/>
                  <a:pt x="17118" y="2493"/>
                </a:cubicBezTo>
                <a:cubicBezTo>
                  <a:pt x="17148" y="2493"/>
                  <a:pt x="17172" y="2442"/>
                  <a:pt x="17172" y="2380"/>
                </a:cubicBezTo>
                <a:cubicBezTo>
                  <a:pt x="17172" y="2317"/>
                  <a:pt x="17148" y="2266"/>
                  <a:pt x="17118" y="2266"/>
                </a:cubicBezTo>
                <a:close/>
                <a:moveTo>
                  <a:pt x="17118" y="1940"/>
                </a:moveTo>
                <a:cubicBezTo>
                  <a:pt x="17089" y="1940"/>
                  <a:pt x="17065" y="1990"/>
                  <a:pt x="17065" y="2053"/>
                </a:cubicBezTo>
                <a:cubicBezTo>
                  <a:pt x="17065" y="2115"/>
                  <a:pt x="17089" y="2166"/>
                  <a:pt x="17118" y="2166"/>
                </a:cubicBezTo>
                <a:cubicBezTo>
                  <a:pt x="17148" y="2166"/>
                  <a:pt x="17172" y="2115"/>
                  <a:pt x="17172" y="2053"/>
                </a:cubicBezTo>
                <a:cubicBezTo>
                  <a:pt x="17172" y="1990"/>
                  <a:pt x="17148" y="1940"/>
                  <a:pt x="17118" y="1940"/>
                </a:cubicBezTo>
                <a:close/>
                <a:moveTo>
                  <a:pt x="16963" y="2493"/>
                </a:moveTo>
                <a:cubicBezTo>
                  <a:pt x="16993" y="2493"/>
                  <a:pt x="17017" y="2442"/>
                  <a:pt x="17017" y="2380"/>
                </a:cubicBezTo>
                <a:cubicBezTo>
                  <a:pt x="17017" y="2317"/>
                  <a:pt x="16993" y="2266"/>
                  <a:pt x="16963" y="2266"/>
                </a:cubicBezTo>
                <a:cubicBezTo>
                  <a:pt x="16933" y="2266"/>
                  <a:pt x="16909" y="2317"/>
                  <a:pt x="16909" y="2380"/>
                </a:cubicBezTo>
                <a:cubicBezTo>
                  <a:pt x="16909" y="2442"/>
                  <a:pt x="16933" y="2493"/>
                  <a:pt x="16963" y="2493"/>
                </a:cubicBezTo>
                <a:close/>
                <a:moveTo>
                  <a:pt x="16963" y="2166"/>
                </a:moveTo>
                <a:cubicBezTo>
                  <a:pt x="16993" y="2166"/>
                  <a:pt x="17017" y="2115"/>
                  <a:pt x="17017" y="2053"/>
                </a:cubicBezTo>
                <a:cubicBezTo>
                  <a:pt x="17017" y="1990"/>
                  <a:pt x="16993" y="1940"/>
                  <a:pt x="16963" y="1940"/>
                </a:cubicBezTo>
                <a:cubicBezTo>
                  <a:pt x="16933" y="1940"/>
                  <a:pt x="16909" y="1990"/>
                  <a:pt x="16909" y="2053"/>
                </a:cubicBezTo>
                <a:cubicBezTo>
                  <a:pt x="16909" y="2115"/>
                  <a:pt x="16933" y="2166"/>
                  <a:pt x="16963" y="2166"/>
                </a:cubicBezTo>
                <a:close/>
                <a:moveTo>
                  <a:pt x="16809" y="2266"/>
                </a:moveTo>
                <a:cubicBezTo>
                  <a:pt x="16779" y="2266"/>
                  <a:pt x="16755" y="2317"/>
                  <a:pt x="16755" y="2380"/>
                </a:cubicBezTo>
                <a:cubicBezTo>
                  <a:pt x="16755" y="2442"/>
                  <a:pt x="16779" y="2493"/>
                  <a:pt x="16809" y="2493"/>
                </a:cubicBezTo>
                <a:cubicBezTo>
                  <a:pt x="16839" y="2493"/>
                  <a:pt x="16863" y="2442"/>
                  <a:pt x="16863" y="2380"/>
                </a:cubicBezTo>
                <a:cubicBezTo>
                  <a:pt x="16863" y="2317"/>
                  <a:pt x="16839" y="2266"/>
                  <a:pt x="16809" y="2266"/>
                </a:cubicBezTo>
                <a:close/>
                <a:moveTo>
                  <a:pt x="16809" y="1940"/>
                </a:moveTo>
                <a:cubicBezTo>
                  <a:pt x="16779" y="1940"/>
                  <a:pt x="16755" y="1990"/>
                  <a:pt x="16755" y="2053"/>
                </a:cubicBezTo>
                <a:cubicBezTo>
                  <a:pt x="16755" y="2115"/>
                  <a:pt x="16779" y="2166"/>
                  <a:pt x="16809" y="2166"/>
                </a:cubicBezTo>
                <a:cubicBezTo>
                  <a:pt x="16839" y="2166"/>
                  <a:pt x="16863" y="2115"/>
                  <a:pt x="16863" y="2053"/>
                </a:cubicBezTo>
                <a:cubicBezTo>
                  <a:pt x="16863" y="1990"/>
                  <a:pt x="16839" y="1940"/>
                  <a:pt x="16809" y="1940"/>
                </a:cubicBezTo>
                <a:close/>
                <a:moveTo>
                  <a:pt x="16656" y="2266"/>
                </a:moveTo>
                <a:cubicBezTo>
                  <a:pt x="16627" y="2266"/>
                  <a:pt x="16603" y="2317"/>
                  <a:pt x="16603" y="2380"/>
                </a:cubicBezTo>
                <a:cubicBezTo>
                  <a:pt x="16603" y="2442"/>
                  <a:pt x="16627" y="2493"/>
                  <a:pt x="16656" y="2493"/>
                </a:cubicBezTo>
                <a:cubicBezTo>
                  <a:pt x="16686" y="2493"/>
                  <a:pt x="16710" y="2442"/>
                  <a:pt x="16710" y="2380"/>
                </a:cubicBezTo>
                <a:cubicBezTo>
                  <a:pt x="16710" y="2317"/>
                  <a:pt x="16686" y="2266"/>
                  <a:pt x="16656" y="2266"/>
                </a:cubicBezTo>
                <a:close/>
                <a:moveTo>
                  <a:pt x="16656" y="1940"/>
                </a:moveTo>
                <a:cubicBezTo>
                  <a:pt x="16627" y="1940"/>
                  <a:pt x="16603" y="1990"/>
                  <a:pt x="16603" y="2053"/>
                </a:cubicBezTo>
                <a:cubicBezTo>
                  <a:pt x="16603" y="2115"/>
                  <a:pt x="16627" y="2166"/>
                  <a:pt x="16656" y="2166"/>
                </a:cubicBezTo>
                <a:cubicBezTo>
                  <a:pt x="16686" y="2166"/>
                  <a:pt x="16710" y="2115"/>
                  <a:pt x="16710" y="2053"/>
                </a:cubicBezTo>
                <a:cubicBezTo>
                  <a:pt x="16710" y="1990"/>
                  <a:pt x="16686" y="1940"/>
                  <a:pt x="16656" y="1940"/>
                </a:cubicBezTo>
                <a:close/>
                <a:moveTo>
                  <a:pt x="17577" y="2266"/>
                </a:moveTo>
                <a:cubicBezTo>
                  <a:pt x="17548" y="2266"/>
                  <a:pt x="17523" y="2317"/>
                  <a:pt x="17523" y="2380"/>
                </a:cubicBezTo>
                <a:cubicBezTo>
                  <a:pt x="17523" y="2442"/>
                  <a:pt x="17548" y="2493"/>
                  <a:pt x="17577" y="2493"/>
                </a:cubicBezTo>
                <a:cubicBezTo>
                  <a:pt x="17607" y="2493"/>
                  <a:pt x="17631" y="2442"/>
                  <a:pt x="17631" y="2380"/>
                </a:cubicBezTo>
                <a:cubicBezTo>
                  <a:pt x="17631" y="2317"/>
                  <a:pt x="17607" y="2266"/>
                  <a:pt x="17577" y="2266"/>
                </a:cubicBezTo>
                <a:close/>
                <a:moveTo>
                  <a:pt x="17577" y="1940"/>
                </a:moveTo>
                <a:cubicBezTo>
                  <a:pt x="17548" y="1940"/>
                  <a:pt x="17523" y="1990"/>
                  <a:pt x="17523" y="2053"/>
                </a:cubicBezTo>
                <a:cubicBezTo>
                  <a:pt x="17523" y="2115"/>
                  <a:pt x="17548" y="2166"/>
                  <a:pt x="17577" y="2166"/>
                </a:cubicBezTo>
                <a:cubicBezTo>
                  <a:pt x="17607" y="2166"/>
                  <a:pt x="17631" y="2115"/>
                  <a:pt x="17631" y="2053"/>
                </a:cubicBezTo>
                <a:cubicBezTo>
                  <a:pt x="17631" y="1990"/>
                  <a:pt x="17607" y="1940"/>
                  <a:pt x="17577" y="1940"/>
                </a:cubicBezTo>
                <a:close/>
                <a:moveTo>
                  <a:pt x="17425" y="2266"/>
                </a:moveTo>
                <a:cubicBezTo>
                  <a:pt x="17395" y="2266"/>
                  <a:pt x="17371" y="2317"/>
                  <a:pt x="17371" y="2380"/>
                </a:cubicBezTo>
                <a:cubicBezTo>
                  <a:pt x="17371" y="2442"/>
                  <a:pt x="17395" y="2493"/>
                  <a:pt x="17425" y="2493"/>
                </a:cubicBezTo>
                <a:cubicBezTo>
                  <a:pt x="17454" y="2493"/>
                  <a:pt x="17478" y="2442"/>
                  <a:pt x="17478" y="2380"/>
                </a:cubicBezTo>
                <a:cubicBezTo>
                  <a:pt x="17478" y="2317"/>
                  <a:pt x="17454" y="2266"/>
                  <a:pt x="17425" y="2266"/>
                </a:cubicBezTo>
                <a:close/>
                <a:moveTo>
                  <a:pt x="17425" y="1940"/>
                </a:moveTo>
                <a:cubicBezTo>
                  <a:pt x="17395" y="1940"/>
                  <a:pt x="17371" y="1990"/>
                  <a:pt x="17371" y="2053"/>
                </a:cubicBezTo>
                <a:cubicBezTo>
                  <a:pt x="17371" y="2115"/>
                  <a:pt x="17395" y="2166"/>
                  <a:pt x="17425" y="2166"/>
                </a:cubicBezTo>
                <a:cubicBezTo>
                  <a:pt x="17454" y="2166"/>
                  <a:pt x="17478" y="2115"/>
                  <a:pt x="17478" y="2053"/>
                </a:cubicBezTo>
                <a:cubicBezTo>
                  <a:pt x="17478" y="1990"/>
                  <a:pt x="17454" y="1940"/>
                  <a:pt x="17425" y="1940"/>
                </a:cubicBezTo>
                <a:close/>
                <a:moveTo>
                  <a:pt x="16498" y="3160"/>
                </a:moveTo>
                <a:cubicBezTo>
                  <a:pt x="16528" y="3160"/>
                  <a:pt x="16552" y="3109"/>
                  <a:pt x="16552" y="3047"/>
                </a:cubicBezTo>
                <a:cubicBezTo>
                  <a:pt x="16552" y="2984"/>
                  <a:pt x="16528" y="2934"/>
                  <a:pt x="16498" y="2934"/>
                </a:cubicBezTo>
                <a:cubicBezTo>
                  <a:pt x="16468" y="2934"/>
                  <a:pt x="16444" y="2984"/>
                  <a:pt x="16444" y="3047"/>
                </a:cubicBezTo>
                <a:cubicBezTo>
                  <a:pt x="16444" y="3109"/>
                  <a:pt x="16468" y="3160"/>
                  <a:pt x="16498" y="3160"/>
                </a:cubicBezTo>
                <a:close/>
                <a:moveTo>
                  <a:pt x="16498" y="2833"/>
                </a:moveTo>
                <a:cubicBezTo>
                  <a:pt x="16528" y="2833"/>
                  <a:pt x="16552" y="2783"/>
                  <a:pt x="16552" y="2720"/>
                </a:cubicBezTo>
                <a:cubicBezTo>
                  <a:pt x="16552" y="2658"/>
                  <a:pt x="16528" y="2607"/>
                  <a:pt x="16498" y="2607"/>
                </a:cubicBezTo>
                <a:cubicBezTo>
                  <a:pt x="16468" y="2607"/>
                  <a:pt x="16444" y="2658"/>
                  <a:pt x="16444" y="2720"/>
                </a:cubicBezTo>
                <a:cubicBezTo>
                  <a:pt x="16444" y="2783"/>
                  <a:pt x="16468" y="2833"/>
                  <a:pt x="16498" y="2833"/>
                </a:cubicBezTo>
                <a:close/>
                <a:moveTo>
                  <a:pt x="16344" y="3160"/>
                </a:moveTo>
                <a:cubicBezTo>
                  <a:pt x="16374" y="3160"/>
                  <a:pt x="16398" y="3109"/>
                  <a:pt x="16398" y="3047"/>
                </a:cubicBezTo>
                <a:cubicBezTo>
                  <a:pt x="16398" y="2984"/>
                  <a:pt x="16374" y="2934"/>
                  <a:pt x="16344" y="2934"/>
                </a:cubicBezTo>
                <a:cubicBezTo>
                  <a:pt x="16314" y="2934"/>
                  <a:pt x="16290" y="2984"/>
                  <a:pt x="16290" y="3047"/>
                </a:cubicBezTo>
                <a:cubicBezTo>
                  <a:pt x="16290" y="3109"/>
                  <a:pt x="16314" y="3160"/>
                  <a:pt x="16344" y="3160"/>
                </a:cubicBezTo>
                <a:close/>
                <a:moveTo>
                  <a:pt x="16344" y="2833"/>
                </a:moveTo>
                <a:cubicBezTo>
                  <a:pt x="16374" y="2833"/>
                  <a:pt x="16398" y="2783"/>
                  <a:pt x="16398" y="2720"/>
                </a:cubicBezTo>
                <a:cubicBezTo>
                  <a:pt x="16398" y="2658"/>
                  <a:pt x="16374" y="2607"/>
                  <a:pt x="16344" y="2607"/>
                </a:cubicBezTo>
                <a:cubicBezTo>
                  <a:pt x="16314" y="2607"/>
                  <a:pt x="16290" y="2658"/>
                  <a:pt x="16290" y="2720"/>
                </a:cubicBezTo>
                <a:cubicBezTo>
                  <a:pt x="16290" y="2783"/>
                  <a:pt x="16314" y="2833"/>
                  <a:pt x="16344" y="2833"/>
                </a:cubicBezTo>
                <a:close/>
                <a:moveTo>
                  <a:pt x="17271" y="2934"/>
                </a:moveTo>
                <a:cubicBezTo>
                  <a:pt x="17241" y="2934"/>
                  <a:pt x="17217" y="2984"/>
                  <a:pt x="17217" y="3047"/>
                </a:cubicBezTo>
                <a:cubicBezTo>
                  <a:pt x="17217" y="3109"/>
                  <a:pt x="17241" y="3160"/>
                  <a:pt x="17271" y="3160"/>
                </a:cubicBezTo>
                <a:cubicBezTo>
                  <a:pt x="17301" y="3160"/>
                  <a:pt x="17325" y="3109"/>
                  <a:pt x="17325" y="3047"/>
                </a:cubicBezTo>
                <a:cubicBezTo>
                  <a:pt x="17325" y="2984"/>
                  <a:pt x="17301" y="2934"/>
                  <a:pt x="17271" y="2934"/>
                </a:cubicBezTo>
                <a:close/>
                <a:moveTo>
                  <a:pt x="17271" y="2607"/>
                </a:moveTo>
                <a:cubicBezTo>
                  <a:pt x="17241" y="2607"/>
                  <a:pt x="17217" y="2658"/>
                  <a:pt x="17217" y="2720"/>
                </a:cubicBezTo>
                <a:cubicBezTo>
                  <a:pt x="17217" y="2783"/>
                  <a:pt x="17241" y="2833"/>
                  <a:pt x="17271" y="2833"/>
                </a:cubicBezTo>
                <a:cubicBezTo>
                  <a:pt x="17301" y="2833"/>
                  <a:pt x="17325" y="2783"/>
                  <a:pt x="17325" y="2720"/>
                </a:cubicBezTo>
                <a:cubicBezTo>
                  <a:pt x="17325" y="2658"/>
                  <a:pt x="17301" y="2607"/>
                  <a:pt x="17271" y="2607"/>
                </a:cubicBezTo>
                <a:close/>
                <a:moveTo>
                  <a:pt x="17118" y="2934"/>
                </a:moveTo>
                <a:cubicBezTo>
                  <a:pt x="17089" y="2934"/>
                  <a:pt x="17065" y="2984"/>
                  <a:pt x="17065" y="3047"/>
                </a:cubicBezTo>
                <a:cubicBezTo>
                  <a:pt x="17065" y="3109"/>
                  <a:pt x="17089" y="3160"/>
                  <a:pt x="17118" y="3160"/>
                </a:cubicBezTo>
                <a:cubicBezTo>
                  <a:pt x="17148" y="3160"/>
                  <a:pt x="17172" y="3109"/>
                  <a:pt x="17172" y="3047"/>
                </a:cubicBezTo>
                <a:cubicBezTo>
                  <a:pt x="17172" y="2984"/>
                  <a:pt x="17148" y="2934"/>
                  <a:pt x="17118" y="2934"/>
                </a:cubicBezTo>
                <a:close/>
                <a:moveTo>
                  <a:pt x="17118" y="2607"/>
                </a:moveTo>
                <a:cubicBezTo>
                  <a:pt x="17089" y="2607"/>
                  <a:pt x="17065" y="2658"/>
                  <a:pt x="17065" y="2720"/>
                </a:cubicBezTo>
                <a:cubicBezTo>
                  <a:pt x="17065" y="2783"/>
                  <a:pt x="17089" y="2833"/>
                  <a:pt x="17118" y="2833"/>
                </a:cubicBezTo>
                <a:cubicBezTo>
                  <a:pt x="17148" y="2833"/>
                  <a:pt x="17172" y="2783"/>
                  <a:pt x="17172" y="2720"/>
                </a:cubicBezTo>
                <a:cubicBezTo>
                  <a:pt x="17172" y="2658"/>
                  <a:pt x="17148" y="2607"/>
                  <a:pt x="17118" y="2607"/>
                </a:cubicBezTo>
                <a:close/>
                <a:moveTo>
                  <a:pt x="16963" y="3160"/>
                </a:moveTo>
                <a:cubicBezTo>
                  <a:pt x="16993" y="3160"/>
                  <a:pt x="17017" y="3109"/>
                  <a:pt x="17017" y="3047"/>
                </a:cubicBezTo>
                <a:cubicBezTo>
                  <a:pt x="17017" y="2984"/>
                  <a:pt x="16993" y="2934"/>
                  <a:pt x="16963" y="2934"/>
                </a:cubicBezTo>
                <a:cubicBezTo>
                  <a:pt x="16933" y="2934"/>
                  <a:pt x="16909" y="2984"/>
                  <a:pt x="16909" y="3047"/>
                </a:cubicBezTo>
                <a:cubicBezTo>
                  <a:pt x="16909" y="3109"/>
                  <a:pt x="16933" y="3160"/>
                  <a:pt x="16963" y="3160"/>
                </a:cubicBezTo>
                <a:close/>
                <a:moveTo>
                  <a:pt x="16963" y="2833"/>
                </a:moveTo>
                <a:cubicBezTo>
                  <a:pt x="16993" y="2833"/>
                  <a:pt x="17017" y="2783"/>
                  <a:pt x="17017" y="2720"/>
                </a:cubicBezTo>
                <a:cubicBezTo>
                  <a:pt x="17017" y="2658"/>
                  <a:pt x="16993" y="2607"/>
                  <a:pt x="16963" y="2607"/>
                </a:cubicBezTo>
                <a:cubicBezTo>
                  <a:pt x="16933" y="2607"/>
                  <a:pt x="16909" y="2658"/>
                  <a:pt x="16909" y="2720"/>
                </a:cubicBezTo>
                <a:cubicBezTo>
                  <a:pt x="16909" y="2783"/>
                  <a:pt x="16933" y="2833"/>
                  <a:pt x="16963" y="2833"/>
                </a:cubicBezTo>
                <a:close/>
                <a:moveTo>
                  <a:pt x="16809" y="2934"/>
                </a:moveTo>
                <a:cubicBezTo>
                  <a:pt x="16779" y="2934"/>
                  <a:pt x="16755" y="2984"/>
                  <a:pt x="16755" y="3047"/>
                </a:cubicBezTo>
                <a:cubicBezTo>
                  <a:pt x="16755" y="3109"/>
                  <a:pt x="16779" y="3160"/>
                  <a:pt x="16809" y="3160"/>
                </a:cubicBezTo>
                <a:cubicBezTo>
                  <a:pt x="16839" y="3160"/>
                  <a:pt x="16863" y="3109"/>
                  <a:pt x="16863" y="3047"/>
                </a:cubicBezTo>
                <a:cubicBezTo>
                  <a:pt x="16863" y="2984"/>
                  <a:pt x="16839" y="2934"/>
                  <a:pt x="16809" y="2934"/>
                </a:cubicBezTo>
                <a:close/>
                <a:moveTo>
                  <a:pt x="16809" y="2607"/>
                </a:moveTo>
                <a:cubicBezTo>
                  <a:pt x="16779" y="2607"/>
                  <a:pt x="16755" y="2658"/>
                  <a:pt x="16755" y="2720"/>
                </a:cubicBezTo>
                <a:cubicBezTo>
                  <a:pt x="16755" y="2783"/>
                  <a:pt x="16779" y="2833"/>
                  <a:pt x="16809" y="2833"/>
                </a:cubicBezTo>
                <a:cubicBezTo>
                  <a:pt x="16839" y="2833"/>
                  <a:pt x="16863" y="2783"/>
                  <a:pt x="16863" y="2720"/>
                </a:cubicBezTo>
                <a:cubicBezTo>
                  <a:pt x="16863" y="2658"/>
                  <a:pt x="16839" y="2607"/>
                  <a:pt x="16809" y="2607"/>
                </a:cubicBezTo>
                <a:close/>
                <a:moveTo>
                  <a:pt x="16656" y="2934"/>
                </a:moveTo>
                <a:cubicBezTo>
                  <a:pt x="16627" y="2934"/>
                  <a:pt x="16603" y="2984"/>
                  <a:pt x="16603" y="3047"/>
                </a:cubicBezTo>
                <a:cubicBezTo>
                  <a:pt x="16603" y="3109"/>
                  <a:pt x="16627" y="3160"/>
                  <a:pt x="16656" y="3160"/>
                </a:cubicBezTo>
                <a:cubicBezTo>
                  <a:pt x="16686" y="3160"/>
                  <a:pt x="16710" y="3109"/>
                  <a:pt x="16710" y="3047"/>
                </a:cubicBezTo>
                <a:cubicBezTo>
                  <a:pt x="16710" y="2984"/>
                  <a:pt x="16686" y="2934"/>
                  <a:pt x="16656" y="2934"/>
                </a:cubicBezTo>
                <a:close/>
                <a:moveTo>
                  <a:pt x="16656" y="2607"/>
                </a:moveTo>
                <a:cubicBezTo>
                  <a:pt x="16627" y="2607"/>
                  <a:pt x="16603" y="2658"/>
                  <a:pt x="16603" y="2720"/>
                </a:cubicBezTo>
                <a:cubicBezTo>
                  <a:pt x="16603" y="2783"/>
                  <a:pt x="16627" y="2833"/>
                  <a:pt x="16656" y="2833"/>
                </a:cubicBezTo>
                <a:cubicBezTo>
                  <a:pt x="16686" y="2833"/>
                  <a:pt x="16710" y="2783"/>
                  <a:pt x="16710" y="2720"/>
                </a:cubicBezTo>
                <a:cubicBezTo>
                  <a:pt x="16710" y="2658"/>
                  <a:pt x="16686" y="2607"/>
                  <a:pt x="16656" y="2607"/>
                </a:cubicBezTo>
                <a:close/>
                <a:moveTo>
                  <a:pt x="17577" y="2934"/>
                </a:moveTo>
                <a:cubicBezTo>
                  <a:pt x="17548" y="2934"/>
                  <a:pt x="17523" y="2984"/>
                  <a:pt x="17523" y="3047"/>
                </a:cubicBezTo>
                <a:cubicBezTo>
                  <a:pt x="17523" y="3109"/>
                  <a:pt x="17548" y="3160"/>
                  <a:pt x="17577" y="3160"/>
                </a:cubicBezTo>
                <a:cubicBezTo>
                  <a:pt x="17607" y="3160"/>
                  <a:pt x="17631" y="3109"/>
                  <a:pt x="17631" y="3047"/>
                </a:cubicBezTo>
                <a:cubicBezTo>
                  <a:pt x="17631" y="2984"/>
                  <a:pt x="17607" y="2934"/>
                  <a:pt x="17577" y="2934"/>
                </a:cubicBezTo>
                <a:close/>
                <a:moveTo>
                  <a:pt x="17577" y="2607"/>
                </a:moveTo>
                <a:cubicBezTo>
                  <a:pt x="17548" y="2607"/>
                  <a:pt x="17523" y="2658"/>
                  <a:pt x="17523" y="2720"/>
                </a:cubicBezTo>
                <a:cubicBezTo>
                  <a:pt x="17523" y="2783"/>
                  <a:pt x="17548" y="2833"/>
                  <a:pt x="17577" y="2833"/>
                </a:cubicBezTo>
                <a:cubicBezTo>
                  <a:pt x="17607" y="2833"/>
                  <a:pt x="17631" y="2783"/>
                  <a:pt x="17631" y="2720"/>
                </a:cubicBezTo>
                <a:cubicBezTo>
                  <a:pt x="17631" y="2658"/>
                  <a:pt x="17607" y="2607"/>
                  <a:pt x="17577" y="2607"/>
                </a:cubicBezTo>
                <a:close/>
                <a:moveTo>
                  <a:pt x="17425" y="2934"/>
                </a:moveTo>
                <a:cubicBezTo>
                  <a:pt x="17395" y="2934"/>
                  <a:pt x="17371" y="2984"/>
                  <a:pt x="17371" y="3047"/>
                </a:cubicBezTo>
                <a:cubicBezTo>
                  <a:pt x="17371" y="3109"/>
                  <a:pt x="17395" y="3160"/>
                  <a:pt x="17425" y="3160"/>
                </a:cubicBezTo>
                <a:cubicBezTo>
                  <a:pt x="17454" y="3160"/>
                  <a:pt x="17478" y="3109"/>
                  <a:pt x="17478" y="3047"/>
                </a:cubicBezTo>
                <a:cubicBezTo>
                  <a:pt x="17478" y="2984"/>
                  <a:pt x="17454" y="2934"/>
                  <a:pt x="17425" y="2934"/>
                </a:cubicBezTo>
                <a:close/>
                <a:moveTo>
                  <a:pt x="17425" y="2607"/>
                </a:moveTo>
                <a:cubicBezTo>
                  <a:pt x="17395" y="2607"/>
                  <a:pt x="17371" y="2658"/>
                  <a:pt x="17371" y="2720"/>
                </a:cubicBezTo>
                <a:cubicBezTo>
                  <a:pt x="17371" y="2783"/>
                  <a:pt x="17395" y="2833"/>
                  <a:pt x="17425" y="2833"/>
                </a:cubicBezTo>
                <a:cubicBezTo>
                  <a:pt x="17454" y="2833"/>
                  <a:pt x="17478" y="2783"/>
                  <a:pt x="17478" y="2720"/>
                </a:cubicBezTo>
                <a:cubicBezTo>
                  <a:pt x="17478" y="2658"/>
                  <a:pt x="17454" y="2607"/>
                  <a:pt x="17425" y="2607"/>
                </a:cubicBezTo>
                <a:close/>
                <a:moveTo>
                  <a:pt x="16498" y="4753"/>
                </a:moveTo>
                <a:cubicBezTo>
                  <a:pt x="16528" y="4753"/>
                  <a:pt x="16552" y="4702"/>
                  <a:pt x="16552" y="4639"/>
                </a:cubicBezTo>
                <a:cubicBezTo>
                  <a:pt x="16552" y="4577"/>
                  <a:pt x="16528" y="4526"/>
                  <a:pt x="16498" y="4526"/>
                </a:cubicBezTo>
                <a:cubicBezTo>
                  <a:pt x="16468" y="4526"/>
                  <a:pt x="16444" y="4577"/>
                  <a:pt x="16444" y="4639"/>
                </a:cubicBezTo>
                <a:cubicBezTo>
                  <a:pt x="16444" y="4702"/>
                  <a:pt x="16468" y="4753"/>
                  <a:pt x="16498" y="4753"/>
                </a:cubicBezTo>
                <a:close/>
                <a:moveTo>
                  <a:pt x="16344" y="4753"/>
                </a:moveTo>
                <a:cubicBezTo>
                  <a:pt x="16374" y="4753"/>
                  <a:pt x="16398" y="4702"/>
                  <a:pt x="16398" y="4639"/>
                </a:cubicBezTo>
                <a:cubicBezTo>
                  <a:pt x="16398" y="4577"/>
                  <a:pt x="16374" y="4526"/>
                  <a:pt x="16344" y="4526"/>
                </a:cubicBezTo>
                <a:cubicBezTo>
                  <a:pt x="16314" y="4526"/>
                  <a:pt x="16290" y="4577"/>
                  <a:pt x="16290" y="4639"/>
                </a:cubicBezTo>
                <a:cubicBezTo>
                  <a:pt x="16290" y="4702"/>
                  <a:pt x="16314" y="4753"/>
                  <a:pt x="16344" y="4753"/>
                </a:cubicBezTo>
                <a:close/>
                <a:moveTo>
                  <a:pt x="17271" y="4526"/>
                </a:moveTo>
                <a:cubicBezTo>
                  <a:pt x="17241" y="4526"/>
                  <a:pt x="17217" y="4577"/>
                  <a:pt x="17217" y="4639"/>
                </a:cubicBezTo>
                <a:cubicBezTo>
                  <a:pt x="17217" y="4702"/>
                  <a:pt x="17241" y="4753"/>
                  <a:pt x="17271" y="4753"/>
                </a:cubicBezTo>
                <a:cubicBezTo>
                  <a:pt x="17301" y="4753"/>
                  <a:pt x="17325" y="4702"/>
                  <a:pt x="17325" y="4639"/>
                </a:cubicBezTo>
                <a:cubicBezTo>
                  <a:pt x="17325" y="4577"/>
                  <a:pt x="17301" y="4526"/>
                  <a:pt x="17271" y="4526"/>
                </a:cubicBezTo>
                <a:close/>
                <a:moveTo>
                  <a:pt x="17118" y="4526"/>
                </a:moveTo>
                <a:cubicBezTo>
                  <a:pt x="17089" y="4526"/>
                  <a:pt x="17065" y="4577"/>
                  <a:pt x="17065" y="4639"/>
                </a:cubicBezTo>
                <a:cubicBezTo>
                  <a:pt x="17065" y="4702"/>
                  <a:pt x="17089" y="4753"/>
                  <a:pt x="17118" y="4753"/>
                </a:cubicBezTo>
                <a:cubicBezTo>
                  <a:pt x="17148" y="4753"/>
                  <a:pt x="17172" y="4702"/>
                  <a:pt x="17172" y="4639"/>
                </a:cubicBezTo>
                <a:cubicBezTo>
                  <a:pt x="17172" y="4577"/>
                  <a:pt x="17148" y="4526"/>
                  <a:pt x="17118" y="4526"/>
                </a:cubicBezTo>
                <a:close/>
                <a:moveTo>
                  <a:pt x="16963" y="4753"/>
                </a:moveTo>
                <a:cubicBezTo>
                  <a:pt x="16993" y="4753"/>
                  <a:pt x="17017" y="4702"/>
                  <a:pt x="17017" y="4639"/>
                </a:cubicBezTo>
                <a:cubicBezTo>
                  <a:pt x="17017" y="4577"/>
                  <a:pt x="16993" y="4526"/>
                  <a:pt x="16963" y="4526"/>
                </a:cubicBezTo>
                <a:cubicBezTo>
                  <a:pt x="16933" y="4526"/>
                  <a:pt x="16909" y="4577"/>
                  <a:pt x="16909" y="4639"/>
                </a:cubicBezTo>
                <a:cubicBezTo>
                  <a:pt x="16909" y="4702"/>
                  <a:pt x="16933" y="4753"/>
                  <a:pt x="16963" y="4753"/>
                </a:cubicBezTo>
                <a:close/>
                <a:moveTo>
                  <a:pt x="16809" y="4526"/>
                </a:moveTo>
                <a:cubicBezTo>
                  <a:pt x="16779" y="4526"/>
                  <a:pt x="16755" y="4577"/>
                  <a:pt x="16755" y="4639"/>
                </a:cubicBezTo>
                <a:cubicBezTo>
                  <a:pt x="16755" y="4702"/>
                  <a:pt x="16779" y="4753"/>
                  <a:pt x="16809" y="4753"/>
                </a:cubicBezTo>
                <a:cubicBezTo>
                  <a:pt x="16839" y="4753"/>
                  <a:pt x="16863" y="4702"/>
                  <a:pt x="16863" y="4639"/>
                </a:cubicBezTo>
                <a:cubicBezTo>
                  <a:pt x="16863" y="4577"/>
                  <a:pt x="16839" y="4526"/>
                  <a:pt x="16809" y="4526"/>
                </a:cubicBezTo>
                <a:close/>
                <a:moveTo>
                  <a:pt x="16656" y="4526"/>
                </a:moveTo>
                <a:cubicBezTo>
                  <a:pt x="16627" y="4526"/>
                  <a:pt x="16603" y="4577"/>
                  <a:pt x="16603" y="4639"/>
                </a:cubicBezTo>
                <a:cubicBezTo>
                  <a:pt x="16603" y="4702"/>
                  <a:pt x="16627" y="4753"/>
                  <a:pt x="16656" y="4753"/>
                </a:cubicBezTo>
                <a:cubicBezTo>
                  <a:pt x="16686" y="4753"/>
                  <a:pt x="16710" y="4702"/>
                  <a:pt x="16710" y="4639"/>
                </a:cubicBezTo>
                <a:cubicBezTo>
                  <a:pt x="16710" y="4577"/>
                  <a:pt x="16686" y="4526"/>
                  <a:pt x="16656" y="4526"/>
                </a:cubicBezTo>
                <a:close/>
                <a:moveTo>
                  <a:pt x="17422" y="6384"/>
                </a:moveTo>
                <a:cubicBezTo>
                  <a:pt x="17452" y="6384"/>
                  <a:pt x="17476" y="6334"/>
                  <a:pt x="17476" y="6271"/>
                </a:cubicBezTo>
                <a:cubicBezTo>
                  <a:pt x="17476" y="6209"/>
                  <a:pt x="17452" y="6158"/>
                  <a:pt x="17422" y="6158"/>
                </a:cubicBezTo>
                <a:cubicBezTo>
                  <a:pt x="17392" y="6158"/>
                  <a:pt x="17368" y="6209"/>
                  <a:pt x="17368" y="6271"/>
                </a:cubicBezTo>
                <a:cubicBezTo>
                  <a:pt x="17368" y="6334"/>
                  <a:pt x="17392" y="6384"/>
                  <a:pt x="17422" y="6384"/>
                </a:cubicBezTo>
                <a:close/>
                <a:moveTo>
                  <a:pt x="16350" y="11672"/>
                </a:moveTo>
                <a:cubicBezTo>
                  <a:pt x="16320" y="11672"/>
                  <a:pt x="16296" y="11723"/>
                  <a:pt x="16296" y="11785"/>
                </a:cubicBezTo>
                <a:cubicBezTo>
                  <a:pt x="16296" y="11848"/>
                  <a:pt x="16320" y="11898"/>
                  <a:pt x="16350" y="11898"/>
                </a:cubicBezTo>
                <a:cubicBezTo>
                  <a:pt x="16379" y="11898"/>
                  <a:pt x="16403" y="11848"/>
                  <a:pt x="16403" y="11785"/>
                </a:cubicBezTo>
                <a:cubicBezTo>
                  <a:pt x="16403" y="11723"/>
                  <a:pt x="16379" y="11672"/>
                  <a:pt x="16350" y="11672"/>
                </a:cubicBezTo>
                <a:close/>
                <a:moveTo>
                  <a:pt x="16350" y="11998"/>
                </a:moveTo>
                <a:cubicBezTo>
                  <a:pt x="16320" y="11998"/>
                  <a:pt x="16296" y="12049"/>
                  <a:pt x="16296" y="12111"/>
                </a:cubicBezTo>
                <a:cubicBezTo>
                  <a:pt x="16296" y="12174"/>
                  <a:pt x="16320" y="12225"/>
                  <a:pt x="16350" y="12225"/>
                </a:cubicBezTo>
                <a:cubicBezTo>
                  <a:pt x="16379" y="12225"/>
                  <a:pt x="16403" y="12174"/>
                  <a:pt x="16403" y="12111"/>
                </a:cubicBezTo>
                <a:cubicBezTo>
                  <a:pt x="16403" y="12049"/>
                  <a:pt x="16379" y="11998"/>
                  <a:pt x="16350" y="11998"/>
                </a:cubicBezTo>
                <a:close/>
                <a:moveTo>
                  <a:pt x="16501" y="11007"/>
                </a:moveTo>
                <a:cubicBezTo>
                  <a:pt x="16471" y="11007"/>
                  <a:pt x="16447" y="11058"/>
                  <a:pt x="16447" y="11121"/>
                </a:cubicBezTo>
                <a:cubicBezTo>
                  <a:pt x="16447" y="11183"/>
                  <a:pt x="16471" y="11234"/>
                  <a:pt x="16501" y="11234"/>
                </a:cubicBezTo>
                <a:cubicBezTo>
                  <a:pt x="16531" y="11234"/>
                  <a:pt x="16555" y="11183"/>
                  <a:pt x="16555" y="11121"/>
                </a:cubicBezTo>
                <a:cubicBezTo>
                  <a:pt x="16555" y="11058"/>
                  <a:pt x="16531" y="11007"/>
                  <a:pt x="16501" y="11007"/>
                </a:cubicBezTo>
                <a:close/>
                <a:moveTo>
                  <a:pt x="16186" y="11898"/>
                </a:moveTo>
                <a:cubicBezTo>
                  <a:pt x="16216" y="11898"/>
                  <a:pt x="16240" y="11848"/>
                  <a:pt x="16240" y="11785"/>
                </a:cubicBezTo>
                <a:cubicBezTo>
                  <a:pt x="16240" y="11723"/>
                  <a:pt x="16216" y="11672"/>
                  <a:pt x="16186" y="11672"/>
                </a:cubicBezTo>
                <a:cubicBezTo>
                  <a:pt x="16157" y="11672"/>
                  <a:pt x="16133" y="11723"/>
                  <a:pt x="16133" y="11785"/>
                </a:cubicBezTo>
                <a:cubicBezTo>
                  <a:pt x="16133" y="11848"/>
                  <a:pt x="16157" y="11898"/>
                  <a:pt x="16186" y="11898"/>
                </a:cubicBezTo>
                <a:close/>
                <a:moveTo>
                  <a:pt x="16032" y="12225"/>
                </a:moveTo>
                <a:cubicBezTo>
                  <a:pt x="16062" y="12225"/>
                  <a:pt x="16086" y="12174"/>
                  <a:pt x="16086" y="12111"/>
                </a:cubicBezTo>
                <a:cubicBezTo>
                  <a:pt x="16086" y="12049"/>
                  <a:pt x="16062" y="11998"/>
                  <a:pt x="16032" y="11998"/>
                </a:cubicBezTo>
                <a:cubicBezTo>
                  <a:pt x="16003" y="11998"/>
                  <a:pt x="15979" y="12049"/>
                  <a:pt x="15979" y="12111"/>
                </a:cubicBezTo>
                <a:cubicBezTo>
                  <a:pt x="15979" y="12174"/>
                  <a:pt x="16003" y="12225"/>
                  <a:pt x="16032" y="12225"/>
                </a:cubicBezTo>
                <a:close/>
                <a:moveTo>
                  <a:pt x="16032" y="11246"/>
                </a:moveTo>
                <a:cubicBezTo>
                  <a:pt x="16062" y="11246"/>
                  <a:pt x="16086" y="11195"/>
                  <a:pt x="16086" y="11133"/>
                </a:cubicBezTo>
                <a:cubicBezTo>
                  <a:pt x="16086" y="11070"/>
                  <a:pt x="16062" y="11019"/>
                  <a:pt x="16032" y="11019"/>
                </a:cubicBezTo>
                <a:cubicBezTo>
                  <a:pt x="16003" y="11019"/>
                  <a:pt x="15979" y="11070"/>
                  <a:pt x="15979" y="11133"/>
                </a:cubicBezTo>
                <a:cubicBezTo>
                  <a:pt x="15979" y="11195"/>
                  <a:pt x="16003" y="11246"/>
                  <a:pt x="16032" y="11246"/>
                </a:cubicBezTo>
                <a:close/>
                <a:moveTo>
                  <a:pt x="16186" y="11572"/>
                </a:moveTo>
                <a:cubicBezTo>
                  <a:pt x="16216" y="11572"/>
                  <a:pt x="16240" y="11521"/>
                  <a:pt x="16240" y="11459"/>
                </a:cubicBezTo>
                <a:cubicBezTo>
                  <a:pt x="16240" y="11396"/>
                  <a:pt x="16216" y="11346"/>
                  <a:pt x="16186" y="11346"/>
                </a:cubicBezTo>
                <a:cubicBezTo>
                  <a:pt x="16157" y="11346"/>
                  <a:pt x="16133" y="11396"/>
                  <a:pt x="16133" y="11459"/>
                </a:cubicBezTo>
                <a:cubicBezTo>
                  <a:pt x="16133" y="11521"/>
                  <a:pt x="16157" y="11572"/>
                  <a:pt x="16186" y="11572"/>
                </a:cubicBezTo>
                <a:close/>
                <a:moveTo>
                  <a:pt x="16350" y="10678"/>
                </a:moveTo>
                <a:cubicBezTo>
                  <a:pt x="16320" y="10678"/>
                  <a:pt x="16296" y="10728"/>
                  <a:pt x="16296" y="10791"/>
                </a:cubicBezTo>
                <a:cubicBezTo>
                  <a:pt x="16296" y="10853"/>
                  <a:pt x="16320" y="10904"/>
                  <a:pt x="16350" y="10904"/>
                </a:cubicBezTo>
                <a:cubicBezTo>
                  <a:pt x="16379" y="10904"/>
                  <a:pt x="16403" y="10853"/>
                  <a:pt x="16403" y="10791"/>
                </a:cubicBezTo>
                <a:cubicBezTo>
                  <a:pt x="16403" y="10728"/>
                  <a:pt x="16379" y="10678"/>
                  <a:pt x="16350" y="10678"/>
                </a:cubicBezTo>
                <a:close/>
                <a:moveTo>
                  <a:pt x="16808" y="10678"/>
                </a:moveTo>
                <a:cubicBezTo>
                  <a:pt x="16778" y="10678"/>
                  <a:pt x="16754" y="10728"/>
                  <a:pt x="16754" y="10791"/>
                </a:cubicBezTo>
                <a:cubicBezTo>
                  <a:pt x="16754" y="10853"/>
                  <a:pt x="16778" y="10904"/>
                  <a:pt x="16808" y="10904"/>
                </a:cubicBezTo>
                <a:cubicBezTo>
                  <a:pt x="16838" y="10904"/>
                  <a:pt x="16862" y="10853"/>
                  <a:pt x="16862" y="10791"/>
                </a:cubicBezTo>
                <a:cubicBezTo>
                  <a:pt x="16862" y="10728"/>
                  <a:pt x="16838" y="10678"/>
                  <a:pt x="16808" y="10678"/>
                </a:cubicBezTo>
                <a:close/>
                <a:moveTo>
                  <a:pt x="16654" y="10678"/>
                </a:moveTo>
                <a:cubicBezTo>
                  <a:pt x="16624" y="10678"/>
                  <a:pt x="16600" y="10728"/>
                  <a:pt x="16600" y="10791"/>
                </a:cubicBezTo>
                <a:cubicBezTo>
                  <a:pt x="16600" y="10853"/>
                  <a:pt x="16624" y="10904"/>
                  <a:pt x="16654" y="10904"/>
                </a:cubicBezTo>
                <a:cubicBezTo>
                  <a:pt x="16684" y="10904"/>
                  <a:pt x="16708" y="10853"/>
                  <a:pt x="16708" y="10791"/>
                </a:cubicBezTo>
                <a:cubicBezTo>
                  <a:pt x="16708" y="10728"/>
                  <a:pt x="16684" y="10678"/>
                  <a:pt x="16654" y="10678"/>
                </a:cubicBezTo>
                <a:close/>
                <a:moveTo>
                  <a:pt x="16501" y="10678"/>
                </a:moveTo>
                <a:cubicBezTo>
                  <a:pt x="16471" y="10678"/>
                  <a:pt x="16447" y="10728"/>
                  <a:pt x="16447" y="10791"/>
                </a:cubicBezTo>
                <a:cubicBezTo>
                  <a:pt x="16447" y="10853"/>
                  <a:pt x="16471" y="10904"/>
                  <a:pt x="16501" y="10904"/>
                </a:cubicBezTo>
                <a:cubicBezTo>
                  <a:pt x="16531" y="10904"/>
                  <a:pt x="16555" y="10853"/>
                  <a:pt x="16555" y="10791"/>
                </a:cubicBezTo>
                <a:cubicBezTo>
                  <a:pt x="16555" y="10728"/>
                  <a:pt x="16531" y="10678"/>
                  <a:pt x="16501" y="10678"/>
                </a:cubicBezTo>
                <a:close/>
                <a:moveTo>
                  <a:pt x="16032" y="10904"/>
                </a:moveTo>
                <a:cubicBezTo>
                  <a:pt x="16062" y="10904"/>
                  <a:pt x="16086" y="10853"/>
                  <a:pt x="16086" y="10791"/>
                </a:cubicBezTo>
                <a:cubicBezTo>
                  <a:pt x="16086" y="10728"/>
                  <a:pt x="16062" y="10678"/>
                  <a:pt x="16032" y="10678"/>
                </a:cubicBezTo>
                <a:cubicBezTo>
                  <a:pt x="16003" y="10678"/>
                  <a:pt x="15979" y="10728"/>
                  <a:pt x="15979" y="10791"/>
                </a:cubicBezTo>
                <a:cubicBezTo>
                  <a:pt x="15979" y="10853"/>
                  <a:pt x="16003" y="10904"/>
                  <a:pt x="16032" y="10904"/>
                </a:cubicBezTo>
                <a:close/>
                <a:moveTo>
                  <a:pt x="16350" y="10049"/>
                </a:moveTo>
                <a:cubicBezTo>
                  <a:pt x="16320" y="10049"/>
                  <a:pt x="16296" y="10100"/>
                  <a:pt x="16296" y="10162"/>
                </a:cubicBezTo>
                <a:cubicBezTo>
                  <a:pt x="16296" y="10225"/>
                  <a:pt x="16320" y="10276"/>
                  <a:pt x="16350" y="10276"/>
                </a:cubicBezTo>
                <a:cubicBezTo>
                  <a:pt x="16379" y="10276"/>
                  <a:pt x="16403" y="10225"/>
                  <a:pt x="16403" y="10162"/>
                </a:cubicBezTo>
                <a:cubicBezTo>
                  <a:pt x="16403" y="10100"/>
                  <a:pt x="16379" y="10049"/>
                  <a:pt x="16350" y="10049"/>
                </a:cubicBezTo>
                <a:close/>
                <a:moveTo>
                  <a:pt x="16350" y="10376"/>
                </a:moveTo>
                <a:cubicBezTo>
                  <a:pt x="16320" y="10376"/>
                  <a:pt x="16296" y="10426"/>
                  <a:pt x="16296" y="10489"/>
                </a:cubicBezTo>
                <a:cubicBezTo>
                  <a:pt x="16296" y="10551"/>
                  <a:pt x="16320" y="10602"/>
                  <a:pt x="16350" y="10602"/>
                </a:cubicBezTo>
                <a:cubicBezTo>
                  <a:pt x="16379" y="10602"/>
                  <a:pt x="16403" y="10551"/>
                  <a:pt x="16403" y="10489"/>
                </a:cubicBezTo>
                <a:cubicBezTo>
                  <a:pt x="16403" y="10426"/>
                  <a:pt x="16379" y="10376"/>
                  <a:pt x="16350" y="10376"/>
                </a:cubicBezTo>
                <a:close/>
                <a:moveTo>
                  <a:pt x="16654" y="10049"/>
                </a:moveTo>
                <a:cubicBezTo>
                  <a:pt x="16624" y="10049"/>
                  <a:pt x="16600" y="10100"/>
                  <a:pt x="16600" y="10162"/>
                </a:cubicBezTo>
                <a:cubicBezTo>
                  <a:pt x="16600" y="10225"/>
                  <a:pt x="16624" y="10276"/>
                  <a:pt x="16654" y="10276"/>
                </a:cubicBezTo>
                <a:cubicBezTo>
                  <a:pt x="16684" y="10276"/>
                  <a:pt x="16708" y="10225"/>
                  <a:pt x="16708" y="10162"/>
                </a:cubicBezTo>
                <a:cubicBezTo>
                  <a:pt x="16708" y="10100"/>
                  <a:pt x="16684" y="10049"/>
                  <a:pt x="16654" y="10049"/>
                </a:cubicBezTo>
                <a:close/>
                <a:moveTo>
                  <a:pt x="16501" y="10049"/>
                </a:moveTo>
                <a:cubicBezTo>
                  <a:pt x="16471" y="10049"/>
                  <a:pt x="16447" y="10100"/>
                  <a:pt x="16447" y="10162"/>
                </a:cubicBezTo>
                <a:cubicBezTo>
                  <a:pt x="16447" y="10225"/>
                  <a:pt x="16471" y="10276"/>
                  <a:pt x="16501" y="10276"/>
                </a:cubicBezTo>
                <a:cubicBezTo>
                  <a:pt x="16531" y="10276"/>
                  <a:pt x="16555" y="10225"/>
                  <a:pt x="16555" y="10162"/>
                </a:cubicBezTo>
                <a:cubicBezTo>
                  <a:pt x="16555" y="10100"/>
                  <a:pt x="16531" y="10049"/>
                  <a:pt x="16501" y="10049"/>
                </a:cubicBezTo>
                <a:close/>
                <a:moveTo>
                  <a:pt x="16654" y="10376"/>
                </a:moveTo>
                <a:cubicBezTo>
                  <a:pt x="16624" y="10376"/>
                  <a:pt x="16600" y="10426"/>
                  <a:pt x="16600" y="10489"/>
                </a:cubicBezTo>
                <a:cubicBezTo>
                  <a:pt x="16600" y="10551"/>
                  <a:pt x="16624" y="10602"/>
                  <a:pt x="16654" y="10602"/>
                </a:cubicBezTo>
                <a:cubicBezTo>
                  <a:pt x="16684" y="10602"/>
                  <a:pt x="16708" y="10551"/>
                  <a:pt x="16708" y="10489"/>
                </a:cubicBezTo>
                <a:cubicBezTo>
                  <a:pt x="16708" y="10426"/>
                  <a:pt x="16684" y="10376"/>
                  <a:pt x="16654" y="10376"/>
                </a:cubicBezTo>
                <a:close/>
                <a:moveTo>
                  <a:pt x="16501" y="10376"/>
                </a:moveTo>
                <a:cubicBezTo>
                  <a:pt x="16471" y="10376"/>
                  <a:pt x="16447" y="10426"/>
                  <a:pt x="16447" y="10489"/>
                </a:cubicBezTo>
                <a:cubicBezTo>
                  <a:pt x="16447" y="10551"/>
                  <a:pt x="16471" y="10602"/>
                  <a:pt x="16501" y="10602"/>
                </a:cubicBezTo>
                <a:cubicBezTo>
                  <a:pt x="16531" y="10602"/>
                  <a:pt x="16555" y="10551"/>
                  <a:pt x="16555" y="10489"/>
                </a:cubicBezTo>
                <a:cubicBezTo>
                  <a:pt x="16555" y="10426"/>
                  <a:pt x="16531" y="10376"/>
                  <a:pt x="16501" y="10376"/>
                </a:cubicBezTo>
                <a:close/>
                <a:moveTo>
                  <a:pt x="16494" y="13261"/>
                </a:moveTo>
                <a:cubicBezTo>
                  <a:pt x="16465" y="13261"/>
                  <a:pt x="16441" y="13311"/>
                  <a:pt x="16441" y="13374"/>
                </a:cubicBezTo>
                <a:cubicBezTo>
                  <a:pt x="16441" y="13436"/>
                  <a:pt x="16465" y="13487"/>
                  <a:pt x="16494" y="13487"/>
                </a:cubicBezTo>
                <a:cubicBezTo>
                  <a:pt x="16524" y="13487"/>
                  <a:pt x="16548" y="13436"/>
                  <a:pt x="16548" y="13374"/>
                </a:cubicBezTo>
                <a:cubicBezTo>
                  <a:pt x="16548" y="13311"/>
                  <a:pt x="16524" y="13261"/>
                  <a:pt x="16494" y="13261"/>
                </a:cubicBezTo>
                <a:close/>
                <a:moveTo>
                  <a:pt x="16494" y="12919"/>
                </a:moveTo>
                <a:cubicBezTo>
                  <a:pt x="16465" y="12919"/>
                  <a:pt x="16441" y="12970"/>
                  <a:pt x="16441" y="13032"/>
                </a:cubicBezTo>
                <a:cubicBezTo>
                  <a:pt x="16441" y="13095"/>
                  <a:pt x="16465" y="13145"/>
                  <a:pt x="16494" y="13145"/>
                </a:cubicBezTo>
                <a:cubicBezTo>
                  <a:pt x="16524" y="13145"/>
                  <a:pt x="16548" y="13095"/>
                  <a:pt x="16548" y="13032"/>
                </a:cubicBezTo>
                <a:cubicBezTo>
                  <a:pt x="16548" y="12970"/>
                  <a:pt x="16524" y="12919"/>
                  <a:pt x="16494" y="12919"/>
                </a:cubicBezTo>
                <a:close/>
                <a:moveTo>
                  <a:pt x="16345" y="13261"/>
                </a:moveTo>
                <a:cubicBezTo>
                  <a:pt x="16315" y="13261"/>
                  <a:pt x="16291" y="13311"/>
                  <a:pt x="16291" y="13374"/>
                </a:cubicBezTo>
                <a:cubicBezTo>
                  <a:pt x="16291" y="13436"/>
                  <a:pt x="16315" y="13487"/>
                  <a:pt x="16345" y="13487"/>
                </a:cubicBezTo>
                <a:cubicBezTo>
                  <a:pt x="16375" y="13487"/>
                  <a:pt x="16399" y="13436"/>
                  <a:pt x="16399" y="13374"/>
                </a:cubicBezTo>
                <a:cubicBezTo>
                  <a:pt x="16399" y="13311"/>
                  <a:pt x="16375" y="13261"/>
                  <a:pt x="16345" y="13261"/>
                </a:cubicBezTo>
                <a:close/>
                <a:moveTo>
                  <a:pt x="16345" y="12593"/>
                </a:moveTo>
                <a:cubicBezTo>
                  <a:pt x="16315" y="12593"/>
                  <a:pt x="16291" y="12643"/>
                  <a:pt x="16291" y="12706"/>
                </a:cubicBezTo>
                <a:cubicBezTo>
                  <a:pt x="16291" y="12768"/>
                  <a:pt x="16315" y="12819"/>
                  <a:pt x="16345" y="12819"/>
                </a:cubicBezTo>
                <a:cubicBezTo>
                  <a:pt x="16375" y="12819"/>
                  <a:pt x="16399" y="12768"/>
                  <a:pt x="16399" y="12706"/>
                </a:cubicBezTo>
                <a:cubicBezTo>
                  <a:pt x="16399" y="12643"/>
                  <a:pt x="16375" y="12593"/>
                  <a:pt x="16345" y="12593"/>
                </a:cubicBezTo>
                <a:close/>
                <a:moveTo>
                  <a:pt x="16191" y="12593"/>
                </a:moveTo>
                <a:cubicBezTo>
                  <a:pt x="16162" y="12593"/>
                  <a:pt x="16137" y="12643"/>
                  <a:pt x="16137" y="12706"/>
                </a:cubicBezTo>
                <a:cubicBezTo>
                  <a:pt x="16137" y="12768"/>
                  <a:pt x="16162" y="12819"/>
                  <a:pt x="16191" y="12819"/>
                </a:cubicBezTo>
                <a:cubicBezTo>
                  <a:pt x="16221" y="12819"/>
                  <a:pt x="16245" y="12768"/>
                  <a:pt x="16245" y="12706"/>
                </a:cubicBezTo>
                <a:cubicBezTo>
                  <a:pt x="16245" y="12643"/>
                  <a:pt x="16221" y="12593"/>
                  <a:pt x="16191" y="12593"/>
                </a:cubicBezTo>
                <a:close/>
                <a:moveTo>
                  <a:pt x="16345" y="12919"/>
                </a:moveTo>
                <a:cubicBezTo>
                  <a:pt x="16315" y="12919"/>
                  <a:pt x="16291" y="12970"/>
                  <a:pt x="16291" y="13032"/>
                </a:cubicBezTo>
                <a:cubicBezTo>
                  <a:pt x="16291" y="13095"/>
                  <a:pt x="16315" y="13145"/>
                  <a:pt x="16345" y="13145"/>
                </a:cubicBezTo>
                <a:cubicBezTo>
                  <a:pt x="16375" y="13145"/>
                  <a:pt x="16399" y="13095"/>
                  <a:pt x="16399" y="13032"/>
                </a:cubicBezTo>
                <a:cubicBezTo>
                  <a:pt x="16399" y="12970"/>
                  <a:pt x="16375" y="12919"/>
                  <a:pt x="16345" y="12919"/>
                </a:cubicBezTo>
                <a:close/>
                <a:moveTo>
                  <a:pt x="16345" y="12306"/>
                </a:moveTo>
                <a:cubicBezTo>
                  <a:pt x="16315" y="12306"/>
                  <a:pt x="16291" y="12357"/>
                  <a:pt x="16291" y="12419"/>
                </a:cubicBezTo>
                <a:cubicBezTo>
                  <a:pt x="16291" y="12482"/>
                  <a:pt x="16315" y="12532"/>
                  <a:pt x="16345" y="12532"/>
                </a:cubicBezTo>
                <a:cubicBezTo>
                  <a:pt x="16375" y="12532"/>
                  <a:pt x="16399" y="12482"/>
                  <a:pt x="16399" y="12419"/>
                </a:cubicBezTo>
                <a:cubicBezTo>
                  <a:pt x="16399" y="12357"/>
                  <a:pt x="16375" y="12306"/>
                  <a:pt x="16345" y="12306"/>
                </a:cubicBezTo>
                <a:close/>
                <a:moveTo>
                  <a:pt x="16191" y="12306"/>
                </a:moveTo>
                <a:cubicBezTo>
                  <a:pt x="16162" y="12306"/>
                  <a:pt x="16137" y="12357"/>
                  <a:pt x="16137" y="12419"/>
                </a:cubicBezTo>
                <a:cubicBezTo>
                  <a:pt x="16137" y="12482"/>
                  <a:pt x="16162" y="12532"/>
                  <a:pt x="16191" y="12532"/>
                </a:cubicBezTo>
                <a:cubicBezTo>
                  <a:pt x="16221" y="12532"/>
                  <a:pt x="16245" y="12482"/>
                  <a:pt x="16245" y="12419"/>
                </a:cubicBezTo>
                <a:cubicBezTo>
                  <a:pt x="16245" y="12357"/>
                  <a:pt x="16221" y="12306"/>
                  <a:pt x="16191" y="12306"/>
                </a:cubicBezTo>
                <a:close/>
                <a:moveTo>
                  <a:pt x="16039" y="12306"/>
                </a:moveTo>
                <a:cubicBezTo>
                  <a:pt x="16009" y="12306"/>
                  <a:pt x="15985" y="12357"/>
                  <a:pt x="15985" y="12419"/>
                </a:cubicBezTo>
                <a:cubicBezTo>
                  <a:pt x="15985" y="12482"/>
                  <a:pt x="16009" y="12532"/>
                  <a:pt x="16039" y="12532"/>
                </a:cubicBezTo>
                <a:cubicBezTo>
                  <a:pt x="16068" y="12532"/>
                  <a:pt x="16092" y="12482"/>
                  <a:pt x="16092" y="12419"/>
                </a:cubicBezTo>
                <a:cubicBezTo>
                  <a:pt x="16092" y="12357"/>
                  <a:pt x="16068" y="12306"/>
                  <a:pt x="16039" y="12306"/>
                </a:cubicBezTo>
                <a:close/>
                <a:moveTo>
                  <a:pt x="16186" y="10276"/>
                </a:moveTo>
                <a:cubicBezTo>
                  <a:pt x="16216" y="10276"/>
                  <a:pt x="16240" y="10225"/>
                  <a:pt x="16240" y="10162"/>
                </a:cubicBezTo>
                <a:cubicBezTo>
                  <a:pt x="16240" y="10100"/>
                  <a:pt x="16216" y="10049"/>
                  <a:pt x="16186" y="10049"/>
                </a:cubicBezTo>
                <a:cubicBezTo>
                  <a:pt x="16157" y="10049"/>
                  <a:pt x="16133" y="10100"/>
                  <a:pt x="16133" y="10162"/>
                </a:cubicBezTo>
                <a:cubicBezTo>
                  <a:pt x="16133" y="10225"/>
                  <a:pt x="16157" y="10276"/>
                  <a:pt x="16186" y="10276"/>
                </a:cubicBezTo>
                <a:close/>
                <a:moveTo>
                  <a:pt x="16032" y="10276"/>
                </a:moveTo>
                <a:cubicBezTo>
                  <a:pt x="16062" y="10276"/>
                  <a:pt x="16086" y="10225"/>
                  <a:pt x="16086" y="10162"/>
                </a:cubicBezTo>
                <a:cubicBezTo>
                  <a:pt x="16086" y="10100"/>
                  <a:pt x="16062" y="10049"/>
                  <a:pt x="16032" y="10049"/>
                </a:cubicBezTo>
                <a:cubicBezTo>
                  <a:pt x="16003" y="10049"/>
                  <a:pt x="15979" y="10100"/>
                  <a:pt x="15979" y="10162"/>
                </a:cubicBezTo>
                <a:cubicBezTo>
                  <a:pt x="15979" y="10225"/>
                  <a:pt x="16003" y="10276"/>
                  <a:pt x="16032" y="10276"/>
                </a:cubicBezTo>
                <a:close/>
                <a:moveTo>
                  <a:pt x="16186" y="10602"/>
                </a:moveTo>
                <a:cubicBezTo>
                  <a:pt x="16216" y="10602"/>
                  <a:pt x="16240" y="10551"/>
                  <a:pt x="16240" y="10489"/>
                </a:cubicBezTo>
                <a:cubicBezTo>
                  <a:pt x="16240" y="10426"/>
                  <a:pt x="16216" y="10376"/>
                  <a:pt x="16186" y="10376"/>
                </a:cubicBezTo>
                <a:cubicBezTo>
                  <a:pt x="16157" y="10376"/>
                  <a:pt x="16133" y="10426"/>
                  <a:pt x="16133" y="10489"/>
                </a:cubicBezTo>
                <a:cubicBezTo>
                  <a:pt x="16133" y="10551"/>
                  <a:pt x="16157" y="10602"/>
                  <a:pt x="16186" y="10602"/>
                </a:cubicBezTo>
                <a:close/>
                <a:moveTo>
                  <a:pt x="16032" y="10602"/>
                </a:moveTo>
                <a:cubicBezTo>
                  <a:pt x="16062" y="10602"/>
                  <a:pt x="16086" y="10551"/>
                  <a:pt x="16086" y="10489"/>
                </a:cubicBezTo>
                <a:cubicBezTo>
                  <a:pt x="16086" y="10426"/>
                  <a:pt x="16062" y="10376"/>
                  <a:pt x="16032" y="10376"/>
                </a:cubicBezTo>
                <a:cubicBezTo>
                  <a:pt x="16003" y="10376"/>
                  <a:pt x="15979" y="10426"/>
                  <a:pt x="15979" y="10489"/>
                </a:cubicBezTo>
                <a:cubicBezTo>
                  <a:pt x="15979" y="10551"/>
                  <a:pt x="16003" y="10602"/>
                  <a:pt x="16032" y="10602"/>
                </a:cubicBezTo>
                <a:close/>
                <a:moveTo>
                  <a:pt x="16651" y="13599"/>
                </a:moveTo>
                <a:cubicBezTo>
                  <a:pt x="16621" y="13599"/>
                  <a:pt x="16597" y="13649"/>
                  <a:pt x="16597" y="13712"/>
                </a:cubicBezTo>
                <a:cubicBezTo>
                  <a:pt x="16597" y="13774"/>
                  <a:pt x="16621" y="13825"/>
                  <a:pt x="16651" y="13825"/>
                </a:cubicBezTo>
                <a:cubicBezTo>
                  <a:pt x="16681" y="13825"/>
                  <a:pt x="16705" y="13774"/>
                  <a:pt x="16705" y="13712"/>
                </a:cubicBezTo>
                <a:cubicBezTo>
                  <a:pt x="16705" y="13649"/>
                  <a:pt x="16681" y="13599"/>
                  <a:pt x="16651" y="13599"/>
                </a:cubicBezTo>
                <a:close/>
                <a:moveTo>
                  <a:pt x="16955" y="14115"/>
                </a:moveTo>
                <a:cubicBezTo>
                  <a:pt x="16985" y="14115"/>
                  <a:pt x="17009" y="14064"/>
                  <a:pt x="17009" y="14002"/>
                </a:cubicBezTo>
                <a:cubicBezTo>
                  <a:pt x="17009" y="13939"/>
                  <a:pt x="16985" y="13889"/>
                  <a:pt x="16955" y="13889"/>
                </a:cubicBezTo>
                <a:cubicBezTo>
                  <a:pt x="16925" y="13889"/>
                  <a:pt x="16901" y="13939"/>
                  <a:pt x="16901" y="14002"/>
                </a:cubicBezTo>
                <a:cubicBezTo>
                  <a:pt x="16901" y="14064"/>
                  <a:pt x="16925" y="14115"/>
                  <a:pt x="16955" y="14115"/>
                </a:cubicBezTo>
                <a:close/>
                <a:moveTo>
                  <a:pt x="17107" y="14115"/>
                </a:moveTo>
                <a:cubicBezTo>
                  <a:pt x="17136" y="14115"/>
                  <a:pt x="17160" y="14064"/>
                  <a:pt x="17160" y="14002"/>
                </a:cubicBezTo>
                <a:cubicBezTo>
                  <a:pt x="17160" y="13939"/>
                  <a:pt x="17136" y="13889"/>
                  <a:pt x="17107" y="13889"/>
                </a:cubicBezTo>
                <a:cubicBezTo>
                  <a:pt x="17077" y="13889"/>
                  <a:pt x="17053" y="13939"/>
                  <a:pt x="17053" y="14002"/>
                </a:cubicBezTo>
                <a:cubicBezTo>
                  <a:pt x="17053" y="14064"/>
                  <a:pt x="17077" y="14115"/>
                  <a:pt x="17107" y="14115"/>
                </a:cubicBezTo>
                <a:close/>
                <a:moveTo>
                  <a:pt x="16955" y="13148"/>
                </a:moveTo>
                <a:cubicBezTo>
                  <a:pt x="16985" y="13148"/>
                  <a:pt x="17009" y="13098"/>
                  <a:pt x="17009" y="13035"/>
                </a:cubicBezTo>
                <a:cubicBezTo>
                  <a:pt x="17009" y="12973"/>
                  <a:pt x="16985" y="12922"/>
                  <a:pt x="16955" y="12922"/>
                </a:cubicBezTo>
                <a:cubicBezTo>
                  <a:pt x="16925" y="12922"/>
                  <a:pt x="16901" y="12973"/>
                  <a:pt x="16901" y="13035"/>
                </a:cubicBezTo>
                <a:cubicBezTo>
                  <a:pt x="16901" y="13098"/>
                  <a:pt x="16925" y="13148"/>
                  <a:pt x="16955" y="13148"/>
                </a:cubicBezTo>
                <a:close/>
                <a:moveTo>
                  <a:pt x="17259" y="13148"/>
                </a:moveTo>
                <a:cubicBezTo>
                  <a:pt x="17289" y="13148"/>
                  <a:pt x="17313" y="13098"/>
                  <a:pt x="17313" y="13035"/>
                </a:cubicBezTo>
                <a:cubicBezTo>
                  <a:pt x="17313" y="12973"/>
                  <a:pt x="17289" y="12922"/>
                  <a:pt x="17259" y="12922"/>
                </a:cubicBezTo>
                <a:cubicBezTo>
                  <a:pt x="17230" y="12922"/>
                  <a:pt x="17206" y="12973"/>
                  <a:pt x="17206" y="13035"/>
                </a:cubicBezTo>
                <a:cubicBezTo>
                  <a:pt x="17206" y="13098"/>
                  <a:pt x="17230" y="13148"/>
                  <a:pt x="17259" y="13148"/>
                </a:cubicBezTo>
                <a:close/>
                <a:moveTo>
                  <a:pt x="17107" y="13148"/>
                </a:moveTo>
                <a:cubicBezTo>
                  <a:pt x="17136" y="13148"/>
                  <a:pt x="17160" y="13098"/>
                  <a:pt x="17160" y="13035"/>
                </a:cubicBezTo>
                <a:cubicBezTo>
                  <a:pt x="17160" y="12973"/>
                  <a:pt x="17136" y="12922"/>
                  <a:pt x="17107" y="12922"/>
                </a:cubicBezTo>
                <a:cubicBezTo>
                  <a:pt x="17077" y="12922"/>
                  <a:pt x="17053" y="12973"/>
                  <a:pt x="17053" y="13035"/>
                </a:cubicBezTo>
                <a:cubicBezTo>
                  <a:pt x="17053" y="13098"/>
                  <a:pt x="17077" y="13148"/>
                  <a:pt x="17107" y="13148"/>
                </a:cubicBezTo>
                <a:close/>
                <a:moveTo>
                  <a:pt x="17413" y="12309"/>
                </a:moveTo>
                <a:cubicBezTo>
                  <a:pt x="17384" y="12309"/>
                  <a:pt x="17360" y="12360"/>
                  <a:pt x="17360" y="12422"/>
                </a:cubicBezTo>
                <a:cubicBezTo>
                  <a:pt x="17360" y="12485"/>
                  <a:pt x="17384" y="12535"/>
                  <a:pt x="17413" y="12535"/>
                </a:cubicBezTo>
                <a:cubicBezTo>
                  <a:pt x="17443" y="12535"/>
                  <a:pt x="17467" y="12485"/>
                  <a:pt x="17467" y="12422"/>
                </a:cubicBezTo>
                <a:cubicBezTo>
                  <a:pt x="17467" y="12360"/>
                  <a:pt x="17443" y="12309"/>
                  <a:pt x="17413" y="12309"/>
                </a:cubicBezTo>
                <a:close/>
                <a:moveTo>
                  <a:pt x="16955" y="12535"/>
                </a:moveTo>
                <a:cubicBezTo>
                  <a:pt x="16985" y="12535"/>
                  <a:pt x="17009" y="12485"/>
                  <a:pt x="17009" y="12422"/>
                </a:cubicBezTo>
                <a:cubicBezTo>
                  <a:pt x="17009" y="12360"/>
                  <a:pt x="16985" y="12309"/>
                  <a:pt x="16955" y="12309"/>
                </a:cubicBezTo>
                <a:cubicBezTo>
                  <a:pt x="16925" y="12309"/>
                  <a:pt x="16901" y="12360"/>
                  <a:pt x="16901" y="12422"/>
                </a:cubicBezTo>
                <a:cubicBezTo>
                  <a:pt x="16901" y="12485"/>
                  <a:pt x="16925" y="12535"/>
                  <a:pt x="16955" y="12535"/>
                </a:cubicBezTo>
                <a:close/>
                <a:moveTo>
                  <a:pt x="16955" y="12862"/>
                </a:moveTo>
                <a:cubicBezTo>
                  <a:pt x="16985" y="12862"/>
                  <a:pt x="17009" y="12811"/>
                  <a:pt x="17009" y="12749"/>
                </a:cubicBezTo>
                <a:cubicBezTo>
                  <a:pt x="17009" y="12686"/>
                  <a:pt x="16985" y="12635"/>
                  <a:pt x="16955" y="12635"/>
                </a:cubicBezTo>
                <a:cubicBezTo>
                  <a:pt x="16925" y="12635"/>
                  <a:pt x="16901" y="12686"/>
                  <a:pt x="16901" y="12749"/>
                </a:cubicBezTo>
                <a:cubicBezTo>
                  <a:pt x="16901" y="12811"/>
                  <a:pt x="16925" y="12862"/>
                  <a:pt x="16955" y="12862"/>
                </a:cubicBezTo>
                <a:close/>
                <a:moveTo>
                  <a:pt x="17259" y="12535"/>
                </a:moveTo>
                <a:cubicBezTo>
                  <a:pt x="17289" y="12535"/>
                  <a:pt x="17313" y="12485"/>
                  <a:pt x="17313" y="12422"/>
                </a:cubicBezTo>
                <a:cubicBezTo>
                  <a:pt x="17313" y="12360"/>
                  <a:pt x="17289" y="12309"/>
                  <a:pt x="17259" y="12309"/>
                </a:cubicBezTo>
                <a:cubicBezTo>
                  <a:pt x="17230" y="12309"/>
                  <a:pt x="17206" y="12360"/>
                  <a:pt x="17206" y="12422"/>
                </a:cubicBezTo>
                <a:cubicBezTo>
                  <a:pt x="17206" y="12485"/>
                  <a:pt x="17230" y="12535"/>
                  <a:pt x="17259" y="12535"/>
                </a:cubicBezTo>
                <a:close/>
                <a:moveTo>
                  <a:pt x="17107" y="12535"/>
                </a:moveTo>
                <a:cubicBezTo>
                  <a:pt x="17136" y="12535"/>
                  <a:pt x="17160" y="12485"/>
                  <a:pt x="17160" y="12422"/>
                </a:cubicBezTo>
                <a:cubicBezTo>
                  <a:pt x="17160" y="12360"/>
                  <a:pt x="17136" y="12309"/>
                  <a:pt x="17107" y="12309"/>
                </a:cubicBezTo>
                <a:cubicBezTo>
                  <a:pt x="17077" y="12309"/>
                  <a:pt x="17053" y="12360"/>
                  <a:pt x="17053" y="12422"/>
                </a:cubicBezTo>
                <a:cubicBezTo>
                  <a:pt x="17053" y="12485"/>
                  <a:pt x="17077" y="12535"/>
                  <a:pt x="17107" y="12535"/>
                </a:cubicBezTo>
                <a:close/>
                <a:moveTo>
                  <a:pt x="17723" y="13478"/>
                </a:moveTo>
                <a:cubicBezTo>
                  <a:pt x="17753" y="13478"/>
                  <a:pt x="17777" y="13427"/>
                  <a:pt x="17777" y="13365"/>
                </a:cubicBezTo>
                <a:cubicBezTo>
                  <a:pt x="17777" y="13302"/>
                  <a:pt x="17753" y="13252"/>
                  <a:pt x="17723" y="13252"/>
                </a:cubicBezTo>
                <a:cubicBezTo>
                  <a:pt x="17694" y="13252"/>
                  <a:pt x="17670" y="13302"/>
                  <a:pt x="17670" y="13365"/>
                </a:cubicBezTo>
                <a:cubicBezTo>
                  <a:pt x="17670" y="13427"/>
                  <a:pt x="17694" y="13478"/>
                  <a:pt x="17723" y="13478"/>
                </a:cubicBezTo>
                <a:close/>
                <a:moveTo>
                  <a:pt x="17568" y="13478"/>
                </a:moveTo>
                <a:cubicBezTo>
                  <a:pt x="17598" y="13478"/>
                  <a:pt x="17622" y="13427"/>
                  <a:pt x="17622" y="13365"/>
                </a:cubicBezTo>
                <a:cubicBezTo>
                  <a:pt x="17622" y="13302"/>
                  <a:pt x="17598" y="13252"/>
                  <a:pt x="17568" y="13252"/>
                </a:cubicBezTo>
                <a:cubicBezTo>
                  <a:pt x="17539" y="13252"/>
                  <a:pt x="17515" y="13302"/>
                  <a:pt x="17515" y="13365"/>
                </a:cubicBezTo>
                <a:cubicBezTo>
                  <a:pt x="17515" y="13427"/>
                  <a:pt x="17539" y="13478"/>
                  <a:pt x="17568" y="13478"/>
                </a:cubicBezTo>
                <a:close/>
                <a:moveTo>
                  <a:pt x="17713" y="13176"/>
                </a:moveTo>
                <a:cubicBezTo>
                  <a:pt x="17743" y="13176"/>
                  <a:pt x="17767" y="13125"/>
                  <a:pt x="17767" y="13063"/>
                </a:cubicBezTo>
                <a:cubicBezTo>
                  <a:pt x="17767" y="13000"/>
                  <a:pt x="17743" y="12950"/>
                  <a:pt x="17713" y="12950"/>
                </a:cubicBezTo>
                <a:cubicBezTo>
                  <a:pt x="17683" y="12950"/>
                  <a:pt x="17659" y="13000"/>
                  <a:pt x="17659" y="13063"/>
                </a:cubicBezTo>
                <a:cubicBezTo>
                  <a:pt x="17659" y="13125"/>
                  <a:pt x="17683" y="13176"/>
                  <a:pt x="17713" y="13176"/>
                </a:cubicBezTo>
                <a:close/>
                <a:moveTo>
                  <a:pt x="17568" y="12950"/>
                </a:moveTo>
                <a:cubicBezTo>
                  <a:pt x="17539" y="12950"/>
                  <a:pt x="17515" y="13000"/>
                  <a:pt x="17515" y="13063"/>
                </a:cubicBezTo>
                <a:cubicBezTo>
                  <a:pt x="17515" y="13125"/>
                  <a:pt x="17539" y="13176"/>
                  <a:pt x="17568" y="13176"/>
                </a:cubicBezTo>
                <a:cubicBezTo>
                  <a:pt x="17598" y="13176"/>
                  <a:pt x="17622" y="13125"/>
                  <a:pt x="17622" y="13063"/>
                </a:cubicBezTo>
                <a:cubicBezTo>
                  <a:pt x="17622" y="13000"/>
                  <a:pt x="17598" y="12950"/>
                  <a:pt x="17568" y="12950"/>
                </a:cubicBezTo>
                <a:close/>
                <a:moveTo>
                  <a:pt x="17568" y="12635"/>
                </a:moveTo>
                <a:cubicBezTo>
                  <a:pt x="17539" y="12635"/>
                  <a:pt x="17515" y="12686"/>
                  <a:pt x="17515" y="12749"/>
                </a:cubicBezTo>
                <a:cubicBezTo>
                  <a:pt x="17515" y="12811"/>
                  <a:pt x="17539" y="12862"/>
                  <a:pt x="17568" y="12862"/>
                </a:cubicBezTo>
                <a:cubicBezTo>
                  <a:pt x="17598" y="12862"/>
                  <a:pt x="17622" y="12811"/>
                  <a:pt x="17622" y="12749"/>
                </a:cubicBezTo>
                <a:cubicBezTo>
                  <a:pt x="17622" y="12686"/>
                  <a:pt x="17598" y="12635"/>
                  <a:pt x="17568" y="12635"/>
                </a:cubicBezTo>
                <a:close/>
                <a:moveTo>
                  <a:pt x="17413" y="12862"/>
                </a:moveTo>
                <a:cubicBezTo>
                  <a:pt x="17443" y="12862"/>
                  <a:pt x="17467" y="12811"/>
                  <a:pt x="17467" y="12749"/>
                </a:cubicBezTo>
                <a:cubicBezTo>
                  <a:pt x="17467" y="12686"/>
                  <a:pt x="17443" y="12635"/>
                  <a:pt x="17413" y="12635"/>
                </a:cubicBezTo>
                <a:cubicBezTo>
                  <a:pt x="17384" y="12635"/>
                  <a:pt x="17360" y="12686"/>
                  <a:pt x="17360" y="12749"/>
                </a:cubicBezTo>
                <a:cubicBezTo>
                  <a:pt x="17360" y="12811"/>
                  <a:pt x="17384" y="12862"/>
                  <a:pt x="17413" y="12862"/>
                </a:cubicBezTo>
                <a:close/>
                <a:moveTo>
                  <a:pt x="17259" y="12862"/>
                </a:moveTo>
                <a:cubicBezTo>
                  <a:pt x="17289" y="12862"/>
                  <a:pt x="17313" y="12811"/>
                  <a:pt x="17313" y="12749"/>
                </a:cubicBezTo>
                <a:cubicBezTo>
                  <a:pt x="17313" y="12686"/>
                  <a:pt x="17289" y="12635"/>
                  <a:pt x="17259" y="12635"/>
                </a:cubicBezTo>
                <a:cubicBezTo>
                  <a:pt x="17230" y="12635"/>
                  <a:pt x="17206" y="12686"/>
                  <a:pt x="17206" y="12749"/>
                </a:cubicBezTo>
                <a:cubicBezTo>
                  <a:pt x="17206" y="12811"/>
                  <a:pt x="17230" y="12862"/>
                  <a:pt x="17259" y="12862"/>
                </a:cubicBezTo>
                <a:close/>
                <a:moveTo>
                  <a:pt x="17107" y="12862"/>
                </a:moveTo>
                <a:cubicBezTo>
                  <a:pt x="17136" y="12862"/>
                  <a:pt x="17160" y="12811"/>
                  <a:pt x="17160" y="12749"/>
                </a:cubicBezTo>
                <a:cubicBezTo>
                  <a:pt x="17160" y="12686"/>
                  <a:pt x="17136" y="12635"/>
                  <a:pt x="17107" y="12635"/>
                </a:cubicBezTo>
                <a:cubicBezTo>
                  <a:pt x="17077" y="12635"/>
                  <a:pt x="17053" y="12686"/>
                  <a:pt x="17053" y="12749"/>
                </a:cubicBezTo>
                <a:cubicBezTo>
                  <a:pt x="17053" y="12811"/>
                  <a:pt x="17077" y="12862"/>
                  <a:pt x="17107" y="12862"/>
                </a:cubicBezTo>
                <a:close/>
                <a:moveTo>
                  <a:pt x="17413" y="11669"/>
                </a:moveTo>
                <a:cubicBezTo>
                  <a:pt x="17384" y="11669"/>
                  <a:pt x="17360" y="11719"/>
                  <a:pt x="17360" y="11782"/>
                </a:cubicBezTo>
                <a:cubicBezTo>
                  <a:pt x="17360" y="11844"/>
                  <a:pt x="17384" y="11895"/>
                  <a:pt x="17413" y="11895"/>
                </a:cubicBezTo>
                <a:cubicBezTo>
                  <a:pt x="17443" y="11895"/>
                  <a:pt x="17467" y="11844"/>
                  <a:pt x="17467" y="11782"/>
                </a:cubicBezTo>
                <a:cubicBezTo>
                  <a:pt x="17467" y="11719"/>
                  <a:pt x="17443" y="11669"/>
                  <a:pt x="17413" y="11669"/>
                </a:cubicBezTo>
                <a:close/>
                <a:moveTo>
                  <a:pt x="17413" y="11983"/>
                </a:moveTo>
                <a:cubicBezTo>
                  <a:pt x="17384" y="11983"/>
                  <a:pt x="17360" y="12034"/>
                  <a:pt x="17360" y="12096"/>
                </a:cubicBezTo>
                <a:cubicBezTo>
                  <a:pt x="17360" y="12159"/>
                  <a:pt x="17384" y="12209"/>
                  <a:pt x="17413" y="12209"/>
                </a:cubicBezTo>
                <a:cubicBezTo>
                  <a:pt x="17443" y="12209"/>
                  <a:pt x="17467" y="12159"/>
                  <a:pt x="17467" y="12096"/>
                </a:cubicBezTo>
                <a:cubicBezTo>
                  <a:pt x="17467" y="12034"/>
                  <a:pt x="17443" y="11983"/>
                  <a:pt x="17413" y="11983"/>
                </a:cubicBezTo>
                <a:close/>
                <a:moveTo>
                  <a:pt x="17259" y="12209"/>
                </a:moveTo>
                <a:cubicBezTo>
                  <a:pt x="17289" y="12209"/>
                  <a:pt x="17313" y="12159"/>
                  <a:pt x="17313" y="12096"/>
                </a:cubicBezTo>
                <a:cubicBezTo>
                  <a:pt x="17313" y="12034"/>
                  <a:pt x="17289" y="11983"/>
                  <a:pt x="17259" y="11983"/>
                </a:cubicBezTo>
                <a:cubicBezTo>
                  <a:pt x="17230" y="11983"/>
                  <a:pt x="17206" y="12034"/>
                  <a:pt x="17206" y="12096"/>
                </a:cubicBezTo>
                <a:cubicBezTo>
                  <a:pt x="17206" y="12159"/>
                  <a:pt x="17230" y="12209"/>
                  <a:pt x="17259" y="12209"/>
                </a:cubicBezTo>
                <a:close/>
                <a:moveTo>
                  <a:pt x="17107" y="12209"/>
                </a:moveTo>
                <a:cubicBezTo>
                  <a:pt x="17136" y="12209"/>
                  <a:pt x="17160" y="12159"/>
                  <a:pt x="17160" y="12096"/>
                </a:cubicBezTo>
                <a:cubicBezTo>
                  <a:pt x="17160" y="12034"/>
                  <a:pt x="17136" y="11983"/>
                  <a:pt x="17107" y="11983"/>
                </a:cubicBezTo>
                <a:cubicBezTo>
                  <a:pt x="17077" y="11983"/>
                  <a:pt x="17053" y="12034"/>
                  <a:pt x="17053" y="12096"/>
                </a:cubicBezTo>
                <a:cubicBezTo>
                  <a:pt x="17053" y="12159"/>
                  <a:pt x="17077" y="12209"/>
                  <a:pt x="17107" y="12209"/>
                </a:cubicBezTo>
                <a:close/>
                <a:moveTo>
                  <a:pt x="16350" y="9397"/>
                </a:moveTo>
                <a:cubicBezTo>
                  <a:pt x="16320" y="9397"/>
                  <a:pt x="16296" y="9447"/>
                  <a:pt x="16296" y="9510"/>
                </a:cubicBezTo>
                <a:cubicBezTo>
                  <a:pt x="16296" y="9572"/>
                  <a:pt x="16320" y="9623"/>
                  <a:pt x="16350" y="9623"/>
                </a:cubicBezTo>
                <a:cubicBezTo>
                  <a:pt x="16379" y="9623"/>
                  <a:pt x="16403" y="9572"/>
                  <a:pt x="16403" y="9510"/>
                </a:cubicBezTo>
                <a:cubicBezTo>
                  <a:pt x="16403" y="9447"/>
                  <a:pt x="16379" y="9397"/>
                  <a:pt x="16350" y="9397"/>
                </a:cubicBezTo>
                <a:close/>
                <a:moveTo>
                  <a:pt x="16350" y="9723"/>
                </a:moveTo>
                <a:cubicBezTo>
                  <a:pt x="16320" y="9723"/>
                  <a:pt x="16296" y="9774"/>
                  <a:pt x="16296" y="9836"/>
                </a:cubicBezTo>
                <a:cubicBezTo>
                  <a:pt x="16296" y="9899"/>
                  <a:pt x="16320" y="9949"/>
                  <a:pt x="16350" y="9949"/>
                </a:cubicBezTo>
                <a:cubicBezTo>
                  <a:pt x="16379" y="9949"/>
                  <a:pt x="16403" y="9899"/>
                  <a:pt x="16403" y="9836"/>
                </a:cubicBezTo>
                <a:cubicBezTo>
                  <a:pt x="16403" y="9774"/>
                  <a:pt x="16379" y="9723"/>
                  <a:pt x="16350" y="9723"/>
                </a:cubicBezTo>
                <a:close/>
                <a:moveTo>
                  <a:pt x="16501" y="9723"/>
                </a:moveTo>
                <a:cubicBezTo>
                  <a:pt x="16471" y="9723"/>
                  <a:pt x="16447" y="9774"/>
                  <a:pt x="16447" y="9836"/>
                </a:cubicBezTo>
                <a:cubicBezTo>
                  <a:pt x="16447" y="9899"/>
                  <a:pt x="16471" y="9949"/>
                  <a:pt x="16501" y="9949"/>
                </a:cubicBezTo>
                <a:cubicBezTo>
                  <a:pt x="16531" y="9949"/>
                  <a:pt x="16555" y="9899"/>
                  <a:pt x="16555" y="9836"/>
                </a:cubicBezTo>
                <a:cubicBezTo>
                  <a:pt x="16555" y="9774"/>
                  <a:pt x="16531" y="9723"/>
                  <a:pt x="16501" y="9723"/>
                </a:cubicBezTo>
                <a:close/>
                <a:moveTo>
                  <a:pt x="16186" y="9623"/>
                </a:moveTo>
                <a:cubicBezTo>
                  <a:pt x="16216" y="9623"/>
                  <a:pt x="16240" y="9572"/>
                  <a:pt x="16240" y="9510"/>
                </a:cubicBezTo>
                <a:cubicBezTo>
                  <a:pt x="16240" y="9447"/>
                  <a:pt x="16216" y="9397"/>
                  <a:pt x="16186" y="9397"/>
                </a:cubicBezTo>
                <a:cubicBezTo>
                  <a:pt x="16157" y="9397"/>
                  <a:pt x="16133" y="9447"/>
                  <a:pt x="16133" y="9510"/>
                </a:cubicBezTo>
                <a:cubicBezTo>
                  <a:pt x="16133" y="9572"/>
                  <a:pt x="16157" y="9623"/>
                  <a:pt x="16186" y="9623"/>
                </a:cubicBezTo>
                <a:close/>
                <a:moveTo>
                  <a:pt x="16032" y="9623"/>
                </a:moveTo>
                <a:cubicBezTo>
                  <a:pt x="16062" y="9623"/>
                  <a:pt x="16086" y="9572"/>
                  <a:pt x="16086" y="9510"/>
                </a:cubicBezTo>
                <a:cubicBezTo>
                  <a:pt x="16086" y="9447"/>
                  <a:pt x="16062" y="9397"/>
                  <a:pt x="16032" y="9397"/>
                </a:cubicBezTo>
                <a:cubicBezTo>
                  <a:pt x="16003" y="9397"/>
                  <a:pt x="15979" y="9447"/>
                  <a:pt x="15979" y="9510"/>
                </a:cubicBezTo>
                <a:cubicBezTo>
                  <a:pt x="15979" y="9572"/>
                  <a:pt x="16003" y="9623"/>
                  <a:pt x="16032" y="9623"/>
                </a:cubicBezTo>
                <a:close/>
                <a:moveTo>
                  <a:pt x="15880" y="9397"/>
                </a:moveTo>
                <a:cubicBezTo>
                  <a:pt x="15850" y="9397"/>
                  <a:pt x="15826" y="9447"/>
                  <a:pt x="15826" y="9510"/>
                </a:cubicBezTo>
                <a:cubicBezTo>
                  <a:pt x="15826" y="9572"/>
                  <a:pt x="15850" y="9623"/>
                  <a:pt x="15880" y="9623"/>
                </a:cubicBezTo>
                <a:cubicBezTo>
                  <a:pt x="15909" y="9623"/>
                  <a:pt x="15934" y="9572"/>
                  <a:pt x="15934" y="9510"/>
                </a:cubicBezTo>
                <a:cubicBezTo>
                  <a:pt x="15934" y="9447"/>
                  <a:pt x="15909" y="9397"/>
                  <a:pt x="15880" y="9397"/>
                </a:cubicBezTo>
                <a:close/>
                <a:moveTo>
                  <a:pt x="16186" y="9949"/>
                </a:moveTo>
                <a:cubicBezTo>
                  <a:pt x="16216" y="9949"/>
                  <a:pt x="16240" y="9899"/>
                  <a:pt x="16240" y="9836"/>
                </a:cubicBezTo>
                <a:cubicBezTo>
                  <a:pt x="16240" y="9774"/>
                  <a:pt x="16216" y="9723"/>
                  <a:pt x="16186" y="9723"/>
                </a:cubicBezTo>
                <a:cubicBezTo>
                  <a:pt x="16157" y="9723"/>
                  <a:pt x="16133" y="9774"/>
                  <a:pt x="16133" y="9836"/>
                </a:cubicBezTo>
                <a:cubicBezTo>
                  <a:pt x="16133" y="9899"/>
                  <a:pt x="16157" y="9949"/>
                  <a:pt x="16186" y="9949"/>
                </a:cubicBezTo>
                <a:close/>
                <a:moveTo>
                  <a:pt x="16032" y="9949"/>
                </a:moveTo>
                <a:cubicBezTo>
                  <a:pt x="16062" y="9949"/>
                  <a:pt x="16086" y="9899"/>
                  <a:pt x="16086" y="9836"/>
                </a:cubicBezTo>
                <a:cubicBezTo>
                  <a:pt x="16086" y="9774"/>
                  <a:pt x="16062" y="9723"/>
                  <a:pt x="16032" y="9723"/>
                </a:cubicBezTo>
                <a:cubicBezTo>
                  <a:pt x="16003" y="9723"/>
                  <a:pt x="15979" y="9774"/>
                  <a:pt x="15979" y="9836"/>
                </a:cubicBezTo>
                <a:cubicBezTo>
                  <a:pt x="15979" y="9899"/>
                  <a:pt x="16003" y="9949"/>
                  <a:pt x="16032" y="9949"/>
                </a:cubicBezTo>
                <a:close/>
                <a:moveTo>
                  <a:pt x="15880" y="9723"/>
                </a:moveTo>
                <a:cubicBezTo>
                  <a:pt x="15850" y="9723"/>
                  <a:pt x="15826" y="9774"/>
                  <a:pt x="15826" y="9836"/>
                </a:cubicBezTo>
                <a:cubicBezTo>
                  <a:pt x="15826" y="9899"/>
                  <a:pt x="15850" y="9949"/>
                  <a:pt x="15880" y="9949"/>
                </a:cubicBezTo>
                <a:cubicBezTo>
                  <a:pt x="15909" y="9949"/>
                  <a:pt x="15934" y="9899"/>
                  <a:pt x="15934" y="9836"/>
                </a:cubicBezTo>
                <a:cubicBezTo>
                  <a:pt x="15934" y="9774"/>
                  <a:pt x="15909" y="9723"/>
                  <a:pt x="15880" y="9723"/>
                </a:cubicBezTo>
                <a:close/>
                <a:moveTo>
                  <a:pt x="20327" y="19387"/>
                </a:moveTo>
                <a:cubicBezTo>
                  <a:pt x="20297" y="19387"/>
                  <a:pt x="20273" y="19438"/>
                  <a:pt x="20273" y="19500"/>
                </a:cubicBezTo>
                <a:cubicBezTo>
                  <a:pt x="20273" y="19563"/>
                  <a:pt x="20297" y="19613"/>
                  <a:pt x="20327" y="19613"/>
                </a:cubicBezTo>
                <a:cubicBezTo>
                  <a:pt x="20356" y="19613"/>
                  <a:pt x="20380" y="19563"/>
                  <a:pt x="20380" y="19500"/>
                </a:cubicBezTo>
                <a:cubicBezTo>
                  <a:pt x="20380" y="19438"/>
                  <a:pt x="20356" y="19387"/>
                  <a:pt x="20327" y="19387"/>
                </a:cubicBezTo>
                <a:close/>
                <a:moveTo>
                  <a:pt x="20641" y="19076"/>
                </a:moveTo>
                <a:cubicBezTo>
                  <a:pt x="20612" y="19076"/>
                  <a:pt x="20588" y="19127"/>
                  <a:pt x="20588" y="19189"/>
                </a:cubicBezTo>
                <a:cubicBezTo>
                  <a:pt x="20588" y="19252"/>
                  <a:pt x="20612" y="19303"/>
                  <a:pt x="20641" y="19303"/>
                </a:cubicBezTo>
                <a:cubicBezTo>
                  <a:pt x="20671" y="19303"/>
                  <a:pt x="20695" y="19252"/>
                  <a:pt x="20695" y="19189"/>
                </a:cubicBezTo>
                <a:cubicBezTo>
                  <a:pt x="20695" y="19127"/>
                  <a:pt x="20671" y="19076"/>
                  <a:pt x="20641" y="19076"/>
                </a:cubicBezTo>
                <a:close/>
                <a:moveTo>
                  <a:pt x="20495" y="15846"/>
                </a:moveTo>
                <a:cubicBezTo>
                  <a:pt x="20466" y="15846"/>
                  <a:pt x="20442" y="15897"/>
                  <a:pt x="20442" y="15960"/>
                </a:cubicBezTo>
                <a:cubicBezTo>
                  <a:pt x="20442" y="16022"/>
                  <a:pt x="20466" y="16073"/>
                  <a:pt x="20495" y="16073"/>
                </a:cubicBezTo>
                <a:cubicBezTo>
                  <a:pt x="20525" y="16073"/>
                  <a:pt x="20549" y="16022"/>
                  <a:pt x="20549" y="15960"/>
                </a:cubicBezTo>
                <a:cubicBezTo>
                  <a:pt x="20549" y="15897"/>
                  <a:pt x="20525" y="15846"/>
                  <a:pt x="20495" y="15846"/>
                </a:cubicBezTo>
                <a:close/>
                <a:moveTo>
                  <a:pt x="21546" y="15520"/>
                </a:moveTo>
                <a:cubicBezTo>
                  <a:pt x="21517" y="15520"/>
                  <a:pt x="21492" y="15571"/>
                  <a:pt x="21492" y="15633"/>
                </a:cubicBezTo>
                <a:cubicBezTo>
                  <a:pt x="21492" y="15696"/>
                  <a:pt x="21517" y="15746"/>
                  <a:pt x="21546" y="15746"/>
                </a:cubicBezTo>
                <a:cubicBezTo>
                  <a:pt x="21576" y="15746"/>
                  <a:pt x="21600" y="15696"/>
                  <a:pt x="21600" y="15633"/>
                </a:cubicBezTo>
                <a:cubicBezTo>
                  <a:pt x="21600" y="15571"/>
                  <a:pt x="21576" y="15520"/>
                  <a:pt x="21546" y="15520"/>
                </a:cubicBezTo>
                <a:close/>
                <a:moveTo>
                  <a:pt x="20676" y="16310"/>
                </a:moveTo>
                <a:cubicBezTo>
                  <a:pt x="20676" y="16247"/>
                  <a:pt x="20651" y="16197"/>
                  <a:pt x="20622" y="16197"/>
                </a:cubicBezTo>
                <a:cubicBezTo>
                  <a:pt x="20592" y="16197"/>
                  <a:pt x="20568" y="16247"/>
                  <a:pt x="20568" y="16310"/>
                </a:cubicBezTo>
                <a:cubicBezTo>
                  <a:pt x="20568" y="16372"/>
                  <a:pt x="20592" y="16423"/>
                  <a:pt x="20622" y="16423"/>
                </a:cubicBezTo>
                <a:cubicBezTo>
                  <a:pt x="20651" y="16423"/>
                  <a:pt x="20676" y="16372"/>
                  <a:pt x="20676" y="16310"/>
                </a:cubicBezTo>
                <a:close/>
                <a:moveTo>
                  <a:pt x="20794" y="18734"/>
                </a:moveTo>
                <a:cubicBezTo>
                  <a:pt x="20764" y="18734"/>
                  <a:pt x="20740" y="18785"/>
                  <a:pt x="20740" y="18848"/>
                </a:cubicBezTo>
                <a:cubicBezTo>
                  <a:pt x="20740" y="18910"/>
                  <a:pt x="20764" y="18961"/>
                  <a:pt x="20794" y="18961"/>
                </a:cubicBezTo>
                <a:cubicBezTo>
                  <a:pt x="20824" y="18961"/>
                  <a:pt x="20848" y="18910"/>
                  <a:pt x="20848" y="18848"/>
                </a:cubicBezTo>
                <a:cubicBezTo>
                  <a:pt x="20848" y="18785"/>
                  <a:pt x="20824" y="18734"/>
                  <a:pt x="20794" y="18734"/>
                </a:cubicBezTo>
                <a:close/>
                <a:moveTo>
                  <a:pt x="19731" y="20055"/>
                </a:moveTo>
                <a:cubicBezTo>
                  <a:pt x="19701" y="20055"/>
                  <a:pt x="19677" y="20106"/>
                  <a:pt x="19677" y="20168"/>
                </a:cubicBezTo>
                <a:cubicBezTo>
                  <a:pt x="19677" y="20231"/>
                  <a:pt x="19701" y="20281"/>
                  <a:pt x="19731" y="20281"/>
                </a:cubicBezTo>
                <a:cubicBezTo>
                  <a:pt x="19760" y="20281"/>
                  <a:pt x="19784" y="20231"/>
                  <a:pt x="19784" y="20168"/>
                </a:cubicBezTo>
                <a:cubicBezTo>
                  <a:pt x="19784" y="20106"/>
                  <a:pt x="19760" y="20055"/>
                  <a:pt x="19731" y="20055"/>
                </a:cubicBezTo>
                <a:close/>
                <a:moveTo>
                  <a:pt x="19863" y="20055"/>
                </a:moveTo>
                <a:cubicBezTo>
                  <a:pt x="19833" y="20055"/>
                  <a:pt x="19809" y="20106"/>
                  <a:pt x="19809" y="20168"/>
                </a:cubicBezTo>
                <a:cubicBezTo>
                  <a:pt x="19809" y="20231"/>
                  <a:pt x="19833" y="20281"/>
                  <a:pt x="19863" y="20281"/>
                </a:cubicBezTo>
                <a:cubicBezTo>
                  <a:pt x="19892" y="20281"/>
                  <a:pt x="19916" y="20231"/>
                  <a:pt x="19916" y="20168"/>
                </a:cubicBezTo>
                <a:cubicBezTo>
                  <a:pt x="19916" y="20106"/>
                  <a:pt x="19892" y="20055"/>
                  <a:pt x="19863" y="20055"/>
                </a:cubicBezTo>
                <a:close/>
                <a:moveTo>
                  <a:pt x="20171" y="19713"/>
                </a:moveTo>
                <a:cubicBezTo>
                  <a:pt x="20141" y="19713"/>
                  <a:pt x="20117" y="19764"/>
                  <a:pt x="20117" y="19826"/>
                </a:cubicBezTo>
                <a:cubicBezTo>
                  <a:pt x="20117" y="19889"/>
                  <a:pt x="20141" y="19940"/>
                  <a:pt x="20171" y="19940"/>
                </a:cubicBezTo>
                <a:cubicBezTo>
                  <a:pt x="20200" y="19940"/>
                  <a:pt x="20224" y="19889"/>
                  <a:pt x="20224" y="19826"/>
                </a:cubicBezTo>
                <a:cubicBezTo>
                  <a:pt x="20224" y="19764"/>
                  <a:pt x="20200" y="19713"/>
                  <a:pt x="20171" y="19713"/>
                </a:cubicBezTo>
                <a:close/>
                <a:moveTo>
                  <a:pt x="20018" y="19713"/>
                </a:moveTo>
                <a:cubicBezTo>
                  <a:pt x="19988" y="19713"/>
                  <a:pt x="19964" y="19764"/>
                  <a:pt x="19964" y="19826"/>
                </a:cubicBezTo>
                <a:cubicBezTo>
                  <a:pt x="19964" y="19889"/>
                  <a:pt x="19988" y="19940"/>
                  <a:pt x="20018" y="19940"/>
                </a:cubicBezTo>
                <a:cubicBezTo>
                  <a:pt x="20048" y="19940"/>
                  <a:pt x="20072" y="19889"/>
                  <a:pt x="20072" y="19826"/>
                </a:cubicBezTo>
                <a:cubicBezTo>
                  <a:pt x="20072" y="19764"/>
                  <a:pt x="20048" y="19713"/>
                  <a:pt x="20018" y="19713"/>
                </a:cubicBezTo>
                <a:close/>
                <a:moveTo>
                  <a:pt x="18960" y="18774"/>
                </a:moveTo>
                <a:cubicBezTo>
                  <a:pt x="18930" y="18774"/>
                  <a:pt x="18906" y="18825"/>
                  <a:pt x="18906" y="18887"/>
                </a:cubicBezTo>
                <a:cubicBezTo>
                  <a:pt x="18906" y="18950"/>
                  <a:pt x="18930" y="19000"/>
                  <a:pt x="18960" y="19000"/>
                </a:cubicBezTo>
                <a:cubicBezTo>
                  <a:pt x="18990" y="19000"/>
                  <a:pt x="19014" y="18950"/>
                  <a:pt x="19014" y="18887"/>
                </a:cubicBezTo>
                <a:cubicBezTo>
                  <a:pt x="19014" y="18825"/>
                  <a:pt x="18990" y="18774"/>
                  <a:pt x="18960" y="18774"/>
                </a:cubicBezTo>
                <a:close/>
                <a:moveTo>
                  <a:pt x="19123" y="18122"/>
                </a:moveTo>
                <a:cubicBezTo>
                  <a:pt x="19093" y="18122"/>
                  <a:pt x="19069" y="18172"/>
                  <a:pt x="19069" y="18235"/>
                </a:cubicBezTo>
                <a:cubicBezTo>
                  <a:pt x="19069" y="18297"/>
                  <a:pt x="19093" y="18348"/>
                  <a:pt x="19123" y="18348"/>
                </a:cubicBezTo>
                <a:cubicBezTo>
                  <a:pt x="19153" y="18348"/>
                  <a:pt x="19177" y="18297"/>
                  <a:pt x="19177" y="18235"/>
                </a:cubicBezTo>
                <a:cubicBezTo>
                  <a:pt x="19177" y="18172"/>
                  <a:pt x="19153" y="18122"/>
                  <a:pt x="19123" y="18122"/>
                </a:cubicBezTo>
                <a:close/>
                <a:moveTo>
                  <a:pt x="19123" y="18448"/>
                </a:moveTo>
                <a:cubicBezTo>
                  <a:pt x="19093" y="18448"/>
                  <a:pt x="19069" y="18499"/>
                  <a:pt x="19069" y="18561"/>
                </a:cubicBezTo>
                <a:cubicBezTo>
                  <a:pt x="19069" y="18624"/>
                  <a:pt x="19093" y="18674"/>
                  <a:pt x="19123" y="18674"/>
                </a:cubicBezTo>
                <a:cubicBezTo>
                  <a:pt x="19153" y="18674"/>
                  <a:pt x="19177" y="18624"/>
                  <a:pt x="19177" y="18561"/>
                </a:cubicBezTo>
                <a:cubicBezTo>
                  <a:pt x="19177" y="18499"/>
                  <a:pt x="19153" y="18448"/>
                  <a:pt x="19123" y="18448"/>
                </a:cubicBezTo>
                <a:close/>
                <a:moveTo>
                  <a:pt x="19275" y="18122"/>
                </a:moveTo>
                <a:cubicBezTo>
                  <a:pt x="19245" y="18122"/>
                  <a:pt x="19221" y="18172"/>
                  <a:pt x="19221" y="18235"/>
                </a:cubicBezTo>
                <a:cubicBezTo>
                  <a:pt x="19221" y="18297"/>
                  <a:pt x="19245" y="18348"/>
                  <a:pt x="19275" y="18348"/>
                </a:cubicBezTo>
                <a:cubicBezTo>
                  <a:pt x="19304" y="18348"/>
                  <a:pt x="19329" y="18297"/>
                  <a:pt x="19329" y="18235"/>
                </a:cubicBezTo>
                <a:cubicBezTo>
                  <a:pt x="19329" y="18172"/>
                  <a:pt x="19304" y="18122"/>
                  <a:pt x="19275" y="18122"/>
                </a:cubicBezTo>
                <a:close/>
                <a:moveTo>
                  <a:pt x="18960" y="18122"/>
                </a:moveTo>
                <a:cubicBezTo>
                  <a:pt x="18930" y="18122"/>
                  <a:pt x="18906" y="18172"/>
                  <a:pt x="18906" y="18235"/>
                </a:cubicBezTo>
                <a:cubicBezTo>
                  <a:pt x="18906" y="18297"/>
                  <a:pt x="18930" y="18348"/>
                  <a:pt x="18960" y="18348"/>
                </a:cubicBezTo>
                <a:cubicBezTo>
                  <a:pt x="18990" y="18348"/>
                  <a:pt x="19014" y="18297"/>
                  <a:pt x="19014" y="18235"/>
                </a:cubicBezTo>
                <a:cubicBezTo>
                  <a:pt x="19014" y="18172"/>
                  <a:pt x="18990" y="18122"/>
                  <a:pt x="18960" y="18122"/>
                </a:cubicBezTo>
                <a:close/>
                <a:moveTo>
                  <a:pt x="18960" y="18448"/>
                </a:moveTo>
                <a:cubicBezTo>
                  <a:pt x="18930" y="18448"/>
                  <a:pt x="18906" y="18499"/>
                  <a:pt x="18906" y="18561"/>
                </a:cubicBezTo>
                <a:cubicBezTo>
                  <a:pt x="18906" y="18624"/>
                  <a:pt x="18930" y="18674"/>
                  <a:pt x="18960" y="18674"/>
                </a:cubicBezTo>
                <a:cubicBezTo>
                  <a:pt x="18990" y="18674"/>
                  <a:pt x="19014" y="18624"/>
                  <a:pt x="19014" y="18561"/>
                </a:cubicBezTo>
                <a:cubicBezTo>
                  <a:pt x="19014" y="18499"/>
                  <a:pt x="18990" y="18448"/>
                  <a:pt x="18960" y="18448"/>
                </a:cubicBezTo>
                <a:close/>
                <a:moveTo>
                  <a:pt x="19581" y="17454"/>
                </a:moveTo>
                <a:cubicBezTo>
                  <a:pt x="19552" y="17454"/>
                  <a:pt x="19528" y="17504"/>
                  <a:pt x="19528" y="17567"/>
                </a:cubicBezTo>
                <a:cubicBezTo>
                  <a:pt x="19528" y="17629"/>
                  <a:pt x="19552" y="17680"/>
                  <a:pt x="19581" y="17680"/>
                </a:cubicBezTo>
                <a:cubicBezTo>
                  <a:pt x="19611" y="17680"/>
                  <a:pt x="19635" y="17629"/>
                  <a:pt x="19635" y="17567"/>
                </a:cubicBezTo>
                <a:cubicBezTo>
                  <a:pt x="19635" y="17504"/>
                  <a:pt x="19611" y="17454"/>
                  <a:pt x="19581" y="17454"/>
                </a:cubicBezTo>
                <a:close/>
                <a:moveTo>
                  <a:pt x="19123" y="17454"/>
                </a:moveTo>
                <a:cubicBezTo>
                  <a:pt x="19093" y="17454"/>
                  <a:pt x="19069" y="17504"/>
                  <a:pt x="19069" y="17567"/>
                </a:cubicBezTo>
                <a:cubicBezTo>
                  <a:pt x="19069" y="17629"/>
                  <a:pt x="19093" y="17680"/>
                  <a:pt x="19123" y="17680"/>
                </a:cubicBezTo>
                <a:cubicBezTo>
                  <a:pt x="19153" y="17680"/>
                  <a:pt x="19177" y="17629"/>
                  <a:pt x="19177" y="17567"/>
                </a:cubicBezTo>
                <a:cubicBezTo>
                  <a:pt x="19177" y="17504"/>
                  <a:pt x="19153" y="17454"/>
                  <a:pt x="19123" y="17454"/>
                </a:cubicBezTo>
                <a:close/>
                <a:moveTo>
                  <a:pt x="19123" y="17780"/>
                </a:moveTo>
                <a:cubicBezTo>
                  <a:pt x="19093" y="17780"/>
                  <a:pt x="19069" y="17831"/>
                  <a:pt x="19069" y="17893"/>
                </a:cubicBezTo>
                <a:cubicBezTo>
                  <a:pt x="19069" y="17955"/>
                  <a:pt x="19093" y="18006"/>
                  <a:pt x="19123" y="18006"/>
                </a:cubicBezTo>
                <a:cubicBezTo>
                  <a:pt x="19153" y="18006"/>
                  <a:pt x="19177" y="17955"/>
                  <a:pt x="19177" y="17893"/>
                </a:cubicBezTo>
                <a:cubicBezTo>
                  <a:pt x="19177" y="17831"/>
                  <a:pt x="19153" y="17780"/>
                  <a:pt x="19123" y="17780"/>
                </a:cubicBezTo>
                <a:close/>
                <a:moveTo>
                  <a:pt x="19427" y="17454"/>
                </a:moveTo>
                <a:cubicBezTo>
                  <a:pt x="19398" y="17454"/>
                  <a:pt x="19374" y="17504"/>
                  <a:pt x="19374" y="17567"/>
                </a:cubicBezTo>
                <a:cubicBezTo>
                  <a:pt x="19374" y="17629"/>
                  <a:pt x="19398" y="17680"/>
                  <a:pt x="19427" y="17680"/>
                </a:cubicBezTo>
                <a:cubicBezTo>
                  <a:pt x="19457" y="17680"/>
                  <a:pt x="19481" y="17629"/>
                  <a:pt x="19481" y="17567"/>
                </a:cubicBezTo>
                <a:cubicBezTo>
                  <a:pt x="19481" y="17504"/>
                  <a:pt x="19457" y="17454"/>
                  <a:pt x="19427" y="17454"/>
                </a:cubicBezTo>
                <a:close/>
                <a:moveTo>
                  <a:pt x="19275" y="17454"/>
                </a:moveTo>
                <a:cubicBezTo>
                  <a:pt x="19245" y="17454"/>
                  <a:pt x="19221" y="17504"/>
                  <a:pt x="19221" y="17567"/>
                </a:cubicBezTo>
                <a:cubicBezTo>
                  <a:pt x="19221" y="17629"/>
                  <a:pt x="19245" y="17680"/>
                  <a:pt x="19275" y="17680"/>
                </a:cubicBezTo>
                <a:cubicBezTo>
                  <a:pt x="19304" y="17680"/>
                  <a:pt x="19329" y="17629"/>
                  <a:pt x="19329" y="17567"/>
                </a:cubicBezTo>
                <a:cubicBezTo>
                  <a:pt x="19329" y="17504"/>
                  <a:pt x="19304" y="17454"/>
                  <a:pt x="19275" y="17454"/>
                </a:cubicBezTo>
                <a:close/>
                <a:moveTo>
                  <a:pt x="19427" y="17780"/>
                </a:moveTo>
                <a:cubicBezTo>
                  <a:pt x="19398" y="17780"/>
                  <a:pt x="19374" y="17831"/>
                  <a:pt x="19374" y="17893"/>
                </a:cubicBezTo>
                <a:cubicBezTo>
                  <a:pt x="19374" y="17955"/>
                  <a:pt x="19398" y="18006"/>
                  <a:pt x="19427" y="18006"/>
                </a:cubicBezTo>
                <a:cubicBezTo>
                  <a:pt x="19457" y="18006"/>
                  <a:pt x="19481" y="17955"/>
                  <a:pt x="19481" y="17893"/>
                </a:cubicBezTo>
                <a:cubicBezTo>
                  <a:pt x="19481" y="17831"/>
                  <a:pt x="19457" y="17780"/>
                  <a:pt x="19427" y="17780"/>
                </a:cubicBezTo>
                <a:close/>
                <a:moveTo>
                  <a:pt x="19275" y="17780"/>
                </a:moveTo>
                <a:cubicBezTo>
                  <a:pt x="19245" y="17780"/>
                  <a:pt x="19221" y="17831"/>
                  <a:pt x="19221" y="17893"/>
                </a:cubicBezTo>
                <a:cubicBezTo>
                  <a:pt x="19221" y="17955"/>
                  <a:pt x="19245" y="18006"/>
                  <a:pt x="19275" y="18006"/>
                </a:cubicBezTo>
                <a:cubicBezTo>
                  <a:pt x="19304" y="18006"/>
                  <a:pt x="19329" y="17955"/>
                  <a:pt x="19329" y="17893"/>
                </a:cubicBezTo>
                <a:cubicBezTo>
                  <a:pt x="19329" y="17831"/>
                  <a:pt x="19304" y="17780"/>
                  <a:pt x="19275" y="17780"/>
                </a:cubicBezTo>
                <a:close/>
                <a:moveTo>
                  <a:pt x="18960" y="17454"/>
                </a:moveTo>
                <a:cubicBezTo>
                  <a:pt x="18930" y="17454"/>
                  <a:pt x="18906" y="17504"/>
                  <a:pt x="18906" y="17567"/>
                </a:cubicBezTo>
                <a:cubicBezTo>
                  <a:pt x="18906" y="17629"/>
                  <a:pt x="18930" y="17680"/>
                  <a:pt x="18960" y="17680"/>
                </a:cubicBezTo>
                <a:cubicBezTo>
                  <a:pt x="18990" y="17680"/>
                  <a:pt x="19014" y="17629"/>
                  <a:pt x="19014" y="17567"/>
                </a:cubicBezTo>
                <a:cubicBezTo>
                  <a:pt x="19014" y="17504"/>
                  <a:pt x="18990" y="17454"/>
                  <a:pt x="18960" y="17454"/>
                </a:cubicBezTo>
                <a:close/>
                <a:moveTo>
                  <a:pt x="18960" y="17780"/>
                </a:moveTo>
                <a:cubicBezTo>
                  <a:pt x="18930" y="17780"/>
                  <a:pt x="18906" y="17831"/>
                  <a:pt x="18906" y="17893"/>
                </a:cubicBezTo>
                <a:cubicBezTo>
                  <a:pt x="18906" y="17955"/>
                  <a:pt x="18930" y="18006"/>
                  <a:pt x="18960" y="18006"/>
                </a:cubicBezTo>
                <a:cubicBezTo>
                  <a:pt x="18990" y="18006"/>
                  <a:pt x="19014" y="17955"/>
                  <a:pt x="19014" y="17893"/>
                </a:cubicBezTo>
                <a:cubicBezTo>
                  <a:pt x="19014" y="17831"/>
                  <a:pt x="18990" y="17780"/>
                  <a:pt x="18960" y="17780"/>
                </a:cubicBezTo>
                <a:close/>
                <a:moveTo>
                  <a:pt x="19123" y="17143"/>
                </a:moveTo>
                <a:cubicBezTo>
                  <a:pt x="19093" y="17143"/>
                  <a:pt x="19069" y="17193"/>
                  <a:pt x="19069" y="17256"/>
                </a:cubicBezTo>
                <a:cubicBezTo>
                  <a:pt x="19069" y="17318"/>
                  <a:pt x="19093" y="17369"/>
                  <a:pt x="19123" y="17369"/>
                </a:cubicBezTo>
                <a:cubicBezTo>
                  <a:pt x="19153" y="17369"/>
                  <a:pt x="19177" y="17318"/>
                  <a:pt x="19177" y="17256"/>
                </a:cubicBezTo>
                <a:cubicBezTo>
                  <a:pt x="19177" y="17193"/>
                  <a:pt x="19153" y="17143"/>
                  <a:pt x="19123" y="17143"/>
                </a:cubicBezTo>
                <a:close/>
                <a:moveTo>
                  <a:pt x="19581" y="17143"/>
                </a:moveTo>
                <a:cubicBezTo>
                  <a:pt x="19552" y="17143"/>
                  <a:pt x="19528" y="17193"/>
                  <a:pt x="19528" y="17256"/>
                </a:cubicBezTo>
                <a:cubicBezTo>
                  <a:pt x="19528" y="17318"/>
                  <a:pt x="19552" y="17369"/>
                  <a:pt x="19581" y="17369"/>
                </a:cubicBezTo>
                <a:cubicBezTo>
                  <a:pt x="19611" y="17369"/>
                  <a:pt x="19635" y="17318"/>
                  <a:pt x="19635" y="17256"/>
                </a:cubicBezTo>
                <a:cubicBezTo>
                  <a:pt x="19635" y="17193"/>
                  <a:pt x="19611" y="17143"/>
                  <a:pt x="19581" y="17143"/>
                </a:cubicBezTo>
                <a:close/>
                <a:moveTo>
                  <a:pt x="19427" y="17143"/>
                </a:moveTo>
                <a:cubicBezTo>
                  <a:pt x="19398" y="17143"/>
                  <a:pt x="19374" y="17193"/>
                  <a:pt x="19374" y="17256"/>
                </a:cubicBezTo>
                <a:cubicBezTo>
                  <a:pt x="19374" y="17318"/>
                  <a:pt x="19398" y="17369"/>
                  <a:pt x="19427" y="17369"/>
                </a:cubicBezTo>
                <a:cubicBezTo>
                  <a:pt x="19457" y="17369"/>
                  <a:pt x="19481" y="17318"/>
                  <a:pt x="19481" y="17256"/>
                </a:cubicBezTo>
                <a:cubicBezTo>
                  <a:pt x="19481" y="17193"/>
                  <a:pt x="19457" y="17143"/>
                  <a:pt x="19427" y="17143"/>
                </a:cubicBezTo>
                <a:close/>
                <a:moveTo>
                  <a:pt x="19275" y="17143"/>
                </a:moveTo>
                <a:cubicBezTo>
                  <a:pt x="19245" y="17143"/>
                  <a:pt x="19221" y="17193"/>
                  <a:pt x="19221" y="17256"/>
                </a:cubicBezTo>
                <a:cubicBezTo>
                  <a:pt x="19221" y="17318"/>
                  <a:pt x="19245" y="17369"/>
                  <a:pt x="19275" y="17369"/>
                </a:cubicBezTo>
                <a:cubicBezTo>
                  <a:pt x="19304" y="17369"/>
                  <a:pt x="19329" y="17318"/>
                  <a:pt x="19329" y="17256"/>
                </a:cubicBezTo>
                <a:cubicBezTo>
                  <a:pt x="19329" y="17193"/>
                  <a:pt x="19304" y="17143"/>
                  <a:pt x="19275" y="17143"/>
                </a:cubicBezTo>
                <a:close/>
                <a:moveTo>
                  <a:pt x="18960" y="17143"/>
                </a:moveTo>
                <a:cubicBezTo>
                  <a:pt x="18930" y="17143"/>
                  <a:pt x="18906" y="17193"/>
                  <a:pt x="18906" y="17256"/>
                </a:cubicBezTo>
                <a:cubicBezTo>
                  <a:pt x="18906" y="17318"/>
                  <a:pt x="18930" y="17369"/>
                  <a:pt x="18960" y="17369"/>
                </a:cubicBezTo>
                <a:cubicBezTo>
                  <a:pt x="18990" y="17369"/>
                  <a:pt x="19014" y="17318"/>
                  <a:pt x="19014" y="17256"/>
                </a:cubicBezTo>
                <a:cubicBezTo>
                  <a:pt x="19014" y="17193"/>
                  <a:pt x="18990" y="17143"/>
                  <a:pt x="18960" y="17143"/>
                </a:cubicBezTo>
                <a:close/>
                <a:moveTo>
                  <a:pt x="19581" y="16475"/>
                </a:moveTo>
                <a:cubicBezTo>
                  <a:pt x="19552" y="16475"/>
                  <a:pt x="19528" y="16525"/>
                  <a:pt x="19528" y="16588"/>
                </a:cubicBezTo>
                <a:cubicBezTo>
                  <a:pt x="19528" y="16650"/>
                  <a:pt x="19552" y="16701"/>
                  <a:pt x="19581" y="16701"/>
                </a:cubicBezTo>
                <a:cubicBezTo>
                  <a:pt x="19611" y="16701"/>
                  <a:pt x="19635" y="16650"/>
                  <a:pt x="19635" y="16588"/>
                </a:cubicBezTo>
                <a:cubicBezTo>
                  <a:pt x="19635" y="16525"/>
                  <a:pt x="19611" y="16475"/>
                  <a:pt x="19581" y="16475"/>
                </a:cubicBezTo>
                <a:close/>
                <a:moveTo>
                  <a:pt x="19123" y="16475"/>
                </a:moveTo>
                <a:cubicBezTo>
                  <a:pt x="19093" y="16475"/>
                  <a:pt x="19069" y="16525"/>
                  <a:pt x="19069" y="16588"/>
                </a:cubicBezTo>
                <a:cubicBezTo>
                  <a:pt x="19069" y="16650"/>
                  <a:pt x="19093" y="16701"/>
                  <a:pt x="19123" y="16701"/>
                </a:cubicBezTo>
                <a:cubicBezTo>
                  <a:pt x="19153" y="16701"/>
                  <a:pt x="19177" y="16650"/>
                  <a:pt x="19177" y="16588"/>
                </a:cubicBezTo>
                <a:cubicBezTo>
                  <a:pt x="19177" y="16525"/>
                  <a:pt x="19153" y="16475"/>
                  <a:pt x="19123" y="16475"/>
                </a:cubicBezTo>
                <a:close/>
                <a:moveTo>
                  <a:pt x="18949" y="17027"/>
                </a:moveTo>
                <a:cubicBezTo>
                  <a:pt x="18978" y="17027"/>
                  <a:pt x="19002" y="16977"/>
                  <a:pt x="19002" y="16914"/>
                </a:cubicBezTo>
                <a:cubicBezTo>
                  <a:pt x="19002" y="16852"/>
                  <a:pt x="18978" y="16801"/>
                  <a:pt x="18949" y="16801"/>
                </a:cubicBezTo>
                <a:cubicBezTo>
                  <a:pt x="18919" y="16801"/>
                  <a:pt x="18895" y="16852"/>
                  <a:pt x="18895" y="16914"/>
                </a:cubicBezTo>
                <a:cubicBezTo>
                  <a:pt x="18895" y="16977"/>
                  <a:pt x="18919" y="17027"/>
                  <a:pt x="18949" y="17027"/>
                </a:cubicBezTo>
                <a:close/>
                <a:moveTo>
                  <a:pt x="18956" y="16475"/>
                </a:moveTo>
                <a:cubicBezTo>
                  <a:pt x="18926" y="16475"/>
                  <a:pt x="18902" y="16525"/>
                  <a:pt x="18902" y="16588"/>
                </a:cubicBezTo>
                <a:cubicBezTo>
                  <a:pt x="18902" y="16650"/>
                  <a:pt x="18926" y="16701"/>
                  <a:pt x="18956" y="16701"/>
                </a:cubicBezTo>
                <a:cubicBezTo>
                  <a:pt x="18985" y="16701"/>
                  <a:pt x="19009" y="16650"/>
                  <a:pt x="19009" y="16588"/>
                </a:cubicBezTo>
                <a:cubicBezTo>
                  <a:pt x="19009" y="16525"/>
                  <a:pt x="18985" y="16475"/>
                  <a:pt x="18956" y="16475"/>
                </a:cubicBezTo>
                <a:close/>
                <a:moveTo>
                  <a:pt x="18800" y="16475"/>
                </a:moveTo>
                <a:cubicBezTo>
                  <a:pt x="18771" y="16475"/>
                  <a:pt x="18747" y="16525"/>
                  <a:pt x="18747" y="16588"/>
                </a:cubicBezTo>
                <a:cubicBezTo>
                  <a:pt x="18747" y="16650"/>
                  <a:pt x="18771" y="16701"/>
                  <a:pt x="18800" y="16701"/>
                </a:cubicBezTo>
                <a:cubicBezTo>
                  <a:pt x="18830" y="16701"/>
                  <a:pt x="18854" y="16650"/>
                  <a:pt x="18854" y="16588"/>
                </a:cubicBezTo>
                <a:cubicBezTo>
                  <a:pt x="18854" y="16525"/>
                  <a:pt x="18830" y="16475"/>
                  <a:pt x="18800" y="16475"/>
                </a:cubicBezTo>
                <a:close/>
                <a:moveTo>
                  <a:pt x="18800" y="17027"/>
                </a:moveTo>
                <a:cubicBezTo>
                  <a:pt x="18830" y="17027"/>
                  <a:pt x="18854" y="16977"/>
                  <a:pt x="18854" y="16914"/>
                </a:cubicBezTo>
                <a:cubicBezTo>
                  <a:pt x="18854" y="16852"/>
                  <a:pt x="18830" y="16801"/>
                  <a:pt x="18800" y="16801"/>
                </a:cubicBezTo>
                <a:cubicBezTo>
                  <a:pt x="18771" y="16801"/>
                  <a:pt x="18747" y="16852"/>
                  <a:pt x="18747" y="16914"/>
                </a:cubicBezTo>
                <a:cubicBezTo>
                  <a:pt x="18747" y="16977"/>
                  <a:pt x="18771" y="17027"/>
                  <a:pt x="18800" y="17027"/>
                </a:cubicBezTo>
                <a:close/>
                <a:moveTo>
                  <a:pt x="18956" y="15862"/>
                </a:moveTo>
                <a:cubicBezTo>
                  <a:pt x="18926" y="15862"/>
                  <a:pt x="18902" y="15912"/>
                  <a:pt x="18902" y="15975"/>
                </a:cubicBezTo>
                <a:cubicBezTo>
                  <a:pt x="18902" y="16037"/>
                  <a:pt x="18926" y="16088"/>
                  <a:pt x="18956" y="16088"/>
                </a:cubicBezTo>
                <a:cubicBezTo>
                  <a:pt x="18985" y="16088"/>
                  <a:pt x="19009" y="16037"/>
                  <a:pt x="19009" y="15975"/>
                </a:cubicBezTo>
                <a:cubicBezTo>
                  <a:pt x="19009" y="15912"/>
                  <a:pt x="18985" y="15862"/>
                  <a:pt x="18956" y="15862"/>
                </a:cubicBezTo>
                <a:close/>
                <a:moveTo>
                  <a:pt x="18800" y="15862"/>
                </a:moveTo>
                <a:cubicBezTo>
                  <a:pt x="18771" y="15862"/>
                  <a:pt x="18747" y="15912"/>
                  <a:pt x="18747" y="15975"/>
                </a:cubicBezTo>
                <a:cubicBezTo>
                  <a:pt x="18747" y="16037"/>
                  <a:pt x="18771" y="16088"/>
                  <a:pt x="18800" y="16088"/>
                </a:cubicBezTo>
                <a:cubicBezTo>
                  <a:pt x="18830" y="16088"/>
                  <a:pt x="18854" y="16037"/>
                  <a:pt x="18854" y="15975"/>
                </a:cubicBezTo>
                <a:cubicBezTo>
                  <a:pt x="18854" y="15912"/>
                  <a:pt x="18830" y="15862"/>
                  <a:pt x="18800" y="15862"/>
                </a:cubicBezTo>
                <a:close/>
                <a:moveTo>
                  <a:pt x="18956" y="16188"/>
                </a:moveTo>
                <a:cubicBezTo>
                  <a:pt x="18926" y="16188"/>
                  <a:pt x="18902" y="16239"/>
                  <a:pt x="18902" y="16301"/>
                </a:cubicBezTo>
                <a:cubicBezTo>
                  <a:pt x="18902" y="16364"/>
                  <a:pt x="18926" y="16414"/>
                  <a:pt x="18956" y="16414"/>
                </a:cubicBezTo>
                <a:cubicBezTo>
                  <a:pt x="18985" y="16414"/>
                  <a:pt x="19009" y="16364"/>
                  <a:pt x="19009" y="16301"/>
                </a:cubicBezTo>
                <a:cubicBezTo>
                  <a:pt x="19009" y="16239"/>
                  <a:pt x="18985" y="16188"/>
                  <a:pt x="18956" y="16188"/>
                </a:cubicBezTo>
                <a:close/>
                <a:moveTo>
                  <a:pt x="18800" y="16188"/>
                </a:moveTo>
                <a:cubicBezTo>
                  <a:pt x="18771" y="16188"/>
                  <a:pt x="18747" y="16239"/>
                  <a:pt x="18747" y="16301"/>
                </a:cubicBezTo>
                <a:cubicBezTo>
                  <a:pt x="18747" y="16364"/>
                  <a:pt x="18771" y="16414"/>
                  <a:pt x="18800" y="16414"/>
                </a:cubicBezTo>
                <a:cubicBezTo>
                  <a:pt x="18830" y="16414"/>
                  <a:pt x="18854" y="16364"/>
                  <a:pt x="18854" y="16301"/>
                </a:cubicBezTo>
                <a:cubicBezTo>
                  <a:pt x="18854" y="16239"/>
                  <a:pt x="18830" y="16188"/>
                  <a:pt x="18800" y="16188"/>
                </a:cubicBezTo>
                <a:close/>
                <a:moveTo>
                  <a:pt x="18956" y="15536"/>
                </a:moveTo>
                <a:cubicBezTo>
                  <a:pt x="18926" y="15536"/>
                  <a:pt x="18902" y="15586"/>
                  <a:pt x="18902" y="15649"/>
                </a:cubicBezTo>
                <a:cubicBezTo>
                  <a:pt x="18902" y="15711"/>
                  <a:pt x="18926" y="15762"/>
                  <a:pt x="18956" y="15762"/>
                </a:cubicBezTo>
                <a:cubicBezTo>
                  <a:pt x="18985" y="15762"/>
                  <a:pt x="19009" y="15711"/>
                  <a:pt x="19009" y="15649"/>
                </a:cubicBezTo>
                <a:cubicBezTo>
                  <a:pt x="19009" y="15586"/>
                  <a:pt x="18985" y="15536"/>
                  <a:pt x="18956" y="15536"/>
                </a:cubicBezTo>
                <a:close/>
                <a:moveTo>
                  <a:pt x="18800" y="15536"/>
                </a:moveTo>
                <a:cubicBezTo>
                  <a:pt x="18771" y="15536"/>
                  <a:pt x="18747" y="15586"/>
                  <a:pt x="18747" y="15649"/>
                </a:cubicBezTo>
                <a:cubicBezTo>
                  <a:pt x="18747" y="15711"/>
                  <a:pt x="18771" y="15762"/>
                  <a:pt x="18800" y="15762"/>
                </a:cubicBezTo>
                <a:cubicBezTo>
                  <a:pt x="18830" y="15762"/>
                  <a:pt x="18854" y="15711"/>
                  <a:pt x="18854" y="15649"/>
                </a:cubicBezTo>
                <a:cubicBezTo>
                  <a:pt x="18854" y="15586"/>
                  <a:pt x="18830" y="15536"/>
                  <a:pt x="18800" y="15536"/>
                </a:cubicBezTo>
                <a:close/>
                <a:moveTo>
                  <a:pt x="18644" y="17027"/>
                </a:moveTo>
                <a:cubicBezTo>
                  <a:pt x="18674" y="17027"/>
                  <a:pt x="18698" y="16977"/>
                  <a:pt x="18698" y="16914"/>
                </a:cubicBezTo>
                <a:cubicBezTo>
                  <a:pt x="18698" y="16852"/>
                  <a:pt x="18674" y="16801"/>
                  <a:pt x="18644" y="16801"/>
                </a:cubicBezTo>
                <a:cubicBezTo>
                  <a:pt x="18615" y="16801"/>
                  <a:pt x="18590" y="16852"/>
                  <a:pt x="18590" y="16914"/>
                </a:cubicBezTo>
                <a:cubicBezTo>
                  <a:pt x="18590" y="16977"/>
                  <a:pt x="18615" y="17027"/>
                  <a:pt x="18644" y="17027"/>
                </a:cubicBezTo>
                <a:close/>
                <a:moveTo>
                  <a:pt x="19123" y="16801"/>
                </a:moveTo>
                <a:cubicBezTo>
                  <a:pt x="19093" y="16801"/>
                  <a:pt x="19069" y="16852"/>
                  <a:pt x="19069" y="16914"/>
                </a:cubicBezTo>
                <a:cubicBezTo>
                  <a:pt x="19069" y="16977"/>
                  <a:pt x="19093" y="17027"/>
                  <a:pt x="19123" y="17027"/>
                </a:cubicBezTo>
                <a:cubicBezTo>
                  <a:pt x="19153" y="17027"/>
                  <a:pt x="19177" y="16977"/>
                  <a:pt x="19177" y="16914"/>
                </a:cubicBezTo>
                <a:cubicBezTo>
                  <a:pt x="19177" y="16852"/>
                  <a:pt x="19153" y="16801"/>
                  <a:pt x="19123" y="16801"/>
                </a:cubicBezTo>
                <a:close/>
                <a:moveTo>
                  <a:pt x="19427" y="16475"/>
                </a:moveTo>
                <a:cubicBezTo>
                  <a:pt x="19398" y="16475"/>
                  <a:pt x="19374" y="16525"/>
                  <a:pt x="19374" y="16588"/>
                </a:cubicBezTo>
                <a:cubicBezTo>
                  <a:pt x="19374" y="16650"/>
                  <a:pt x="19398" y="16701"/>
                  <a:pt x="19427" y="16701"/>
                </a:cubicBezTo>
                <a:cubicBezTo>
                  <a:pt x="19457" y="16701"/>
                  <a:pt x="19481" y="16650"/>
                  <a:pt x="19481" y="16588"/>
                </a:cubicBezTo>
                <a:cubicBezTo>
                  <a:pt x="19481" y="16525"/>
                  <a:pt x="19457" y="16475"/>
                  <a:pt x="19427" y="16475"/>
                </a:cubicBezTo>
                <a:close/>
                <a:moveTo>
                  <a:pt x="19275" y="16475"/>
                </a:moveTo>
                <a:cubicBezTo>
                  <a:pt x="19245" y="16475"/>
                  <a:pt x="19221" y="16525"/>
                  <a:pt x="19221" y="16588"/>
                </a:cubicBezTo>
                <a:cubicBezTo>
                  <a:pt x="19221" y="16650"/>
                  <a:pt x="19245" y="16701"/>
                  <a:pt x="19275" y="16701"/>
                </a:cubicBezTo>
                <a:cubicBezTo>
                  <a:pt x="19304" y="16701"/>
                  <a:pt x="19329" y="16650"/>
                  <a:pt x="19329" y="16588"/>
                </a:cubicBezTo>
                <a:cubicBezTo>
                  <a:pt x="19329" y="16525"/>
                  <a:pt x="19304" y="16475"/>
                  <a:pt x="19275" y="16475"/>
                </a:cubicBezTo>
                <a:close/>
                <a:moveTo>
                  <a:pt x="19581" y="16801"/>
                </a:moveTo>
                <a:cubicBezTo>
                  <a:pt x="19552" y="16801"/>
                  <a:pt x="19528" y="16852"/>
                  <a:pt x="19528" y="16914"/>
                </a:cubicBezTo>
                <a:cubicBezTo>
                  <a:pt x="19528" y="16977"/>
                  <a:pt x="19552" y="17027"/>
                  <a:pt x="19581" y="17027"/>
                </a:cubicBezTo>
                <a:cubicBezTo>
                  <a:pt x="19611" y="17027"/>
                  <a:pt x="19635" y="16977"/>
                  <a:pt x="19635" y="16914"/>
                </a:cubicBezTo>
                <a:cubicBezTo>
                  <a:pt x="19635" y="16852"/>
                  <a:pt x="19611" y="16801"/>
                  <a:pt x="19581" y="16801"/>
                </a:cubicBezTo>
                <a:close/>
                <a:moveTo>
                  <a:pt x="19427" y="16801"/>
                </a:moveTo>
                <a:cubicBezTo>
                  <a:pt x="19398" y="16801"/>
                  <a:pt x="19374" y="16852"/>
                  <a:pt x="19374" y="16914"/>
                </a:cubicBezTo>
                <a:cubicBezTo>
                  <a:pt x="19374" y="16977"/>
                  <a:pt x="19398" y="17027"/>
                  <a:pt x="19427" y="17027"/>
                </a:cubicBezTo>
                <a:cubicBezTo>
                  <a:pt x="19457" y="17027"/>
                  <a:pt x="19481" y="16977"/>
                  <a:pt x="19481" y="16914"/>
                </a:cubicBezTo>
                <a:cubicBezTo>
                  <a:pt x="19481" y="16852"/>
                  <a:pt x="19457" y="16801"/>
                  <a:pt x="19427" y="16801"/>
                </a:cubicBezTo>
                <a:close/>
                <a:moveTo>
                  <a:pt x="19275" y="16801"/>
                </a:moveTo>
                <a:cubicBezTo>
                  <a:pt x="19245" y="16801"/>
                  <a:pt x="19221" y="16852"/>
                  <a:pt x="19221" y="16914"/>
                </a:cubicBezTo>
                <a:cubicBezTo>
                  <a:pt x="19221" y="16977"/>
                  <a:pt x="19245" y="17027"/>
                  <a:pt x="19275" y="17027"/>
                </a:cubicBezTo>
                <a:cubicBezTo>
                  <a:pt x="19304" y="17027"/>
                  <a:pt x="19329" y="16977"/>
                  <a:pt x="19329" y="16914"/>
                </a:cubicBezTo>
                <a:cubicBezTo>
                  <a:pt x="19329" y="16852"/>
                  <a:pt x="19304" y="16801"/>
                  <a:pt x="19275" y="16801"/>
                </a:cubicBezTo>
                <a:close/>
                <a:moveTo>
                  <a:pt x="20004" y="13828"/>
                </a:moveTo>
                <a:cubicBezTo>
                  <a:pt x="20034" y="13828"/>
                  <a:pt x="20058" y="13778"/>
                  <a:pt x="20058" y="13715"/>
                </a:cubicBezTo>
                <a:cubicBezTo>
                  <a:pt x="20058" y="13653"/>
                  <a:pt x="20034" y="13602"/>
                  <a:pt x="20004" y="13602"/>
                </a:cubicBezTo>
                <a:cubicBezTo>
                  <a:pt x="19975" y="13602"/>
                  <a:pt x="19950" y="13653"/>
                  <a:pt x="19950" y="13715"/>
                </a:cubicBezTo>
                <a:cubicBezTo>
                  <a:pt x="19950" y="13778"/>
                  <a:pt x="19975" y="13828"/>
                  <a:pt x="20004" y="13828"/>
                </a:cubicBezTo>
                <a:close/>
                <a:moveTo>
                  <a:pt x="19889" y="13252"/>
                </a:moveTo>
                <a:cubicBezTo>
                  <a:pt x="19860" y="13252"/>
                  <a:pt x="19836" y="13302"/>
                  <a:pt x="19836" y="13365"/>
                </a:cubicBezTo>
                <a:cubicBezTo>
                  <a:pt x="19836" y="13427"/>
                  <a:pt x="19860" y="13478"/>
                  <a:pt x="19889" y="13478"/>
                </a:cubicBezTo>
                <a:cubicBezTo>
                  <a:pt x="19919" y="13478"/>
                  <a:pt x="19943" y="13427"/>
                  <a:pt x="19943" y="13365"/>
                </a:cubicBezTo>
                <a:cubicBezTo>
                  <a:pt x="19943" y="13302"/>
                  <a:pt x="19919" y="13252"/>
                  <a:pt x="19889" y="13252"/>
                </a:cubicBezTo>
                <a:close/>
                <a:moveTo>
                  <a:pt x="19723" y="13804"/>
                </a:moveTo>
                <a:cubicBezTo>
                  <a:pt x="19753" y="13804"/>
                  <a:pt x="19777" y="13754"/>
                  <a:pt x="19777" y="13691"/>
                </a:cubicBezTo>
                <a:cubicBezTo>
                  <a:pt x="19777" y="13629"/>
                  <a:pt x="19753" y="13578"/>
                  <a:pt x="19723" y="13578"/>
                </a:cubicBezTo>
                <a:cubicBezTo>
                  <a:pt x="19693" y="13578"/>
                  <a:pt x="19669" y="13629"/>
                  <a:pt x="19669" y="13691"/>
                </a:cubicBezTo>
                <a:cubicBezTo>
                  <a:pt x="19669" y="13754"/>
                  <a:pt x="19693" y="13804"/>
                  <a:pt x="19723" y="13804"/>
                </a:cubicBezTo>
                <a:close/>
                <a:moveTo>
                  <a:pt x="19569" y="14091"/>
                </a:moveTo>
                <a:cubicBezTo>
                  <a:pt x="19598" y="14091"/>
                  <a:pt x="19622" y="14040"/>
                  <a:pt x="19622" y="13978"/>
                </a:cubicBezTo>
                <a:cubicBezTo>
                  <a:pt x="19622" y="13915"/>
                  <a:pt x="19598" y="13865"/>
                  <a:pt x="19569" y="13865"/>
                </a:cubicBezTo>
                <a:cubicBezTo>
                  <a:pt x="19539" y="13865"/>
                  <a:pt x="19515" y="13915"/>
                  <a:pt x="19515" y="13978"/>
                </a:cubicBezTo>
                <a:cubicBezTo>
                  <a:pt x="19515" y="14040"/>
                  <a:pt x="19539" y="14091"/>
                  <a:pt x="19569" y="14091"/>
                </a:cubicBezTo>
                <a:close/>
                <a:moveTo>
                  <a:pt x="19419" y="14091"/>
                </a:moveTo>
                <a:cubicBezTo>
                  <a:pt x="19449" y="14091"/>
                  <a:pt x="19473" y="14040"/>
                  <a:pt x="19473" y="13978"/>
                </a:cubicBezTo>
                <a:cubicBezTo>
                  <a:pt x="19473" y="13915"/>
                  <a:pt x="19449" y="13865"/>
                  <a:pt x="19419" y="13865"/>
                </a:cubicBezTo>
                <a:cubicBezTo>
                  <a:pt x="19390" y="13865"/>
                  <a:pt x="19366" y="13915"/>
                  <a:pt x="19366" y="13978"/>
                </a:cubicBezTo>
                <a:cubicBezTo>
                  <a:pt x="19366" y="14040"/>
                  <a:pt x="19390" y="14091"/>
                  <a:pt x="19419" y="14091"/>
                </a:cubicBezTo>
                <a:close/>
                <a:moveTo>
                  <a:pt x="19419" y="13804"/>
                </a:moveTo>
                <a:cubicBezTo>
                  <a:pt x="19449" y="13804"/>
                  <a:pt x="19473" y="13754"/>
                  <a:pt x="19473" y="13691"/>
                </a:cubicBezTo>
                <a:cubicBezTo>
                  <a:pt x="19473" y="13629"/>
                  <a:pt x="19449" y="13578"/>
                  <a:pt x="19419" y="13578"/>
                </a:cubicBezTo>
                <a:cubicBezTo>
                  <a:pt x="19390" y="13578"/>
                  <a:pt x="19366" y="13629"/>
                  <a:pt x="19366" y="13691"/>
                </a:cubicBezTo>
                <a:cubicBezTo>
                  <a:pt x="19366" y="13754"/>
                  <a:pt x="19390" y="13804"/>
                  <a:pt x="19419" y="13804"/>
                </a:cubicBezTo>
                <a:close/>
                <a:moveTo>
                  <a:pt x="19263" y="14091"/>
                </a:moveTo>
                <a:cubicBezTo>
                  <a:pt x="19293" y="14091"/>
                  <a:pt x="19317" y="14040"/>
                  <a:pt x="19317" y="13978"/>
                </a:cubicBezTo>
                <a:cubicBezTo>
                  <a:pt x="19317" y="13915"/>
                  <a:pt x="19293" y="13865"/>
                  <a:pt x="19263" y="13865"/>
                </a:cubicBezTo>
                <a:cubicBezTo>
                  <a:pt x="19234" y="13865"/>
                  <a:pt x="19210" y="13915"/>
                  <a:pt x="19210" y="13978"/>
                </a:cubicBezTo>
                <a:cubicBezTo>
                  <a:pt x="19210" y="14040"/>
                  <a:pt x="19234" y="14091"/>
                  <a:pt x="19263" y="14091"/>
                </a:cubicBezTo>
                <a:close/>
                <a:moveTo>
                  <a:pt x="19263" y="13252"/>
                </a:moveTo>
                <a:cubicBezTo>
                  <a:pt x="19234" y="13252"/>
                  <a:pt x="19210" y="13302"/>
                  <a:pt x="19210" y="13365"/>
                </a:cubicBezTo>
                <a:cubicBezTo>
                  <a:pt x="19210" y="13427"/>
                  <a:pt x="19234" y="13478"/>
                  <a:pt x="19263" y="13478"/>
                </a:cubicBezTo>
                <a:cubicBezTo>
                  <a:pt x="19293" y="13478"/>
                  <a:pt x="19317" y="13427"/>
                  <a:pt x="19317" y="13365"/>
                </a:cubicBezTo>
                <a:cubicBezTo>
                  <a:pt x="19317" y="13302"/>
                  <a:pt x="19293" y="13252"/>
                  <a:pt x="19263" y="13252"/>
                </a:cubicBezTo>
                <a:close/>
                <a:moveTo>
                  <a:pt x="19263" y="13578"/>
                </a:moveTo>
                <a:cubicBezTo>
                  <a:pt x="19234" y="13578"/>
                  <a:pt x="19210" y="13629"/>
                  <a:pt x="19210" y="13691"/>
                </a:cubicBezTo>
                <a:cubicBezTo>
                  <a:pt x="19210" y="13754"/>
                  <a:pt x="19234" y="13804"/>
                  <a:pt x="19263" y="13804"/>
                </a:cubicBezTo>
                <a:cubicBezTo>
                  <a:pt x="19293" y="13804"/>
                  <a:pt x="19317" y="13754"/>
                  <a:pt x="19317" y="13691"/>
                </a:cubicBezTo>
                <a:cubicBezTo>
                  <a:pt x="19317" y="13629"/>
                  <a:pt x="19293" y="13578"/>
                  <a:pt x="19263" y="13578"/>
                </a:cubicBezTo>
                <a:close/>
                <a:moveTo>
                  <a:pt x="19109" y="14091"/>
                </a:moveTo>
                <a:cubicBezTo>
                  <a:pt x="19139" y="14091"/>
                  <a:pt x="19163" y="14040"/>
                  <a:pt x="19163" y="13978"/>
                </a:cubicBezTo>
                <a:cubicBezTo>
                  <a:pt x="19163" y="13915"/>
                  <a:pt x="19139" y="13865"/>
                  <a:pt x="19109" y="13865"/>
                </a:cubicBezTo>
                <a:cubicBezTo>
                  <a:pt x="19080" y="13865"/>
                  <a:pt x="19056" y="13915"/>
                  <a:pt x="19056" y="13978"/>
                </a:cubicBezTo>
                <a:cubicBezTo>
                  <a:pt x="19056" y="14040"/>
                  <a:pt x="19080" y="14091"/>
                  <a:pt x="19109" y="14091"/>
                </a:cubicBezTo>
                <a:close/>
                <a:moveTo>
                  <a:pt x="19109" y="13252"/>
                </a:moveTo>
                <a:cubicBezTo>
                  <a:pt x="19080" y="13252"/>
                  <a:pt x="19056" y="13302"/>
                  <a:pt x="19056" y="13365"/>
                </a:cubicBezTo>
                <a:cubicBezTo>
                  <a:pt x="19056" y="13427"/>
                  <a:pt x="19080" y="13478"/>
                  <a:pt x="19109" y="13478"/>
                </a:cubicBezTo>
                <a:cubicBezTo>
                  <a:pt x="19139" y="13478"/>
                  <a:pt x="19163" y="13427"/>
                  <a:pt x="19163" y="13365"/>
                </a:cubicBezTo>
                <a:cubicBezTo>
                  <a:pt x="19163" y="13302"/>
                  <a:pt x="19139" y="13252"/>
                  <a:pt x="19109" y="13252"/>
                </a:cubicBezTo>
                <a:close/>
                <a:moveTo>
                  <a:pt x="19109" y="13578"/>
                </a:moveTo>
                <a:cubicBezTo>
                  <a:pt x="19080" y="13578"/>
                  <a:pt x="19056" y="13629"/>
                  <a:pt x="19056" y="13691"/>
                </a:cubicBezTo>
                <a:cubicBezTo>
                  <a:pt x="19056" y="13754"/>
                  <a:pt x="19080" y="13804"/>
                  <a:pt x="19109" y="13804"/>
                </a:cubicBezTo>
                <a:cubicBezTo>
                  <a:pt x="19139" y="13804"/>
                  <a:pt x="19163" y="13754"/>
                  <a:pt x="19163" y="13691"/>
                </a:cubicBezTo>
                <a:cubicBezTo>
                  <a:pt x="19163" y="13629"/>
                  <a:pt x="19139" y="13578"/>
                  <a:pt x="19109" y="13578"/>
                </a:cubicBezTo>
                <a:close/>
                <a:moveTo>
                  <a:pt x="18960" y="13865"/>
                </a:moveTo>
                <a:cubicBezTo>
                  <a:pt x="18930" y="13865"/>
                  <a:pt x="18906" y="13915"/>
                  <a:pt x="18906" y="13978"/>
                </a:cubicBezTo>
                <a:cubicBezTo>
                  <a:pt x="18906" y="14040"/>
                  <a:pt x="18930" y="14091"/>
                  <a:pt x="18960" y="14091"/>
                </a:cubicBezTo>
                <a:cubicBezTo>
                  <a:pt x="18990" y="14091"/>
                  <a:pt x="19014" y="14040"/>
                  <a:pt x="19014" y="13978"/>
                </a:cubicBezTo>
                <a:cubicBezTo>
                  <a:pt x="19014" y="13915"/>
                  <a:pt x="18990" y="13865"/>
                  <a:pt x="18960" y="13865"/>
                </a:cubicBezTo>
                <a:close/>
                <a:moveTo>
                  <a:pt x="19123" y="15862"/>
                </a:moveTo>
                <a:cubicBezTo>
                  <a:pt x="19093" y="15862"/>
                  <a:pt x="19069" y="15912"/>
                  <a:pt x="19069" y="15975"/>
                </a:cubicBezTo>
                <a:cubicBezTo>
                  <a:pt x="19069" y="16037"/>
                  <a:pt x="19093" y="16088"/>
                  <a:pt x="19123" y="16088"/>
                </a:cubicBezTo>
                <a:cubicBezTo>
                  <a:pt x="19153" y="16088"/>
                  <a:pt x="19177" y="16037"/>
                  <a:pt x="19177" y="15975"/>
                </a:cubicBezTo>
                <a:cubicBezTo>
                  <a:pt x="19177" y="15912"/>
                  <a:pt x="19153" y="15862"/>
                  <a:pt x="19123" y="15862"/>
                </a:cubicBezTo>
                <a:close/>
                <a:moveTo>
                  <a:pt x="19123" y="16188"/>
                </a:moveTo>
                <a:cubicBezTo>
                  <a:pt x="19093" y="16188"/>
                  <a:pt x="19069" y="16239"/>
                  <a:pt x="19069" y="16301"/>
                </a:cubicBezTo>
                <a:cubicBezTo>
                  <a:pt x="19069" y="16364"/>
                  <a:pt x="19093" y="16414"/>
                  <a:pt x="19123" y="16414"/>
                </a:cubicBezTo>
                <a:cubicBezTo>
                  <a:pt x="19153" y="16414"/>
                  <a:pt x="19177" y="16364"/>
                  <a:pt x="19177" y="16301"/>
                </a:cubicBezTo>
                <a:cubicBezTo>
                  <a:pt x="19177" y="16239"/>
                  <a:pt x="19153" y="16188"/>
                  <a:pt x="19123" y="16188"/>
                </a:cubicBezTo>
                <a:close/>
                <a:moveTo>
                  <a:pt x="19427" y="15862"/>
                </a:moveTo>
                <a:cubicBezTo>
                  <a:pt x="19398" y="15862"/>
                  <a:pt x="19374" y="15912"/>
                  <a:pt x="19374" y="15975"/>
                </a:cubicBezTo>
                <a:cubicBezTo>
                  <a:pt x="19374" y="16037"/>
                  <a:pt x="19398" y="16088"/>
                  <a:pt x="19427" y="16088"/>
                </a:cubicBezTo>
                <a:cubicBezTo>
                  <a:pt x="19457" y="16088"/>
                  <a:pt x="19481" y="16037"/>
                  <a:pt x="19481" y="15975"/>
                </a:cubicBezTo>
                <a:cubicBezTo>
                  <a:pt x="19481" y="15912"/>
                  <a:pt x="19457" y="15862"/>
                  <a:pt x="19427" y="15862"/>
                </a:cubicBezTo>
                <a:close/>
                <a:moveTo>
                  <a:pt x="19275" y="15862"/>
                </a:moveTo>
                <a:cubicBezTo>
                  <a:pt x="19245" y="15862"/>
                  <a:pt x="19221" y="15912"/>
                  <a:pt x="19221" y="15975"/>
                </a:cubicBezTo>
                <a:cubicBezTo>
                  <a:pt x="19221" y="16037"/>
                  <a:pt x="19245" y="16088"/>
                  <a:pt x="19275" y="16088"/>
                </a:cubicBezTo>
                <a:cubicBezTo>
                  <a:pt x="19304" y="16088"/>
                  <a:pt x="19329" y="16037"/>
                  <a:pt x="19329" y="15975"/>
                </a:cubicBezTo>
                <a:cubicBezTo>
                  <a:pt x="19329" y="15912"/>
                  <a:pt x="19304" y="15862"/>
                  <a:pt x="19275" y="15862"/>
                </a:cubicBezTo>
                <a:close/>
                <a:moveTo>
                  <a:pt x="19427" y="16188"/>
                </a:moveTo>
                <a:cubicBezTo>
                  <a:pt x="19398" y="16188"/>
                  <a:pt x="19374" y="16239"/>
                  <a:pt x="19374" y="16301"/>
                </a:cubicBezTo>
                <a:cubicBezTo>
                  <a:pt x="19374" y="16364"/>
                  <a:pt x="19398" y="16414"/>
                  <a:pt x="19427" y="16414"/>
                </a:cubicBezTo>
                <a:cubicBezTo>
                  <a:pt x="19457" y="16414"/>
                  <a:pt x="19481" y="16364"/>
                  <a:pt x="19481" y="16301"/>
                </a:cubicBezTo>
                <a:cubicBezTo>
                  <a:pt x="19481" y="16239"/>
                  <a:pt x="19457" y="16188"/>
                  <a:pt x="19427" y="16188"/>
                </a:cubicBezTo>
                <a:close/>
                <a:moveTo>
                  <a:pt x="19275" y="16188"/>
                </a:moveTo>
                <a:cubicBezTo>
                  <a:pt x="19245" y="16188"/>
                  <a:pt x="19221" y="16239"/>
                  <a:pt x="19221" y="16301"/>
                </a:cubicBezTo>
                <a:cubicBezTo>
                  <a:pt x="19221" y="16364"/>
                  <a:pt x="19245" y="16414"/>
                  <a:pt x="19275" y="16414"/>
                </a:cubicBezTo>
                <a:cubicBezTo>
                  <a:pt x="19304" y="16414"/>
                  <a:pt x="19329" y="16364"/>
                  <a:pt x="19329" y="16301"/>
                </a:cubicBezTo>
                <a:cubicBezTo>
                  <a:pt x="19329" y="16239"/>
                  <a:pt x="19304" y="16188"/>
                  <a:pt x="19275" y="16188"/>
                </a:cubicBezTo>
                <a:close/>
                <a:moveTo>
                  <a:pt x="18960" y="13252"/>
                </a:moveTo>
                <a:cubicBezTo>
                  <a:pt x="18930" y="13252"/>
                  <a:pt x="18906" y="13302"/>
                  <a:pt x="18906" y="13365"/>
                </a:cubicBezTo>
                <a:cubicBezTo>
                  <a:pt x="18906" y="13427"/>
                  <a:pt x="18930" y="13478"/>
                  <a:pt x="18960" y="13478"/>
                </a:cubicBezTo>
                <a:cubicBezTo>
                  <a:pt x="18990" y="13478"/>
                  <a:pt x="19014" y="13427"/>
                  <a:pt x="19014" y="13365"/>
                </a:cubicBezTo>
                <a:cubicBezTo>
                  <a:pt x="19014" y="13302"/>
                  <a:pt x="18990" y="13252"/>
                  <a:pt x="18960" y="13252"/>
                </a:cubicBezTo>
                <a:close/>
                <a:moveTo>
                  <a:pt x="18960" y="13578"/>
                </a:moveTo>
                <a:cubicBezTo>
                  <a:pt x="18930" y="13578"/>
                  <a:pt x="18906" y="13629"/>
                  <a:pt x="18906" y="13691"/>
                </a:cubicBezTo>
                <a:cubicBezTo>
                  <a:pt x="18906" y="13754"/>
                  <a:pt x="18930" y="13804"/>
                  <a:pt x="18960" y="13804"/>
                </a:cubicBezTo>
                <a:cubicBezTo>
                  <a:pt x="18990" y="13804"/>
                  <a:pt x="19014" y="13754"/>
                  <a:pt x="19014" y="13691"/>
                </a:cubicBezTo>
                <a:cubicBezTo>
                  <a:pt x="19014" y="13629"/>
                  <a:pt x="18990" y="13578"/>
                  <a:pt x="18960" y="13578"/>
                </a:cubicBezTo>
                <a:close/>
                <a:moveTo>
                  <a:pt x="19123" y="15209"/>
                </a:moveTo>
                <a:cubicBezTo>
                  <a:pt x="19093" y="15209"/>
                  <a:pt x="19069" y="15260"/>
                  <a:pt x="19069" y="15322"/>
                </a:cubicBezTo>
                <a:cubicBezTo>
                  <a:pt x="19069" y="15385"/>
                  <a:pt x="19093" y="15436"/>
                  <a:pt x="19123" y="15436"/>
                </a:cubicBezTo>
                <a:cubicBezTo>
                  <a:pt x="19153" y="15436"/>
                  <a:pt x="19177" y="15385"/>
                  <a:pt x="19177" y="15322"/>
                </a:cubicBezTo>
                <a:cubicBezTo>
                  <a:pt x="19177" y="15260"/>
                  <a:pt x="19153" y="15209"/>
                  <a:pt x="19123" y="15209"/>
                </a:cubicBezTo>
                <a:close/>
                <a:moveTo>
                  <a:pt x="19123" y="15536"/>
                </a:moveTo>
                <a:cubicBezTo>
                  <a:pt x="19093" y="15536"/>
                  <a:pt x="19069" y="15586"/>
                  <a:pt x="19069" y="15649"/>
                </a:cubicBezTo>
                <a:cubicBezTo>
                  <a:pt x="19069" y="15711"/>
                  <a:pt x="19093" y="15762"/>
                  <a:pt x="19123" y="15762"/>
                </a:cubicBezTo>
                <a:cubicBezTo>
                  <a:pt x="19153" y="15762"/>
                  <a:pt x="19177" y="15711"/>
                  <a:pt x="19177" y="15649"/>
                </a:cubicBezTo>
                <a:cubicBezTo>
                  <a:pt x="19177" y="15586"/>
                  <a:pt x="19153" y="15536"/>
                  <a:pt x="19123" y="15536"/>
                </a:cubicBezTo>
                <a:close/>
                <a:moveTo>
                  <a:pt x="19275" y="15209"/>
                </a:moveTo>
                <a:cubicBezTo>
                  <a:pt x="19245" y="15209"/>
                  <a:pt x="19221" y="15260"/>
                  <a:pt x="19221" y="15322"/>
                </a:cubicBezTo>
                <a:cubicBezTo>
                  <a:pt x="19221" y="15385"/>
                  <a:pt x="19245" y="15436"/>
                  <a:pt x="19275" y="15436"/>
                </a:cubicBezTo>
                <a:cubicBezTo>
                  <a:pt x="19304" y="15436"/>
                  <a:pt x="19329" y="15385"/>
                  <a:pt x="19329" y="15322"/>
                </a:cubicBezTo>
                <a:cubicBezTo>
                  <a:pt x="19329" y="15260"/>
                  <a:pt x="19304" y="15209"/>
                  <a:pt x="19275" y="15209"/>
                </a:cubicBezTo>
                <a:close/>
                <a:moveTo>
                  <a:pt x="19275" y="15536"/>
                </a:moveTo>
                <a:cubicBezTo>
                  <a:pt x="19245" y="15536"/>
                  <a:pt x="19221" y="15586"/>
                  <a:pt x="19221" y="15649"/>
                </a:cubicBezTo>
                <a:cubicBezTo>
                  <a:pt x="19221" y="15711"/>
                  <a:pt x="19245" y="15762"/>
                  <a:pt x="19275" y="15762"/>
                </a:cubicBezTo>
                <a:cubicBezTo>
                  <a:pt x="19304" y="15762"/>
                  <a:pt x="19329" y="15711"/>
                  <a:pt x="19329" y="15649"/>
                </a:cubicBezTo>
                <a:cubicBezTo>
                  <a:pt x="19329" y="15586"/>
                  <a:pt x="19304" y="15536"/>
                  <a:pt x="19275" y="15536"/>
                </a:cubicBezTo>
                <a:close/>
                <a:moveTo>
                  <a:pt x="18960" y="12925"/>
                </a:moveTo>
                <a:cubicBezTo>
                  <a:pt x="18930" y="12925"/>
                  <a:pt x="18906" y="12976"/>
                  <a:pt x="18906" y="13039"/>
                </a:cubicBezTo>
                <a:cubicBezTo>
                  <a:pt x="18906" y="13101"/>
                  <a:pt x="18930" y="13152"/>
                  <a:pt x="18960" y="13152"/>
                </a:cubicBezTo>
                <a:cubicBezTo>
                  <a:pt x="18990" y="13152"/>
                  <a:pt x="19014" y="13101"/>
                  <a:pt x="19014" y="13039"/>
                </a:cubicBezTo>
                <a:cubicBezTo>
                  <a:pt x="19014" y="12976"/>
                  <a:pt x="18990" y="12925"/>
                  <a:pt x="18960" y="12925"/>
                </a:cubicBezTo>
                <a:close/>
                <a:moveTo>
                  <a:pt x="19123" y="14541"/>
                </a:moveTo>
                <a:cubicBezTo>
                  <a:pt x="19093" y="14541"/>
                  <a:pt x="19069" y="14592"/>
                  <a:pt x="19069" y="14654"/>
                </a:cubicBezTo>
                <a:cubicBezTo>
                  <a:pt x="19069" y="14717"/>
                  <a:pt x="19093" y="14768"/>
                  <a:pt x="19123" y="14768"/>
                </a:cubicBezTo>
                <a:cubicBezTo>
                  <a:pt x="19153" y="14768"/>
                  <a:pt x="19177" y="14717"/>
                  <a:pt x="19177" y="14654"/>
                </a:cubicBezTo>
                <a:cubicBezTo>
                  <a:pt x="19177" y="14592"/>
                  <a:pt x="19153" y="14541"/>
                  <a:pt x="19123" y="14541"/>
                </a:cubicBezTo>
                <a:close/>
                <a:moveTo>
                  <a:pt x="19123" y="14868"/>
                </a:moveTo>
                <a:cubicBezTo>
                  <a:pt x="19093" y="14868"/>
                  <a:pt x="19069" y="14918"/>
                  <a:pt x="19069" y="14981"/>
                </a:cubicBezTo>
                <a:cubicBezTo>
                  <a:pt x="19069" y="15043"/>
                  <a:pt x="19093" y="15094"/>
                  <a:pt x="19123" y="15094"/>
                </a:cubicBezTo>
                <a:cubicBezTo>
                  <a:pt x="19153" y="15094"/>
                  <a:pt x="19177" y="15043"/>
                  <a:pt x="19177" y="14981"/>
                </a:cubicBezTo>
                <a:cubicBezTo>
                  <a:pt x="19177" y="14918"/>
                  <a:pt x="19153" y="14868"/>
                  <a:pt x="19123" y="14868"/>
                </a:cubicBezTo>
                <a:close/>
                <a:moveTo>
                  <a:pt x="19275" y="14868"/>
                </a:moveTo>
                <a:cubicBezTo>
                  <a:pt x="19245" y="14868"/>
                  <a:pt x="19221" y="14918"/>
                  <a:pt x="19221" y="14981"/>
                </a:cubicBezTo>
                <a:cubicBezTo>
                  <a:pt x="19221" y="15043"/>
                  <a:pt x="19245" y="15094"/>
                  <a:pt x="19275" y="15094"/>
                </a:cubicBezTo>
                <a:cubicBezTo>
                  <a:pt x="19304" y="15094"/>
                  <a:pt x="19329" y="15043"/>
                  <a:pt x="19329" y="14981"/>
                </a:cubicBezTo>
                <a:cubicBezTo>
                  <a:pt x="19329" y="14918"/>
                  <a:pt x="19304" y="14868"/>
                  <a:pt x="19275" y="14868"/>
                </a:cubicBezTo>
                <a:close/>
                <a:moveTo>
                  <a:pt x="19737" y="14230"/>
                </a:moveTo>
                <a:cubicBezTo>
                  <a:pt x="19707" y="14230"/>
                  <a:pt x="19683" y="14281"/>
                  <a:pt x="19683" y="14344"/>
                </a:cubicBezTo>
                <a:cubicBezTo>
                  <a:pt x="19683" y="14406"/>
                  <a:pt x="19707" y="14457"/>
                  <a:pt x="19737" y="14457"/>
                </a:cubicBezTo>
                <a:cubicBezTo>
                  <a:pt x="19766" y="14457"/>
                  <a:pt x="19790" y="14406"/>
                  <a:pt x="19790" y="14344"/>
                </a:cubicBezTo>
                <a:cubicBezTo>
                  <a:pt x="19790" y="14281"/>
                  <a:pt x="19766" y="14230"/>
                  <a:pt x="19737" y="14230"/>
                </a:cubicBezTo>
                <a:close/>
                <a:moveTo>
                  <a:pt x="19581" y="14230"/>
                </a:moveTo>
                <a:cubicBezTo>
                  <a:pt x="19552" y="14230"/>
                  <a:pt x="19528" y="14281"/>
                  <a:pt x="19528" y="14344"/>
                </a:cubicBezTo>
                <a:cubicBezTo>
                  <a:pt x="19528" y="14406"/>
                  <a:pt x="19552" y="14457"/>
                  <a:pt x="19581" y="14457"/>
                </a:cubicBezTo>
                <a:cubicBezTo>
                  <a:pt x="19611" y="14457"/>
                  <a:pt x="19635" y="14406"/>
                  <a:pt x="19635" y="14344"/>
                </a:cubicBezTo>
                <a:cubicBezTo>
                  <a:pt x="19635" y="14281"/>
                  <a:pt x="19611" y="14230"/>
                  <a:pt x="19581" y="14230"/>
                </a:cubicBezTo>
                <a:close/>
                <a:moveTo>
                  <a:pt x="18651" y="19387"/>
                </a:moveTo>
                <a:cubicBezTo>
                  <a:pt x="18622" y="19387"/>
                  <a:pt x="18598" y="19438"/>
                  <a:pt x="18598" y="19500"/>
                </a:cubicBezTo>
                <a:cubicBezTo>
                  <a:pt x="18598" y="19563"/>
                  <a:pt x="18622" y="19613"/>
                  <a:pt x="18651" y="19613"/>
                </a:cubicBezTo>
                <a:cubicBezTo>
                  <a:pt x="18681" y="19613"/>
                  <a:pt x="18705" y="19563"/>
                  <a:pt x="18705" y="19500"/>
                </a:cubicBezTo>
                <a:cubicBezTo>
                  <a:pt x="18705" y="19438"/>
                  <a:pt x="18681" y="19387"/>
                  <a:pt x="18651" y="19387"/>
                </a:cubicBezTo>
                <a:close/>
                <a:moveTo>
                  <a:pt x="18804" y="18774"/>
                </a:moveTo>
                <a:cubicBezTo>
                  <a:pt x="18774" y="18774"/>
                  <a:pt x="18750" y="18825"/>
                  <a:pt x="18750" y="18887"/>
                </a:cubicBezTo>
                <a:cubicBezTo>
                  <a:pt x="18750" y="18950"/>
                  <a:pt x="18774" y="19000"/>
                  <a:pt x="18804" y="19000"/>
                </a:cubicBezTo>
                <a:cubicBezTo>
                  <a:pt x="18834" y="19000"/>
                  <a:pt x="18858" y="18950"/>
                  <a:pt x="18858" y="18887"/>
                </a:cubicBezTo>
                <a:cubicBezTo>
                  <a:pt x="18858" y="18825"/>
                  <a:pt x="18834" y="18774"/>
                  <a:pt x="18804" y="18774"/>
                </a:cubicBezTo>
                <a:close/>
                <a:moveTo>
                  <a:pt x="18651" y="18774"/>
                </a:moveTo>
                <a:cubicBezTo>
                  <a:pt x="18622" y="18774"/>
                  <a:pt x="18598" y="18825"/>
                  <a:pt x="18598" y="18887"/>
                </a:cubicBezTo>
                <a:cubicBezTo>
                  <a:pt x="18598" y="18950"/>
                  <a:pt x="18622" y="19000"/>
                  <a:pt x="18651" y="19000"/>
                </a:cubicBezTo>
                <a:cubicBezTo>
                  <a:pt x="18681" y="19000"/>
                  <a:pt x="18705" y="18950"/>
                  <a:pt x="18705" y="18887"/>
                </a:cubicBezTo>
                <a:cubicBezTo>
                  <a:pt x="18705" y="18825"/>
                  <a:pt x="18681" y="18774"/>
                  <a:pt x="18651" y="18774"/>
                </a:cubicBezTo>
                <a:close/>
                <a:moveTo>
                  <a:pt x="18496" y="18774"/>
                </a:moveTo>
                <a:cubicBezTo>
                  <a:pt x="18466" y="18774"/>
                  <a:pt x="18442" y="18825"/>
                  <a:pt x="18442" y="18887"/>
                </a:cubicBezTo>
                <a:cubicBezTo>
                  <a:pt x="18442" y="18950"/>
                  <a:pt x="18466" y="19000"/>
                  <a:pt x="18496" y="19000"/>
                </a:cubicBezTo>
                <a:cubicBezTo>
                  <a:pt x="18526" y="19000"/>
                  <a:pt x="18550" y="18950"/>
                  <a:pt x="18550" y="18887"/>
                </a:cubicBezTo>
                <a:cubicBezTo>
                  <a:pt x="18550" y="18825"/>
                  <a:pt x="18526" y="18774"/>
                  <a:pt x="18496" y="18774"/>
                </a:cubicBezTo>
                <a:close/>
                <a:moveTo>
                  <a:pt x="18804" y="18122"/>
                </a:moveTo>
                <a:cubicBezTo>
                  <a:pt x="18774" y="18122"/>
                  <a:pt x="18750" y="18172"/>
                  <a:pt x="18750" y="18235"/>
                </a:cubicBezTo>
                <a:cubicBezTo>
                  <a:pt x="18750" y="18297"/>
                  <a:pt x="18774" y="18348"/>
                  <a:pt x="18804" y="18348"/>
                </a:cubicBezTo>
                <a:cubicBezTo>
                  <a:pt x="18834" y="18348"/>
                  <a:pt x="18858" y="18297"/>
                  <a:pt x="18858" y="18235"/>
                </a:cubicBezTo>
                <a:cubicBezTo>
                  <a:pt x="18858" y="18172"/>
                  <a:pt x="18834" y="18122"/>
                  <a:pt x="18804" y="18122"/>
                </a:cubicBezTo>
                <a:close/>
                <a:moveTo>
                  <a:pt x="18651" y="18122"/>
                </a:moveTo>
                <a:cubicBezTo>
                  <a:pt x="18622" y="18122"/>
                  <a:pt x="18598" y="18172"/>
                  <a:pt x="18598" y="18235"/>
                </a:cubicBezTo>
                <a:cubicBezTo>
                  <a:pt x="18598" y="18297"/>
                  <a:pt x="18622" y="18348"/>
                  <a:pt x="18651" y="18348"/>
                </a:cubicBezTo>
                <a:cubicBezTo>
                  <a:pt x="18681" y="18348"/>
                  <a:pt x="18705" y="18297"/>
                  <a:pt x="18705" y="18235"/>
                </a:cubicBezTo>
                <a:cubicBezTo>
                  <a:pt x="18705" y="18172"/>
                  <a:pt x="18681" y="18122"/>
                  <a:pt x="18651" y="18122"/>
                </a:cubicBezTo>
                <a:close/>
                <a:moveTo>
                  <a:pt x="18496" y="18122"/>
                </a:moveTo>
                <a:cubicBezTo>
                  <a:pt x="18466" y="18122"/>
                  <a:pt x="18442" y="18172"/>
                  <a:pt x="18442" y="18235"/>
                </a:cubicBezTo>
                <a:cubicBezTo>
                  <a:pt x="18442" y="18297"/>
                  <a:pt x="18466" y="18348"/>
                  <a:pt x="18496" y="18348"/>
                </a:cubicBezTo>
                <a:cubicBezTo>
                  <a:pt x="18526" y="18348"/>
                  <a:pt x="18550" y="18297"/>
                  <a:pt x="18550" y="18235"/>
                </a:cubicBezTo>
                <a:cubicBezTo>
                  <a:pt x="18550" y="18172"/>
                  <a:pt x="18526" y="18122"/>
                  <a:pt x="18496" y="18122"/>
                </a:cubicBezTo>
                <a:close/>
                <a:moveTo>
                  <a:pt x="18189" y="18122"/>
                </a:moveTo>
                <a:cubicBezTo>
                  <a:pt x="18160" y="18122"/>
                  <a:pt x="18136" y="18172"/>
                  <a:pt x="18136" y="18235"/>
                </a:cubicBezTo>
                <a:cubicBezTo>
                  <a:pt x="18136" y="18297"/>
                  <a:pt x="18160" y="18348"/>
                  <a:pt x="18189" y="18348"/>
                </a:cubicBezTo>
                <a:cubicBezTo>
                  <a:pt x="18219" y="18348"/>
                  <a:pt x="18243" y="18297"/>
                  <a:pt x="18243" y="18235"/>
                </a:cubicBezTo>
                <a:cubicBezTo>
                  <a:pt x="18243" y="18172"/>
                  <a:pt x="18219" y="18122"/>
                  <a:pt x="18189" y="18122"/>
                </a:cubicBezTo>
                <a:close/>
                <a:moveTo>
                  <a:pt x="18804" y="18448"/>
                </a:moveTo>
                <a:cubicBezTo>
                  <a:pt x="18774" y="18448"/>
                  <a:pt x="18750" y="18499"/>
                  <a:pt x="18750" y="18561"/>
                </a:cubicBezTo>
                <a:cubicBezTo>
                  <a:pt x="18750" y="18624"/>
                  <a:pt x="18774" y="18674"/>
                  <a:pt x="18804" y="18674"/>
                </a:cubicBezTo>
                <a:cubicBezTo>
                  <a:pt x="18834" y="18674"/>
                  <a:pt x="18858" y="18624"/>
                  <a:pt x="18858" y="18561"/>
                </a:cubicBezTo>
                <a:cubicBezTo>
                  <a:pt x="18858" y="18499"/>
                  <a:pt x="18834" y="18448"/>
                  <a:pt x="18804" y="18448"/>
                </a:cubicBezTo>
                <a:close/>
                <a:moveTo>
                  <a:pt x="18651" y="18448"/>
                </a:moveTo>
                <a:cubicBezTo>
                  <a:pt x="18622" y="18448"/>
                  <a:pt x="18598" y="18499"/>
                  <a:pt x="18598" y="18561"/>
                </a:cubicBezTo>
                <a:cubicBezTo>
                  <a:pt x="18598" y="18624"/>
                  <a:pt x="18622" y="18674"/>
                  <a:pt x="18651" y="18674"/>
                </a:cubicBezTo>
                <a:cubicBezTo>
                  <a:pt x="18681" y="18674"/>
                  <a:pt x="18705" y="18624"/>
                  <a:pt x="18705" y="18561"/>
                </a:cubicBezTo>
                <a:cubicBezTo>
                  <a:pt x="18705" y="18499"/>
                  <a:pt x="18681" y="18448"/>
                  <a:pt x="18651" y="18448"/>
                </a:cubicBezTo>
                <a:close/>
                <a:moveTo>
                  <a:pt x="18496" y="18448"/>
                </a:moveTo>
                <a:cubicBezTo>
                  <a:pt x="18466" y="18448"/>
                  <a:pt x="18442" y="18499"/>
                  <a:pt x="18442" y="18561"/>
                </a:cubicBezTo>
                <a:cubicBezTo>
                  <a:pt x="18442" y="18624"/>
                  <a:pt x="18466" y="18674"/>
                  <a:pt x="18496" y="18674"/>
                </a:cubicBezTo>
                <a:cubicBezTo>
                  <a:pt x="18526" y="18674"/>
                  <a:pt x="18550" y="18624"/>
                  <a:pt x="18550" y="18561"/>
                </a:cubicBezTo>
                <a:cubicBezTo>
                  <a:pt x="18550" y="18499"/>
                  <a:pt x="18526" y="18448"/>
                  <a:pt x="18496" y="18448"/>
                </a:cubicBezTo>
                <a:close/>
                <a:moveTo>
                  <a:pt x="18804" y="17454"/>
                </a:moveTo>
                <a:cubicBezTo>
                  <a:pt x="18774" y="17454"/>
                  <a:pt x="18750" y="17504"/>
                  <a:pt x="18750" y="17567"/>
                </a:cubicBezTo>
                <a:cubicBezTo>
                  <a:pt x="18750" y="17629"/>
                  <a:pt x="18774" y="17680"/>
                  <a:pt x="18804" y="17680"/>
                </a:cubicBezTo>
                <a:cubicBezTo>
                  <a:pt x="18834" y="17680"/>
                  <a:pt x="18858" y="17629"/>
                  <a:pt x="18858" y="17567"/>
                </a:cubicBezTo>
                <a:cubicBezTo>
                  <a:pt x="18858" y="17504"/>
                  <a:pt x="18834" y="17454"/>
                  <a:pt x="18804" y="17454"/>
                </a:cubicBezTo>
                <a:close/>
                <a:moveTo>
                  <a:pt x="18651" y="17454"/>
                </a:moveTo>
                <a:cubicBezTo>
                  <a:pt x="18622" y="17454"/>
                  <a:pt x="18598" y="17504"/>
                  <a:pt x="18598" y="17567"/>
                </a:cubicBezTo>
                <a:cubicBezTo>
                  <a:pt x="18598" y="17629"/>
                  <a:pt x="18622" y="17680"/>
                  <a:pt x="18651" y="17680"/>
                </a:cubicBezTo>
                <a:cubicBezTo>
                  <a:pt x="18681" y="17680"/>
                  <a:pt x="18705" y="17629"/>
                  <a:pt x="18705" y="17567"/>
                </a:cubicBezTo>
                <a:cubicBezTo>
                  <a:pt x="18705" y="17504"/>
                  <a:pt x="18681" y="17454"/>
                  <a:pt x="18651" y="17454"/>
                </a:cubicBezTo>
                <a:close/>
                <a:moveTo>
                  <a:pt x="18496" y="17454"/>
                </a:moveTo>
                <a:cubicBezTo>
                  <a:pt x="18466" y="17454"/>
                  <a:pt x="18442" y="17504"/>
                  <a:pt x="18442" y="17567"/>
                </a:cubicBezTo>
                <a:cubicBezTo>
                  <a:pt x="18442" y="17629"/>
                  <a:pt x="18466" y="17680"/>
                  <a:pt x="18496" y="17680"/>
                </a:cubicBezTo>
                <a:cubicBezTo>
                  <a:pt x="18526" y="17680"/>
                  <a:pt x="18550" y="17629"/>
                  <a:pt x="18550" y="17567"/>
                </a:cubicBezTo>
                <a:cubicBezTo>
                  <a:pt x="18550" y="17504"/>
                  <a:pt x="18526" y="17454"/>
                  <a:pt x="18496" y="17454"/>
                </a:cubicBezTo>
                <a:close/>
                <a:moveTo>
                  <a:pt x="18038" y="17454"/>
                </a:moveTo>
                <a:cubicBezTo>
                  <a:pt x="18008" y="17454"/>
                  <a:pt x="17984" y="17504"/>
                  <a:pt x="17984" y="17567"/>
                </a:cubicBezTo>
                <a:cubicBezTo>
                  <a:pt x="17984" y="17629"/>
                  <a:pt x="18008" y="17680"/>
                  <a:pt x="18038" y="17680"/>
                </a:cubicBezTo>
                <a:cubicBezTo>
                  <a:pt x="18067" y="17680"/>
                  <a:pt x="18092" y="17629"/>
                  <a:pt x="18092" y="17567"/>
                </a:cubicBezTo>
                <a:cubicBezTo>
                  <a:pt x="18092" y="17504"/>
                  <a:pt x="18067" y="17454"/>
                  <a:pt x="18038" y="17454"/>
                </a:cubicBezTo>
                <a:close/>
                <a:moveTo>
                  <a:pt x="18038" y="17780"/>
                </a:moveTo>
                <a:cubicBezTo>
                  <a:pt x="18008" y="17780"/>
                  <a:pt x="17984" y="17831"/>
                  <a:pt x="17984" y="17893"/>
                </a:cubicBezTo>
                <a:cubicBezTo>
                  <a:pt x="17984" y="17955"/>
                  <a:pt x="18008" y="18006"/>
                  <a:pt x="18038" y="18006"/>
                </a:cubicBezTo>
                <a:cubicBezTo>
                  <a:pt x="18067" y="18006"/>
                  <a:pt x="18092" y="17955"/>
                  <a:pt x="18092" y="17893"/>
                </a:cubicBezTo>
                <a:cubicBezTo>
                  <a:pt x="18092" y="17831"/>
                  <a:pt x="18067" y="17780"/>
                  <a:pt x="18038" y="17780"/>
                </a:cubicBezTo>
                <a:close/>
                <a:moveTo>
                  <a:pt x="18342" y="17454"/>
                </a:moveTo>
                <a:cubicBezTo>
                  <a:pt x="18312" y="17454"/>
                  <a:pt x="18288" y="17504"/>
                  <a:pt x="18288" y="17567"/>
                </a:cubicBezTo>
                <a:cubicBezTo>
                  <a:pt x="18288" y="17629"/>
                  <a:pt x="18312" y="17680"/>
                  <a:pt x="18342" y="17680"/>
                </a:cubicBezTo>
                <a:cubicBezTo>
                  <a:pt x="18372" y="17680"/>
                  <a:pt x="18396" y="17629"/>
                  <a:pt x="18396" y="17567"/>
                </a:cubicBezTo>
                <a:cubicBezTo>
                  <a:pt x="18396" y="17504"/>
                  <a:pt x="18372" y="17454"/>
                  <a:pt x="18342" y="17454"/>
                </a:cubicBezTo>
                <a:close/>
                <a:moveTo>
                  <a:pt x="18189" y="17454"/>
                </a:moveTo>
                <a:cubicBezTo>
                  <a:pt x="18160" y="17454"/>
                  <a:pt x="18136" y="17504"/>
                  <a:pt x="18136" y="17567"/>
                </a:cubicBezTo>
                <a:cubicBezTo>
                  <a:pt x="18136" y="17629"/>
                  <a:pt x="18160" y="17680"/>
                  <a:pt x="18189" y="17680"/>
                </a:cubicBezTo>
                <a:cubicBezTo>
                  <a:pt x="18219" y="17680"/>
                  <a:pt x="18243" y="17629"/>
                  <a:pt x="18243" y="17567"/>
                </a:cubicBezTo>
                <a:cubicBezTo>
                  <a:pt x="18243" y="17504"/>
                  <a:pt x="18219" y="17454"/>
                  <a:pt x="18189" y="17454"/>
                </a:cubicBezTo>
                <a:close/>
                <a:moveTo>
                  <a:pt x="18804" y="17780"/>
                </a:moveTo>
                <a:cubicBezTo>
                  <a:pt x="18774" y="17780"/>
                  <a:pt x="18750" y="17831"/>
                  <a:pt x="18750" y="17893"/>
                </a:cubicBezTo>
                <a:cubicBezTo>
                  <a:pt x="18750" y="17955"/>
                  <a:pt x="18774" y="18006"/>
                  <a:pt x="18804" y="18006"/>
                </a:cubicBezTo>
                <a:cubicBezTo>
                  <a:pt x="18834" y="18006"/>
                  <a:pt x="18858" y="17955"/>
                  <a:pt x="18858" y="17893"/>
                </a:cubicBezTo>
                <a:cubicBezTo>
                  <a:pt x="18858" y="17831"/>
                  <a:pt x="18834" y="17780"/>
                  <a:pt x="18804" y="17780"/>
                </a:cubicBezTo>
                <a:close/>
                <a:moveTo>
                  <a:pt x="18651" y="17780"/>
                </a:moveTo>
                <a:cubicBezTo>
                  <a:pt x="18622" y="17780"/>
                  <a:pt x="18598" y="17831"/>
                  <a:pt x="18598" y="17893"/>
                </a:cubicBezTo>
                <a:cubicBezTo>
                  <a:pt x="18598" y="17955"/>
                  <a:pt x="18622" y="18006"/>
                  <a:pt x="18651" y="18006"/>
                </a:cubicBezTo>
                <a:cubicBezTo>
                  <a:pt x="18681" y="18006"/>
                  <a:pt x="18705" y="17955"/>
                  <a:pt x="18705" y="17893"/>
                </a:cubicBezTo>
                <a:cubicBezTo>
                  <a:pt x="18705" y="17831"/>
                  <a:pt x="18681" y="17780"/>
                  <a:pt x="18651" y="17780"/>
                </a:cubicBezTo>
                <a:close/>
                <a:moveTo>
                  <a:pt x="18496" y="17780"/>
                </a:moveTo>
                <a:cubicBezTo>
                  <a:pt x="18466" y="17780"/>
                  <a:pt x="18442" y="17831"/>
                  <a:pt x="18442" y="17893"/>
                </a:cubicBezTo>
                <a:cubicBezTo>
                  <a:pt x="18442" y="17955"/>
                  <a:pt x="18466" y="18006"/>
                  <a:pt x="18496" y="18006"/>
                </a:cubicBezTo>
                <a:cubicBezTo>
                  <a:pt x="18526" y="18006"/>
                  <a:pt x="18550" y="17955"/>
                  <a:pt x="18550" y="17893"/>
                </a:cubicBezTo>
                <a:cubicBezTo>
                  <a:pt x="18550" y="17831"/>
                  <a:pt x="18526" y="17780"/>
                  <a:pt x="18496" y="17780"/>
                </a:cubicBezTo>
                <a:close/>
                <a:moveTo>
                  <a:pt x="18342" y="17780"/>
                </a:moveTo>
                <a:cubicBezTo>
                  <a:pt x="18312" y="17780"/>
                  <a:pt x="18288" y="17831"/>
                  <a:pt x="18288" y="17893"/>
                </a:cubicBezTo>
                <a:cubicBezTo>
                  <a:pt x="18288" y="17955"/>
                  <a:pt x="18312" y="18006"/>
                  <a:pt x="18342" y="18006"/>
                </a:cubicBezTo>
                <a:cubicBezTo>
                  <a:pt x="18372" y="18006"/>
                  <a:pt x="18396" y="17955"/>
                  <a:pt x="18396" y="17893"/>
                </a:cubicBezTo>
                <a:cubicBezTo>
                  <a:pt x="18396" y="17831"/>
                  <a:pt x="18372" y="17780"/>
                  <a:pt x="18342" y="17780"/>
                </a:cubicBezTo>
                <a:close/>
                <a:moveTo>
                  <a:pt x="18189" y="17780"/>
                </a:moveTo>
                <a:cubicBezTo>
                  <a:pt x="18160" y="17780"/>
                  <a:pt x="18136" y="17831"/>
                  <a:pt x="18136" y="17893"/>
                </a:cubicBezTo>
                <a:cubicBezTo>
                  <a:pt x="18136" y="17955"/>
                  <a:pt x="18160" y="18006"/>
                  <a:pt x="18189" y="18006"/>
                </a:cubicBezTo>
                <a:cubicBezTo>
                  <a:pt x="18219" y="18006"/>
                  <a:pt x="18243" y="17955"/>
                  <a:pt x="18243" y="17893"/>
                </a:cubicBezTo>
                <a:cubicBezTo>
                  <a:pt x="18243" y="17831"/>
                  <a:pt x="18219" y="17780"/>
                  <a:pt x="18189" y="17780"/>
                </a:cubicBezTo>
                <a:close/>
                <a:moveTo>
                  <a:pt x="16956" y="18118"/>
                </a:moveTo>
                <a:cubicBezTo>
                  <a:pt x="16926" y="18118"/>
                  <a:pt x="16902" y="18169"/>
                  <a:pt x="16902" y="18231"/>
                </a:cubicBezTo>
                <a:cubicBezTo>
                  <a:pt x="16902" y="18294"/>
                  <a:pt x="16926" y="18344"/>
                  <a:pt x="16956" y="18344"/>
                </a:cubicBezTo>
                <a:cubicBezTo>
                  <a:pt x="16986" y="18344"/>
                  <a:pt x="17010" y="18294"/>
                  <a:pt x="17010" y="18231"/>
                </a:cubicBezTo>
                <a:cubicBezTo>
                  <a:pt x="17010" y="18169"/>
                  <a:pt x="16986" y="18118"/>
                  <a:pt x="16956" y="18118"/>
                </a:cubicBezTo>
                <a:close/>
                <a:moveTo>
                  <a:pt x="17111" y="18118"/>
                </a:moveTo>
                <a:cubicBezTo>
                  <a:pt x="17081" y="18118"/>
                  <a:pt x="17057" y="18169"/>
                  <a:pt x="17057" y="18231"/>
                </a:cubicBezTo>
                <a:cubicBezTo>
                  <a:pt x="17057" y="18294"/>
                  <a:pt x="17081" y="18344"/>
                  <a:pt x="17111" y="18344"/>
                </a:cubicBezTo>
                <a:cubicBezTo>
                  <a:pt x="17141" y="18344"/>
                  <a:pt x="17165" y="18294"/>
                  <a:pt x="17165" y="18231"/>
                </a:cubicBezTo>
                <a:cubicBezTo>
                  <a:pt x="17165" y="18169"/>
                  <a:pt x="17141" y="18118"/>
                  <a:pt x="17111" y="18118"/>
                </a:cubicBezTo>
                <a:close/>
                <a:moveTo>
                  <a:pt x="17266" y="18118"/>
                </a:moveTo>
                <a:cubicBezTo>
                  <a:pt x="17236" y="18118"/>
                  <a:pt x="17212" y="18169"/>
                  <a:pt x="17212" y="18231"/>
                </a:cubicBezTo>
                <a:cubicBezTo>
                  <a:pt x="17212" y="18294"/>
                  <a:pt x="17236" y="18344"/>
                  <a:pt x="17266" y="18344"/>
                </a:cubicBezTo>
                <a:cubicBezTo>
                  <a:pt x="17296" y="18344"/>
                  <a:pt x="17320" y="18294"/>
                  <a:pt x="17320" y="18231"/>
                </a:cubicBezTo>
                <a:cubicBezTo>
                  <a:pt x="17320" y="18169"/>
                  <a:pt x="17296" y="18118"/>
                  <a:pt x="17266" y="18118"/>
                </a:cubicBezTo>
                <a:close/>
                <a:moveTo>
                  <a:pt x="16956" y="17780"/>
                </a:moveTo>
                <a:cubicBezTo>
                  <a:pt x="16926" y="17780"/>
                  <a:pt x="16902" y="17830"/>
                  <a:pt x="16902" y="17893"/>
                </a:cubicBezTo>
                <a:cubicBezTo>
                  <a:pt x="16902" y="17955"/>
                  <a:pt x="16926" y="18006"/>
                  <a:pt x="16956" y="18006"/>
                </a:cubicBezTo>
                <a:cubicBezTo>
                  <a:pt x="16986" y="18006"/>
                  <a:pt x="17010" y="17955"/>
                  <a:pt x="17010" y="17893"/>
                </a:cubicBezTo>
                <a:cubicBezTo>
                  <a:pt x="17010" y="17830"/>
                  <a:pt x="16986" y="17780"/>
                  <a:pt x="16956" y="17780"/>
                </a:cubicBezTo>
                <a:close/>
                <a:moveTo>
                  <a:pt x="16956" y="17454"/>
                </a:moveTo>
                <a:cubicBezTo>
                  <a:pt x="16926" y="17454"/>
                  <a:pt x="16902" y="17504"/>
                  <a:pt x="16902" y="17567"/>
                </a:cubicBezTo>
                <a:cubicBezTo>
                  <a:pt x="16902" y="17629"/>
                  <a:pt x="16926" y="17680"/>
                  <a:pt x="16956" y="17680"/>
                </a:cubicBezTo>
                <a:cubicBezTo>
                  <a:pt x="16986" y="17680"/>
                  <a:pt x="17010" y="17629"/>
                  <a:pt x="17010" y="17567"/>
                </a:cubicBezTo>
                <a:cubicBezTo>
                  <a:pt x="17010" y="17504"/>
                  <a:pt x="16986" y="17454"/>
                  <a:pt x="16956" y="17454"/>
                </a:cubicBezTo>
                <a:close/>
                <a:moveTo>
                  <a:pt x="16956" y="17143"/>
                </a:moveTo>
                <a:cubicBezTo>
                  <a:pt x="16926" y="17143"/>
                  <a:pt x="16902" y="17193"/>
                  <a:pt x="16902" y="17256"/>
                </a:cubicBezTo>
                <a:cubicBezTo>
                  <a:pt x="16902" y="17318"/>
                  <a:pt x="16926" y="17369"/>
                  <a:pt x="16956" y="17369"/>
                </a:cubicBezTo>
                <a:cubicBezTo>
                  <a:pt x="16986" y="17369"/>
                  <a:pt x="17010" y="17318"/>
                  <a:pt x="17010" y="17256"/>
                </a:cubicBezTo>
                <a:cubicBezTo>
                  <a:pt x="17010" y="17193"/>
                  <a:pt x="16986" y="17143"/>
                  <a:pt x="16956" y="17143"/>
                </a:cubicBezTo>
                <a:close/>
                <a:moveTo>
                  <a:pt x="16956" y="16475"/>
                </a:moveTo>
                <a:cubicBezTo>
                  <a:pt x="16926" y="16475"/>
                  <a:pt x="16902" y="16525"/>
                  <a:pt x="16902" y="16588"/>
                </a:cubicBezTo>
                <a:cubicBezTo>
                  <a:pt x="16902" y="16650"/>
                  <a:pt x="16926" y="16701"/>
                  <a:pt x="16956" y="16701"/>
                </a:cubicBezTo>
                <a:cubicBezTo>
                  <a:pt x="16986" y="16701"/>
                  <a:pt x="17010" y="16650"/>
                  <a:pt x="17010" y="16588"/>
                </a:cubicBezTo>
                <a:cubicBezTo>
                  <a:pt x="17010" y="16525"/>
                  <a:pt x="16986" y="16475"/>
                  <a:pt x="16956" y="16475"/>
                </a:cubicBezTo>
                <a:close/>
                <a:moveTo>
                  <a:pt x="16956" y="16801"/>
                </a:moveTo>
                <a:cubicBezTo>
                  <a:pt x="16926" y="16801"/>
                  <a:pt x="16902" y="16852"/>
                  <a:pt x="16902" y="16914"/>
                </a:cubicBezTo>
                <a:cubicBezTo>
                  <a:pt x="16902" y="16977"/>
                  <a:pt x="16926" y="17027"/>
                  <a:pt x="16956" y="17027"/>
                </a:cubicBezTo>
                <a:cubicBezTo>
                  <a:pt x="16986" y="17027"/>
                  <a:pt x="17010" y="16977"/>
                  <a:pt x="17010" y="16914"/>
                </a:cubicBezTo>
                <a:cubicBezTo>
                  <a:pt x="17010" y="16852"/>
                  <a:pt x="16986" y="16801"/>
                  <a:pt x="16956" y="16801"/>
                </a:cubicBezTo>
                <a:close/>
                <a:moveTo>
                  <a:pt x="17111" y="17780"/>
                </a:moveTo>
                <a:cubicBezTo>
                  <a:pt x="17081" y="17780"/>
                  <a:pt x="17057" y="17830"/>
                  <a:pt x="17057" y="17893"/>
                </a:cubicBezTo>
                <a:cubicBezTo>
                  <a:pt x="17057" y="17955"/>
                  <a:pt x="17081" y="18006"/>
                  <a:pt x="17111" y="18006"/>
                </a:cubicBezTo>
                <a:cubicBezTo>
                  <a:pt x="17141" y="18006"/>
                  <a:pt x="17165" y="17955"/>
                  <a:pt x="17165" y="17893"/>
                </a:cubicBezTo>
                <a:cubicBezTo>
                  <a:pt x="17165" y="17830"/>
                  <a:pt x="17141" y="17780"/>
                  <a:pt x="17111" y="17780"/>
                </a:cubicBezTo>
                <a:close/>
                <a:moveTo>
                  <a:pt x="17111" y="17454"/>
                </a:moveTo>
                <a:cubicBezTo>
                  <a:pt x="17081" y="17454"/>
                  <a:pt x="17057" y="17504"/>
                  <a:pt x="17057" y="17567"/>
                </a:cubicBezTo>
                <a:cubicBezTo>
                  <a:pt x="17057" y="17629"/>
                  <a:pt x="17081" y="17680"/>
                  <a:pt x="17111" y="17680"/>
                </a:cubicBezTo>
                <a:cubicBezTo>
                  <a:pt x="17141" y="17680"/>
                  <a:pt x="17165" y="17629"/>
                  <a:pt x="17165" y="17567"/>
                </a:cubicBezTo>
                <a:cubicBezTo>
                  <a:pt x="17165" y="17504"/>
                  <a:pt x="17141" y="17454"/>
                  <a:pt x="17111" y="17454"/>
                </a:cubicBezTo>
                <a:close/>
                <a:moveTo>
                  <a:pt x="17111" y="17143"/>
                </a:moveTo>
                <a:cubicBezTo>
                  <a:pt x="17081" y="17143"/>
                  <a:pt x="17057" y="17193"/>
                  <a:pt x="17057" y="17256"/>
                </a:cubicBezTo>
                <a:cubicBezTo>
                  <a:pt x="17057" y="17318"/>
                  <a:pt x="17081" y="17369"/>
                  <a:pt x="17111" y="17369"/>
                </a:cubicBezTo>
                <a:cubicBezTo>
                  <a:pt x="17141" y="17369"/>
                  <a:pt x="17165" y="17318"/>
                  <a:pt x="17165" y="17256"/>
                </a:cubicBezTo>
                <a:cubicBezTo>
                  <a:pt x="17165" y="17193"/>
                  <a:pt x="17141" y="17143"/>
                  <a:pt x="17111" y="17143"/>
                </a:cubicBezTo>
                <a:close/>
                <a:moveTo>
                  <a:pt x="17111" y="16475"/>
                </a:moveTo>
                <a:cubicBezTo>
                  <a:pt x="17081" y="16475"/>
                  <a:pt x="17057" y="16525"/>
                  <a:pt x="17057" y="16588"/>
                </a:cubicBezTo>
                <a:cubicBezTo>
                  <a:pt x="17057" y="16650"/>
                  <a:pt x="17081" y="16701"/>
                  <a:pt x="17111" y="16701"/>
                </a:cubicBezTo>
                <a:cubicBezTo>
                  <a:pt x="17141" y="16701"/>
                  <a:pt x="17165" y="16650"/>
                  <a:pt x="17165" y="16588"/>
                </a:cubicBezTo>
                <a:cubicBezTo>
                  <a:pt x="17165" y="16525"/>
                  <a:pt x="17141" y="16475"/>
                  <a:pt x="17111" y="16475"/>
                </a:cubicBezTo>
                <a:close/>
                <a:moveTo>
                  <a:pt x="17111" y="16801"/>
                </a:moveTo>
                <a:cubicBezTo>
                  <a:pt x="17081" y="16801"/>
                  <a:pt x="17057" y="16852"/>
                  <a:pt x="17057" y="16914"/>
                </a:cubicBezTo>
                <a:cubicBezTo>
                  <a:pt x="17057" y="16977"/>
                  <a:pt x="17081" y="17027"/>
                  <a:pt x="17111" y="17027"/>
                </a:cubicBezTo>
                <a:cubicBezTo>
                  <a:pt x="17141" y="17027"/>
                  <a:pt x="17165" y="16977"/>
                  <a:pt x="17165" y="16914"/>
                </a:cubicBezTo>
                <a:cubicBezTo>
                  <a:pt x="17165" y="16852"/>
                  <a:pt x="17141" y="16801"/>
                  <a:pt x="17111" y="16801"/>
                </a:cubicBezTo>
                <a:close/>
                <a:moveTo>
                  <a:pt x="17111" y="16188"/>
                </a:moveTo>
                <a:cubicBezTo>
                  <a:pt x="17081" y="16188"/>
                  <a:pt x="17057" y="16239"/>
                  <a:pt x="17057" y="16301"/>
                </a:cubicBezTo>
                <a:cubicBezTo>
                  <a:pt x="17057" y="16364"/>
                  <a:pt x="17081" y="16414"/>
                  <a:pt x="17111" y="16414"/>
                </a:cubicBezTo>
                <a:cubicBezTo>
                  <a:pt x="17141" y="16414"/>
                  <a:pt x="17165" y="16364"/>
                  <a:pt x="17165" y="16301"/>
                </a:cubicBezTo>
                <a:cubicBezTo>
                  <a:pt x="17165" y="16239"/>
                  <a:pt x="17141" y="16188"/>
                  <a:pt x="17111" y="16188"/>
                </a:cubicBezTo>
                <a:close/>
                <a:moveTo>
                  <a:pt x="17266" y="17780"/>
                </a:moveTo>
                <a:cubicBezTo>
                  <a:pt x="17236" y="17780"/>
                  <a:pt x="17212" y="17830"/>
                  <a:pt x="17212" y="17893"/>
                </a:cubicBezTo>
                <a:cubicBezTo>
                  <a:pt x="17212" y="17955"/>
                  <a:pt x="17236" y="18006"/>
                  <a:pt x="17266" y="18006"/>
                </a:cubicBezTo>
                <a:cubicBezTo>
                  <a:pt x="17296" y="18006"/>
                  <a:pt x="17320" y="17955"/>
                  <a:pt x="17320" y="17893"/>
                </a:cubicBezTo>
                <a:cubicBezTo>
                  <a:pt x="17320" y="17830"/>
                  <a:pt x="17296" y="17780"/>
                  <a:pt x="17266" y="17780"/>
                </a:cubicBezTo>
                <a:close/>
                <a:moveTo>
                  <a:pt x="17266" y="17454"/>
                </a:moveTo>
                <a:cubicBezTo>
                  <a:pt x="17236" y="17454"/>
                  <a:pt x="17212" y="17504"/>
                  <a:pt x="17212" y="17567"/>
                </a:cubicBezTo>
                <a:cubicBezTo>
                  <a:pt x="17212" y="17629"/>
                  <a:pt x="17236" y="17680"/>
                  <a:pt x="17266" y="17680"/>
                </a:cubicBezTo>
                <a:cubicBezTo>
                  <a:pt x="17296" y="17680"/>
                  <a:pt x="17320" y="17629"/>
                  <a:pt x="17320" y="17567"/>
                </a:cubicBezTo>
                <a:cubicBezTo>
                  <a:pt x="17320" y="17504"/>
                  <a:pt x="17296" y="17454"/>
                  <a:pt x="17266" y="17454"/>
                </a:cubicBezTo>
                <a:close/>
                <a:moveTo>
                  <a:pt x="17266" y="17143"/>
                </a:moveTo>
                <a:cubicBezTo>
                  <a:pt x="17236" y="17143"/>
                  <a:pt x="17212" y="17193"/>
                  <a:pt x="17212" y="17256"/>
                </a:cubicBezTo>
                <a:cubicBezTo>
                  <a:pt x="17212" y="17318"/>
                  <a:pt x="17236" y="17369"/>
                  <a:pt x="17266" y="17369"/>
                </a:cubicBezTo>
                <a:cubicBezTo>
                  <a:pt x="17296" y="17369"/>
                  <a:pt x="17320" y="17318"/>
                  <a:pt x="17320" y="17256"/>
                </a:cubicBezTo>
                <a:cubicBezTo>
                  <a:pt x="17320" y="17193"/>
                  <a:pt x="17296" y="17143"/>
                  <a:pt x="17266" y="17143"/>
                </a:cubicBezTo>
                <a:close/>
                <a:moveTo>
                  <a:pt x="17266" y="16475"/>
                </a:moveTo>
                <a:cubicBezTo>
                  <a:pt x="17236" y="16475"/>
                  <a:pt x="17212" y="16525"/>
                  <a:pt x="17212" y="16588"/>
                </a:cubicBezTo>
                <a:cubicBezTo>
                  <a:pt x="17212" y="16650"/>
                  <a:pt x="17236" y="16701"/>
                  <a:pt x="17266" y="16701"/>
                </a:cubicBezTo>
                <a:cubicBezTo>
                  <a:pt x="17296" y="16701"/>
                  <a:pt x="17320" y="16650"/>
                  <a:pt x="17320" y="16588"/>
                </a:cubicBezTo>
                <a:cubicBezTo>
                  <a:pt x="17320" y="16525"/>
                  <a:pt x="17296" y="16475"/>
                  <a:pt x="17266" y="16475"/>
                </a:cubicBezTo>
                <a:close/>
                <a:moveTo>
                  <a:pt x="17266" y="16801"/>
                </a:moveTo>
                <a:cubicBezTo>
                  <a:pt x="17236" y="16801"/>
                  <a:pt x="17212" y="16852"/>
                  <a:pt x="17212" y="16914"/>
                </a:cubicBezTo>
                <a:cubicBezTo>
                  <a:pt x="17212" y="16977"/>
                  <a:pt x="17236" y="17027"/>
                  <a:pt x="17266" y="17027"/>
                </a:cubicBezTo>
                <a:cubicBezTo>
                  <a:pt x="17296" y="17027"/>
                  <a:pt x="17320" y="16977"/>
                  <a:pt x="17320" y="16914"/>
                </a:cubicBezTo>
                <a:cubicBezTo>
                  <a:pt x="17320" y="16852"/>
                  <a:pt x="17296" y="16801"/>
                  <a:pt x="17266" y="16801"/>
                </a:cubicBezTo>
                <a:close/>
                <a:moveTo>
                  <a:pt x="17266" y="16188"/>
                </a:moveTo>
                <a:cubicBezTo>
                  <a:pt x="17236" y="16188"/>
                  <a:pt x="17212" y="16239"/>
                  <a:pt x="17212" y="16301"/>
                </a:cubicBezTo>
                <a:cubicBezTo>
                  <a:pt x="17212" y="16364"/>
                  <a:pt x="17236" y="16414"/>
                  <a:pt x="17266" y="16414"/>
                </a:cubicBezTo>
                <a:cubicBezTo>
                  <a:pt x="17296" y="16414"/>
                  <a:pt x="17320" y="16364"/>
                  <a:pt x="17320" y="16301"/>
                </a:cubicBezTo>
                <a:cubicBezTo>
                  <a:pt x="17320" y="16239"/>
                  <a:pt x="17296" y="16188"/>
                  <a:pt x="17266" y="16188"/>
                </a:cubicBezTo>
                <a:close/>
                <a:moveTo>
                  <a:pt x="17415" y="17780"/>
                </a:moveTo>
                <a:cubicBezTo>
                  <a:pt x="17386" y="17780"/>
                  <a:pt x="17361" y="17830"/>
                  <a:pt x="17361" y="17893"/>
                </a:cubicBezTo>
                <a:cubicBezTo>
                  <a:pt x="17361" y="17955"/>
                  <a:pt x="17386" y="18006"/>
                  <a:pt x="17415" y="18006"/>
                </a:cubicBezTo>
                <a:cubicBezTo>
                  <a:pt x="17445" y="18006"/>
                  <a:pt x="17469" y="17955"/>
                  <a:pt x="17469" y="17893"/>
                </a:cubicBezTo>
                <a:cubicBezTo>
                  <a:pt x="17469" y="17830"/>
                  <a:pt x="17445" y="17780"/>
                  <a:pt x="17415" y="17780"/>
                </a:cubicBezTo>
                <a:close/>
                <a:moveTo>
                  <a:pt x="17415" y="17454"/>
                </a:moveTo>
                <a:cubicBezTo>
                  <a:pt x="17386" y="17454"/>
                  <a:pt x="17361" y="17504"/>
                  <a:pt x="17361" y="17567"/>
                </a:cubicBezTo>
                <a:cubicBezTo>
                  <a:pt x="17361" y="17629"/>
                  <a:pt x="17386" y="17680"/>
                  <a:pt x="17415" y="17680"/>
                </a:cubicBezTo>
                <a:cubicBezTo>
                  <a:pt x="17445" y="17680"/>
                  <a:pt x="17469" y="17629"/>
                  <a:pt x="17469" y="17567"/>
                </a:cubicBezTo>
                <a:cubicBezTo>
                  <a:pt x="17469" y="17504"/>
                  <a:pt x="17445" y="17454"/>
                  <a:pt x="17415" y="17454"/>
                </a:cubicBezTo>
                <a:close/>
                <a:moveTo>
                  <a:pt x="17415" y="17143"/>
                </a:moveTo>
                <a:cubicBezTo>
                  <a:pt x="17386" y="17143"/>
                  <a:pt x="17361" y="17193"/>
                  <a:pt x="17361" y="17256"/>
                </a:cubicBezTo>
                <a:cubicBezTo>
                  <a:pt x="17361" y="17318"/>
                  <a:pt x="17386" y="17369"/>
                  <a:pt x="17415" y="17369"/>
                </a:cubicBezTo>
                <a:cubicBezTo>
                  <a:pt x="17445" y="17369"/>
                  <a:pt x="17469" y="17318"/>
                  <a:pt x="17469" y="17256"/>
                </a:cubicBezTo>
                <a:cubicBezTo>
                  <a:pt x="17469" y="17193"/>
                  <a:pt x="17445" y="17143"/>
                  <a:pt x="17415" y="17143"/>
                </a:cubicBezTo>
                <a:close/>
                <a:moveTo>
                  <a:pt x="17415" y="16475"/>
                </a:moveTo>
                <a:cubicBezTo>
                  <a:pt x="17386" y="16475"/>
                  <a:pt x="17361" y="16525"/>
                  <a:pt x="17361" y="16588"/>
                </a:cubicBezTo>
                <a:cubicBezTo>
                  <a:pt x="17361" y="16650"/>
                  <a:pt x="17386" y="16701"/>
                  <a:pt x="17415" y="16701"/>
                </a:cubicBezTo>
                <a:cubicBezTo>
                  <a:pt x="17445" y="16701"/>
                  <a:pt x="17469" y="16650"/>
                  <a:pt x="17469" y="16588"/>
                </a:cubicBezTo>
                <a:cubicBezTo>
                  <a:pt x="17469" y="16525"/>
                  <a:pt x="17445" y="16475"/>
                  <a:pt x="17415" y="16475"/>
                </a:cubicBezTo>
                <a:close/>
                <a:moveTo>
                  <a:pt x="17415" y="16801"/>
                </a:moveTo>
                <a:cubicBezTo>
                  <a:pt x="17386" y="16801"/>
                  <a:pt x="17361" y="16852"/>
                  <a:pt x="17361" y="16914"/>
                </a:cubicBezTo>
                <a:cubicBezTo>
                  <a:pt x="17361" y="16977"/>
                  <a:pt x="17386" y="17027"/>
                  <a:pt x="17415" y="17027"/>
                </a:cubicBezTo>
                <a:cubicBezTo>
                  <a:pt x="17445" y="17027"/>
                  <a:pt x="17469" y="16977"/>
                  <a:pt x="17469" y="16914"/>
                </a:cubicBezTo>
                <a:cubicBezTo>
                  <a:pt x="17469" y="16852"/>
                  <a:pt x="17445" y="16801"/>
                  <a:pt x="17415" y="16801"/>
                </a:cubicBezTo>
                <a:close/>
                <a:moveTo>
                  <a:pt x="17415" y="15862"/>
                </a:moveTo>
                <a:cubicBezTo>
                  <a:pt x="17386" y="15862"/>
                  <a:pt x="17361" y="15912"/>
                  <a:pt x="17361" y="15975"/>
                </a:cubicBezTo>
                <a:cubicBezTo>
                  <a:pt x="17361" y="16037"/>
                  <a:pt x="17386" y="16088"/>
                  <a:pt x="17415" y="16088"/>
                </a:cubicBezTo>
                <a:cubicBezTo>
                  <a:pt x="17445" y="16088"/>
                  <a:pt x="17469" y="16037"/>
                  <a:pt x="17469" y="15975"/>
                </a:cubicBezTo>
                <a:cubicBezTo>
                  <a:pt x="17469" y="15912"/>
                  <a:pt x="17445" y="15862"/>
                  <a:pt x="17415" y="15862"/>
                </a:cubicBezTo>
                <a:close/>
                <a:moveTo>
                  <a:pt x="17415" y="16188"/>
                </a:moveTo>
                <a:cubicBezTo>
                  <a:pt x="17386" y="16188"/>
                  <a:pt x="17361" y="16239"/>
                  <a:pt x="17361" y="16301"/>
                </a:cubicBezTo>
                <a:cubicBezTo>
                  <a:pt x="17361" y="16364"/>
                  <a:pt x="17386" y="16414"/>
                  <a:pt x="17415" y="16414"/>
                </a:cubicBezTo>
                <a:cubicBezTo>
                  <a:pt x="17445" y="16414"/>
                  <a:pt x="17469" y="16364"/>
                  <a:pt x="17469" y="16301"/>
                </a:cubicBezTo>
                <a:cubicBezTo>
                  <a:pt x="17469" y="16239"/>
                  <a:pt x="17445" y="16188"/>
                  <a:pt x="17415" y="16188"/>
                </a:cubicBezTo>
                <a:close/>
                <a:moveTo>
                  <a:pt x="17570" y="17780"/>
                </a:moveTo>
                <a:cubicBezTo>
                  <a:pt x="17541" y="17780"/>
                  <a:pt x="17517" y="17830"/>
                  <a:pt x="17517" y="17893"/>
                </a:cubicBezTo>
                <a:cubicBezTo>
                  <a:pt x="17517" y="17955"/>
                  <a:pt x="17541" y="18006"/>
                  <a:pt x="17570" y="18006"/>
                </a:cubicBezTo>
                <a:cubicBezTo>
                  <a:pt x="17600" y="18006"/>
                  <a:pt x="17624" y="17955"/>
                  <a:pt x="17624" y="17893"/>
                </a:cubicBezTo>
                <a:cubicBezTo>
                  <a:pt x="17624" y="17830"/>
                  <a:pt x="17600" y="17780"/>
                  <a:pt x="17570" y="17780"/>
                </a:cubicBezTo>
                <a:close/>
                <a:moveTo>
                  <a:pt x="17570" y="17454"/>
                </a:moveTo>
                <a:cubicBezTo>
                  <a:pt x="17541" y="17454"/>
                  <a:pt x="17517" y="17504"/>
                  <a:pt x="17517" y="17567"/>
                </a:cubicBezTo>
                <a:cubicBezTo>
                  <a:pt x="17517" y="17629"/>
                  <a:pt x="17541" y="17680"/>
                  <a:pt x="17570" y="17680"/>
                </a:cubicBezTo>
                <a:cubicBezTo>
                  <a:pt x="17600" y="17680"/>
                  <a:pt x="17624" y="17629"/>
                  <a:pt x="17624" y="17567"/>
                </a:cubicBezTo>
                <a:cubicBezTo>
                  <a:pt x="17624" y="17504"/>
                  <a:pt x="17600" y="17454"/>
                  <a:pt x="17570" y="17454"/>
                </a:cubicBezTo>
                <a:close/>
                <a:moveTo>
                  <a:pt x="17570" y="17143"/>
                </a:moveTo>
                <a:cubicBezTo>
                  <a:pt x="17541" y="17143"/>
                  <a:pt x="17517" y="17193"/>
                  <a:pt x="17517" y="17256"/>
                </a:cubicBezTo>
                <a:cubicBezTo>
                  <a:pt x="17517" y="17318"/>
                  <a:pt x="17541" y="17369"/>
                  <a:pt x="17570" y="17369"/>
                </a:cubicBezTo>
                <a:cubicBezTo>
                  <a:pt x="17600" y="17369"/>
                  <a:pt x="17624" y="17318"/>
                  <a:pt x="17624" y="17256"/>
                </a:cubicBezTo>
                <a:cubicBezTo>
                  <a:pt x="17624" y="17193"/>
                  <a:pt x="17600" y="17143"/>
                  <a:pt x="17570" y="17143"/>
                </a:cubicBezTo>
                <a:close/>
                <a:moveTo>
                  <a:pt x="17570" y="16475"/>
                </a:moveTo>
                <a:cubicBezTo>
                  <a:pt x="17541" y="16475"/>
                  <a:pt x="17517" y="16525"/>
                  <a:pt x="17517" y="16588"/>
                </a:cubicBezTo>
                <a:cubicBezTo>
                  <a:pt x="17517" y="16650"/>
                  <a:pt x="17541" y="16701"/>
                  <a:pt x="17570" y="16701"/>
                </a:cubicBezTo>
                <a:cubicBezTo>
                  <a:pt x="17600" y="16701"/>
                  <a:pt x="17624" y="16650"/>
                  <a:pt x="17624" y="16588"/>
                </a:cubicBezTo>
                <a:cubicBezTo>
                  <a:pt x="17624" y="16525"/>
                  <a:pt x="17600" y="16475"/>
                  <a:pt x="17570" y="16475"/>
                </a:cubicBezTo>
                <a:close/>
                <a:moveTo>
                  <a:pt x="17570" y="16801"/>
                </a:moveTo>
                <a:cubicBezTo>
                  <a:pt x="17541" y="16801"/>
                  <a:pt x="17517" y="16852"/>
                  <a:pt x="17517" y="16914"/>
                </a:cubicBezTo>
                <a:cubicBezTo>
                  <a:pt x="17517" y="16977"/>
                  <a:pt x="17541" y="17027"/>
                  <a:pt x="17570" y="17027"/>
                </a:cubicBezTo>
                <a:cubicBezTo>
                  <a:pt x="17600" y="17027"/>
                  <a:pt x="17624" y="16977"/>
                  <a:pt x="17624" y="16914"/>
                </a:cubicBezTo>
                <a:cubicBezTo>
                  <a:pt x="17624" y="16852"/>
                  <a:pt x="17600" y="16801"/>
                  <a:pt x="17570" y="16801"/>
                </a:cubicBezTo>
                <a:close/>
                <a:moveTo>
                  <a:pt x="17570" y="15862"/>
                </a:moveTo>
                <a:cubicBezTo>
                  <a:pt x="17541" y="15862"/>
                  <a:pt x="17517" y="15912"/>
                  <a:pt x="17517" y="15975"/>
                </a:cubicBezTo>
                <a:cubicBezTo>
                  <a:pt x="17517" y="16037"/>
                  <a:pt x="17541" y="16088"/>
                  <a:pt x="17570" y="16088"/>
                </a:cubicBezTo>
                <a:cubicBezTo>
                  <a:pt x="17600" y="16088"/>
                  <a:pt x="17624" y="16037"/>
                  <a:pt x="17624" y="15975"/>
                </a:cubicBezTo>
                <a:cubicBezTo>
                  <a:pt x="17624" y="15912"/>
                  <a:pt x="17600" y="15862"/>
                  <a:pt x="17570" y="15862"/>
                </a:cubicBezTo>
                <a:close/>
                <a:moveTo>
                  <a:pt x="17570" y="16188"/>
                </a:moveTo>
                <a:cubicBezTo>
                  <a:pt x="17541" y="16188"/>
                  <a:pt x="17517" y="16239"/>
                  <a:pt x="17517" y="16301"/>
                </a:cubicBezTo>
                <a:cubicBezTo>
                  <a:pt x="17517" y="16364"/>
                  <a:pt x="17541" y="16414"/>
                  <a:pt x="17570" y="16414"/>
                </a:cubicBezTo>
                <a:cubicBezTo>
                  <a:pt x="17600" y="16414"/>
                  <a:pt x="17624" y="16364"/>
                  <a:pt x="17624" y="16301"/>
                </a:cubicBezTo>
                <a:cubicBezTo>
                  <a:pt x="17624" y="16239"/>
                  <a:pt x="17600" y="16188"/>
                  <a:pt x="17570" y="16188"/>
                </a:cubicBezTo>
                <a:close/>
                <a:moveTo>
                  <a:pt x="17731" y="17780"/>
                </a:moveTo>
                <a:cubicBezTo>
                  <a:pt x="17701" y="17780"/>
                  <a:pt x="17677" y="17830"/>
                  <a:pt x="17677" y="17893"/>
                </a:cubicBezTo>
                <a:cubicBezTo>
                  <a:pt x="17677" y="17955"/>
                  <a:pt x="17701" y="18006"/>
                  <a:pt x="17731" y="18006"/>
                </a:cubicBezTo>
                <a:cubicBezTo>
                  <a:pt x="17761" y="18006"/>
                  <a:pt x="17785" y="17955"/>
                  <a:pt x="17785" y="17893"/>
                </a:cubicBezTo>
                <a:cubicBezTo>
                  <a:pt x="17785" y="17830"/>
                  <a:pt x="17761" y="17780"/>
                  <a:pt x="17731" y="17780"/>
                </a:cubicBezTo>
                <a:close/>
                <a:moveTo>
                  <a:pt x="17731" y="17454"/>
                </a:moveTo>
                <a:cubicBezTo>
                  <a:pt x="17701" y="17454"/>
                  <a:pt x="17677" y="17504"/>
                  <a:pt x="17677" y="17567"/>
                </a:cubicBezTo>
                <a:cubicBezTo>
                  <a:pt x="17677" y="17629"/>
                  <a:pt x="17701" y="17680"/>
                  <a:pt x="17731" y="17680"/>
                </a:cubicBezTo>
                <a:cubicBezTo>
                  <a:pt x="17761" y="17680"/>
                  <a:pt x="17785" y="17629"/>
                  <a:pt x="17785" y="17567"/>
                </a:cubicBezTo>
                <a:cubicBezTo>
                  <a:pt x="17785" y="17504"/>
                  <a:pt x="17761" y="17454"/>
                  <a:pt x="17731" y="17454"/>
                </a:cubicBezTo>
                <a:close/>
                <a:moveTo>
                  <a:pt x="17731" y="17143"/>
                </a:moveTo>
                <a:cubicBezTo>
                  <a:pt x="17701" y="17143"/>
                  <a:pt x="17677" y="17193"/>
                  <a:pt x="17677" y="17256"/>
                </a:cubicBezTo>
                <a:cubicBezTo>
                  <a:pt x="17677" y="17318"/>
                  <a:pt x="17701" y="17369"/>
                  <a:pt x="17731" y="17369"/>
                </a:cubicBezTo>
                <a:cubicBezTo>
                  <a:pt x="17761" y="17369"/>
                  <a:pt x="17785" y="17318"/>
                  <a:pt x="17785" y="17256"/>
                </a:cubicBezTo>
                <a:cubicBezTo>
                  <a:pt x="17785" y="17193"/>
                  <a:pt x="17761" y="17143"/>
                  <a:pt x="17731" y="17143"/>
                </a:cubicBezTo>
                <a:close/>
                <a:moveTo>
                  <a:pt x="17731" y="16475"/>
                </a:moveTo>
                <a:cubicBezTo>
                  <a:pt x="17701" y="16475"/>
                  <a:pt x="17677" y="16525"/>
                  <a:pt x="17677" y="16588"/>
                </a:cubicBezTo>
                <a:cubicBezTo>
                  <a:pt x="17677" y="16650"/>
                  <a:pt x="17701" y="16701"/>
                  <a:pt x="17731" y="16701"/>
                </a:cubicBezTo>
                <a:cubicBezTo>
                  <a:pt x="17761" y="16701"/>
                  <a:pt x="17785" y="16650"/>
                  <a:pt x="17785" y="16588"/>
                </a:cubicBezTo>
                <a:cubicBezTo>
                  <a:pt x="17785" y="16525"/>
                  <a:pt x="17761" y="16475"/>
                  <a:pt x="17731" y="16475"/>
                </a:cubicBezTo>
                <a:close/>
                <a:moveTo>
                  <a:pt x="17731" y="16801"/>
                </a:moveTo>
                <a:cubicBezTo>
                  <a:pt x="17701" y="16801"/>
                  <a:pt x="17677" y="16852"/>
                  <a:pt x="17677" y="16914"/>
                </a:cubicBezTo>
                <a:cubicBezTo>
                  <a:pt x="17677" y="16977"/>
                  <a:pt x="17701" y="17027"/>
                  <a:pt x="17731" y="17027"/>
                </a:cubicBezTo>
                <a:cubicBezTo>
                  <a:pt x="17761" y="17027"/>
                  <a:pt x="17785" y="16977"/>
                  <a:pt x="17785" y="16914"/>
                </a:cubicBezTo>
                <a:cubicBezTo>
                  <a:pt x="17785" y="16852"/>
                  <a:pt x="17761" y="16801"/>
                  <a:pt x="17731" y="16801"/>
                </a:cubicBezTo>
                <a:close/>
                <a:moveTo>
                  <a:pt x="17731" y="15862"/>
                </a:moveTo>
                <a:cubicBezTo>
                  <a:pt x="17701" y="15862"/>
                  <a:pt x="17677" y="15912"/>
                  <a:pt x="17677" y="15975"/>
                </a:cubicBezTo>
                <a:cubicBezTo>
                  <a:pt x="17677" y="16037"/>
                  <a:pt x="17701" y="16088"/>
                  <a:pt x="17731" y="16088"/>
                </a:cubicBezTo>
                <a:cubicBezTo>
                  <a:pt x="17761" y="16088"/>
                  <a:pt x="17785" y="16037"/>
                  <a:pt x="17785" y="15975"/>
                </a:cubicBezTo>
                <a:cubicBezTo>
                  <a:pt x="17785" y="15912"/>
                  <a:pt x="17761" y="15862"/>
                  <a:pt x="17731" y="15862"/>
                </a:cubicBezTo>
                <a:close/>
                <a:moveTo>
                  <a:pt x="17731" y="16188"/>
                </a:moveTo>
                <a:cubicBezTo>
                  <a:pt x="17701" y="16188"/>
                  <a:pt x="17677" y="16239"/>
                  <a:pt x="17677" y="16301"/>
                </a:cubicBezTo>
                <a:cubicBezTo>
                  <a:pt x="17677" y="16364"/>
                  <a:pt x="17701" y="16414"/>
                  <a:pt x="17731" y="16414"/>
                </a:cubicBezTo>
                <a:cubicBezTo>
                  <a:pt x="17761" y="16414"/>
                  <a:pt x="17785" y="16364"/>
                  <a:pt x="17785" y="16301"/>
                </a:cubicBezTo>
                <a:cubicBezTo>
                  <a:pt x="17785" y="16239"/>
                  <a:pt x="17761" y="16188"/>
                  <a:pt x="17731" y="16188"/>
                </a:cubicBezTo>
                <a:close/>
                <a:moveTo>
                  <a:pt x="17731" y="15536"/>
                </a:moveTo>
                <a:cubicBezTo>
                  <a:pt x="17701" y="15536"/>
                  <a:pt x="17677" y="15586"/>
                  <a:pt x="17677" y="15649"/>
                </a:cubicBezTo>
                <a:cubicBezTo>
                  <a:pt x="17677" y="15711"/>
                  <a:pt x="17701" y="15762"/>
                  <a:pt x="17731" y="15762"/>
                </a:cubicBezTo>
                <a:cubicBezTo>
                  <a:pt x="17761" y="15762"/>
                  <a:pt x="17785" y="15711"/>
                  <a:pt x="17785" y="15649"/>
                </a:cubicBezTo>
                <a:cubicBezTo>
                  <a:pt x="17785" y="15586"/>
                  <a:pt x="17761" y="15536"/>
                  <a:pt x="17731" y="15536"/>
                </a:cubicBezTo>
                <a:close/>
                <a:moveTo>
                  <a:pt x="17875" y="17780"/>
                </a:moveTo>
                <a:cubicBezTo>
                  <a:pt x="17845" y="17780"/>
                  <a:pt x="17821" y="17830"/>
                  <a:pt x="17821" y="17893"/>
                </a:cubicBezTo>
                <a:cubicBezTo>
                  <a:pt x="17821" y="17955"/>
                  <a:pt x="17845" y="18006"/>
                  <a:pt x="17875" y="18006"/>
                </a:cubicBezTo>
                <a:cubicBezTo>
                  <a:pt x="17904" y="18006"/>
                  <a:pt x="17928" y="17955"/>
                  <a:pt x="17928" y="17893"/>
                </a:cubicBezTo>
                <a:cubicBezTo>
                  <a:pt x="17928" y="17830"/>
                  <a:pt x="17904" y="17780"/>
                  <a:pt x="17875" y="17780"/>
                </a:cubicBezTo>
                <a:close/>
                <a:moveTo>
                  <a:pt x="17875" y="17454"/>
                </a:moveTo>
                <a:cubicBezTo>
                  <a:pt x="17845" y="17454"/>
                  <a:pt x="17821" y="17504"/>
                  <a:pt x="17821" y="17567"/>
                </a:cubicBezTo>
                <a:cubicBezTo>
                  <a:pt x="17821" y="17629"/>
                  <a:pt x="17845" y="17680"/>
                  <a:pt x="17875" y="17680"/>
                </a:cubicBezTo>
                <a:cubicBezTo>
                  <a:pt x="17904" y="17680"/>
                  <a:pt x="17928" y="17629"/>
                  <a:pt x="17928" y="17567"/>
                </a:cubicBezTo>
                <a:cubicBezTo>
                  <a:pt x="17928" y="17504"/>
                  <a:pt x="17904" y="17454"/>
                  <a:pt x="17875" y="17454"/>
                </a:cubicBezTo>
                <a:close/>
                <a:moveTo>
                  <a:pt x="18038" y="17143"/>
                </a:moveTo>
                <a:cubicBezTo>
                  <a:pt x="18008" y="17143"/>
                  <a:pt x="17984" y="17193"/>
                  <a:pt x="17984" y="17256"/>
                </a:cubicBezTo>
                <a:cubicBezTo>
                  <a:pt x="17984" y="17318"/>
                  <a:pt x="18008" y="17369"/>
                  <a:pt x="18038" y="17369"/>
                </a:cubicBezTo>
                <a:cubicBezTo>
                  <a:pt x="18067" y="17369"/>
                  <a:pt x="18092" y="17318"/>
                  <a:pt x="18092" y="17256"/>
                </a:cubicBezTo>
                <a:cubicBezTo>
                  <a:pt x="18092" y="17193"/>
                  <a:pt x="18067" y="17143"/>
                  <a:pt x="18038" y="17143"/>
                </a:cubicBezTo>
                <a:close/>
                <a:moveTo>
                  <a:pt x="18804" y="17143"/>
                </a:moveTo>
                <a:cubicBezTo>
                  <a:pt x="18774" y="17143"/>
                  <a:pt x="18750" y="17193"/>
                  <a:pt x="18750" y="17256"/>
                </a:cubicBezTo>
                <a:cubicBezTo>
                  <a:pt x="18750" y="17318"/>
                  <a:pt x="18774" y="17369"/>
                  <a:pt x="18804" y="17369"/>
                </a:cubicBezTo>
                <a:cubicBezTo>
                  <a:pt x="18834" y="17369"/>
                  <a:pt x="18858" y="17318"/>
                  <a:pt x="18858" y="17256"/>
                </a:cubicBezTo>
                <a:cubicBezTo>
                  <a:pt x="18858" y="17193"/>
                  <a:pt x="18834" y="17143"/>
                  <a:pt x="18804" y="17143"/>
                </a:cubicBezTo>
                <a:close/>
                <a:moveTo>
                  <a:pt x="18651" y="17143"/>
                </a:moveTo>
                <a:cubicBezTo>
                  <a:pt x="18622" y="17143"/>
                  <a:pt x="18598" y="17193"/>
                  <a:pt x="18598" y="17256"/>
                </a:cubicBezTo>
                <a:cubicBezTo>
                  <a:pt x="18598" y="17318"/>
                  <a:pt x="18622" y="17369"/>
                  <a:pt x="18651" y="17369"/>
                </a:cubicBezTo>
                <a:cubicBezTo>
                  <a:pt x="18681" y="17369"/>
                  <a:pt x="18705" y="17318"/>
                  <a:pt x="18705" y="17256"/>
                </a:cubicBezTo>
                <a:cubicBezTo>
                  <a:pt x="18705" y="17193"/>
                  <a:pt x="18681" y="17143"/>
                  <a:pt x="18651" y="17143"/>
                </a:cubicBezTo>
                <a:close/>
                <a:moveTo>
                  <a:pt x="18496" y="17143"/>
                </a:moveTo>
                <a:cubicBezTo>
                  <a:pt x="18466" y="17143"/>
                  <a:pt x="18442" y="17193"/>
                  <a:pt x="18442" y="17256"/>
                </a:cubicBezTo>
                <a:cubicBezTo>
                  <a:pt x="18442" y="17318"/>
                  <a:pt x="18466" y="17369"/>
                  <a:pt x="18496" y="17369"/>
                </a:cubicBezTo>
                <a:cubicBezTo>
                  <a:pt x="18526" y="17369"/>
                  <a:pt x="18550" y="17318"/>
                  <a:pt x="18550" y="17256"/>
                </a:cubicBezTo>
                <a:cubicBezTo>
                  <a:pt x="18550" y="17193"/>
                  <a:pt x="18526" y="17143"/>
                  <a:pt x="18496" y="17143"/>
                </a:cubicBezTo>
                <a:close/>
                <a:moveTo>
                  <a:pt x="18342" y="17143"/>
                </a:moveTo>
                <a:cubicBezTo>
                  <a:pt x="18312" y="17143"/>
                  <a:pt x="18288" y="17193"/>
                  <a:pt x="18288" y="17256"/>
                </a:cubicBezTo>
                <a:cubicBezTo>
                  <a:pt x="18288" y="17318"/>
                  <a:pt x="18312" y="17369"/>
                  <a:pt x="18342" y="17369"/>
                </a:cubicBezTo>
                <a:cubicBezTo>
                  <a:pt x="18372" y="17369"/>
                  <a:pt x="18396" y="17318"/>
                  <a:pt x="18396" y="17256"/>
                </a:cubicBezTo>
                <a:cubicBezTo>
                  <a:pt x="18396" y="17193"/>
                  <a:pt x="18372" y="17143"/>
                  <a:pt x="18342" y="17143"/>
                </a:cubicBezTo>
                <a:close/>
                <a:moveTo>
                  <a:pt x="18189" y="17143"/>
                </a:moveTo>
                <a:cubicBezTo>
                  <a:pt x="18160" y="17143"/>
                  <a:pt x="18136" y="17193"/>
                  <a:pt x="18136" y="17256"/>
                </a:cubicBezTo>
                <a:cubicBezTo>
                  <a:pt x="18136" y="17318"/>
                  <a:pt x="18160" y="17369"/>
                  <a:pt x="18189" y="17369"/>
                </a:cubicBezTo>
                <a:cubicBezTo>
                  <a:pt x="18219" y="17369"/>
                  <a:pt x="18243" y="17318"/>
                  <a:pt x="18243" y="17256"/>
                </a:cubicBezTo>
                <a:cubicBezTo>
                  <a:pt x="18243" y="17193"/>
                  <a:pt x="18219" y="17143"/>
                  <a:pt x="18189" y="17143"/>
                </a:cubicBezTo>
                <a:close/>
                <a:moveTo>
                  <a:pt x="17875" y="17143"/>
                </a:moveTo>
                <a:cubicBezTo>
                  <a:pt x="17845" y="17143"/>
                  <a:pt x="17821" y="17193"/>
                  <a:pt x="17821" y="17256"/>
                </a:cubicBezTo>
                <a:cubicBezTo>
                  <a:pt x="17821" y="17318"/>
                  <a:pt x="17845" y="17369"/>
                  <a:pt x="17875" y="17369"/>
                </a:cubicBezTo>
                <a:cubicBezTo>
                  <a:pt x="17904" y="17369"/>
                  <a:pt x="17928" y="17318"/>
                  <a:pt x="17928" y="17256"/>
                </a:cubicBezTo>
                <a:cubicBezTo>
                  <a:pt x="17928" y="17193"/>
                  <a:pt x="17904" y="17143"/>
                  <a:pt x="17875" y="17143"/>
                </a:cubicBezTo>
                <a:close/>
                <a:moveTo>
                  <a:pt x="18651" y="16475"/>
                </a:moveTo>
                <a:cubicBezTo>
                  <a:pt x="18622" y="16475"/>
                  <a:pt x="18598" y="16525"/>
                  <a:pt x="18598" y="16588"/>
                </a:cubicBezTo>
                <a:cubicBezTo>
                  <a:pt x="18598" y="16650"/>
                  <a:pt x="18622" y="16701"/>
                  <a:pt x="18651" y="16701"/>
                </a:cubicBezTo>
                <a:cubicBezTo>
                  <a:pt x="18681" y="16701"/>
                  <a:pt x="18705" y="16650"/>
                  <a:pt x="18705" y="16588"/>
                </a:cubicBezTo>
                <a:cubicBezTo>
                  <a:pt x="18705" y="16525"/>
                  <a:pt x="18681" y="16475"/>
                  <a:pt x="18651" y="16475"/>
                </a:cubicBezTo>
                <a:close/>
                <a:moveTo>
                  <a:pt x="18496" y="16475"/>
                </a:moveTo>
                <a:cubicBezTo>
                  <a:pt x="18466" y="16475"/>
                  <a:pt x="18442" y="16525"/>
                  <a:pt x="18442" y="16588"/>
                </a:cubicBezTo>
                <a:cubicBezTo>
                  <a:pt x="18442" y="16650"/>
                  <a:pt x="18466" y="16701"/>
                  <a:pt x="18496" y="16701"/>
                </a:cubicBezTo>
                <a:cubicBezTo>
                  <a:pt x="18526" y="16701"/>
                  <a:pt x="18550" y="16650"/>
                  <a:pt x="18550" y="16588"/>
                </a:cubicBezTo>
                <a:cubicBezTo>
                  <a:pt x="18550" y="16525"/>
                  <a:pt x="18526" y="16475"/>
                  <a:pt x="18496" y="16475"/>
                </a:cubicBezTo>
                <a:close/>
                <a:moveTo>
                  <a:pt x="18038" y="16475"/>
                </a:moveTo>
                <a:cubicBezTo>
                  <a:pt x="18008" y="16475"/>
                  <a:pt x="17984" y="16525"/>
                  <a:pt x="17984" y="16588"/>
                </a:cubicBezTo>
                <a:cubicBezTo>
                  <a:pt x="17984" y="16650"/>
                  <a:pt x="18008" y="16701"/>
                  <a:pt x="18038" y="16701"/>
                </a:cubicBezTo>
                <a:cubicBezTo>
                  <a:pt x="18067" y="16701"/>
                  <a:pt x="18092" y="16650"/>
                  <a:pt x="18092" y="16588"/>
                </a:cubicBezTo>
                <a:cubicBezTo>
                  <a:pt x="18092" y="16525"/>
                  <a:pt x="18067" y="16475"/>
                  <a:pt x="18038" y="16475"/>
                </a:cubicBezTo>
                <a:close/>
                <a:moveTo>
                  <a:pt x="18038" y="16801"/>
                </a:moveTo>
                <a:cubicBezTo>
                  <a:pt x="18008" y="16801"/>
                  <a:pt x="17984" y="16852"/>
                  <a:pt x="17984" y="16914"/>
                </a:cubicBezTo>
                <a:cubicBezTo>
                  <a:pt x="17984" y="16977"/>
                  <a:pt x="18008" y="17027"/>
                  <a:pt x="18038" y="17027"/>
                </a:cubicBezTo>
                <a:cubicBezTo>
                  <a:pt x="18067" y="17027"/>
                  <a:pt x="18092" y="16977"/>
                  <a:pt x="18092" y="16914"/>
                </a:cubicBezTo>
                <a:cubicBezTo>
                  <a:pt x="18092" y="16852"/>
                  <a:pt x="18067" y="16801"/>
                  <a:pt x="18038" y="16801"/>
                </a:cubicBezTo>
                <a:close/>
                <a:moveTo>
                  <a:pt x="18342" y="16475"/>
                </a:moveTo>
                <a:cubicBezTo>
                  <a:pt x="18312" y="16475"/>
                  <a:pt x="18288" y="16525"/>
                  <a:pt x="18288" y="16588"/>
                </a:cubicBezTo>
                <a:cubicBezTo>
                  <a:pt x="18288" y="16650"/>
                  <a:pt x="18312" y="16701"/>
                  <a:pt x="18342" y="16701"/>
                </a:cubicBezTo>
                <a:cubicBezTo>
                  <a:pt x="18372" y="16701"/>
                  <a:pt x="18396" y="16650"/>
                  <a:pt x="18396" y="16588"/>
                </a:cubicBezTo>
                <a:cubicBezTo>
                  <a:pt x="18396" y="16525"/>
                  <a:pt x="18372" y="16475"/>
                  <a:pt x="18342" y="16475"/>
                </a:cubicBezTo>
                <a:close/>
                <a:moveTo>
                  <a:pt x="18189" y="16475"/>
                </a:moveTo>
                <a:cubicBezTo>
                  <a:pt x="18160" y="16475"/>
                  <a:pt x="18136" y="16525"/>
                  <a:pt x="18136" y="16588"/>
                </a:cubicBezTo>
                <a:cubicBezTo>
                  <a:pt x="18136" y="16650"/>
                  <a:pt x="18160" y="16701"/>
                  <a:pt x="18189" y="16701"/>
                </a:cubicBezTo>
                <a:cubicBezTo>
                  <a:pt x="18219" y="16701"/>
                  <a:pt x="18243" y="16650"/>
                  <a:pt x="18243" y="16588"/>
                </a:cubicBezTo>
                <a:cubicBezTo>
                  <a:pt x="18243" y="16525"/>
                  <a:pt x="18219" y="16475"/>
                  <a:pt x="18189" y="16475"/>
                </a:cubicBezTo>
                <a:close/>
                <a:moveTo>
                  <a:pt x="18496" y="16801"/>
                </a:moveTo>
                <a:cubicBezTo>
                  <a:pt x="18466" y="16801"/>
                  <a:pt x="18442" y="16852"/>
                  <a:pt x="18442" y="16914"/>
                </a:cubicBezTo>
                <a:cubicBezTo>
                  <a:pt x="18442" y="16977"/>
                  <a:pt x="18466" y="17027"/>
                  <a:pt x="18496" y="17027"/>
                </a:cubicBezTo>
                <a:cubicBezTo>
                  <a:pt x="18526" y="17027"/>
                  <a:pt x="18550" y="16977"/>
                  <a:pt x="18550" y="16914"/>
                </a:cubicBezTo>
                <a:cubicBezTo>
                  <a:pt x="18550" y="16852"/>
                  <a:pt x="18526" y="16801"/>
                  <a:pt x="18496" y="16801"/>
                </a:cubicBezTo>
                <a:close/>
                <a:moveTo>
                  <a:pt x="18342" y="16801"/>
                </a:moveTo>
                <a:cubicBezTo>
                  <a:pt x="18312" y="16801"/>
                  <a:pt x="18288" y="16852"/>
                  <a:pt x="18288" y="16914"/>
                </a:cubicBezTo>
                <a:cubicBezTo>
                  <a:pt x="18288" y="16977"/>
                  <a:pt x="18312" y="17027"/>
                  <a:pt x="18342" y="17027"/>
                </a:cubicBezTo>
                <a:cubicBezTo>
                  <a:pt x="18372" y="17027"/>
                  <a:pt x="18396" y="16977"/>
                  <a:pt x="18396" y="16914"/>
                </a:cubicBezTo>
                <a:cubicBezTo>
                  <a:pt x="18396" y="16852"/>
                  <a:pt x="18372" y="16801"/>
                  <a:pt x="18342" y="16801"/>
                </a:cubicBezTo>
                <a:close/>
                <a:moveTo>
                  <a:pt x="18189" y="16801"/>
                </a:moveTo>
                <a:cubicBezTo>
                  <a:pt x="18160" y="16801"/>
                  <a:pt x="18136" y="16852"/>
                  <a:pt x="18136" y="16914"/>
                </a:cubicBezTo>
                <a:cubicBezTo>
                  <a:pt x="18136" y="16977"/>
                  <a:pt x="18160" y="17027"/>
                  <a:pt x="18189" y="17027"/>
                </a:cubicBezTo>
                <a:cubicBezTo>
                  <a:pt x="18219" y="17027"/>
                  <a:pt x="18243" y="16977"/>
                  <a:pt x="18243" y="16914"/>
                </a:cubicBezTo>
                <a:cubicBezTo>
                  <a:pt x="18243" y="16852"/>
                  <a:pt x="18219" y="16801"/>
                  <a:pt x="18189" y="16801"/>
                </a:cubicBezTo>
                <a:close/>
                <a:moveTo>
                  <a:pt x="17875" y="16475"/>
                </a:moveTo>
                <a:cubicBezTo>
                  <a:pt x="17845" y="16475"/>
                  <a:pt x="17821" y="16525"/>
                  <a:pt x="17821" y="16588"/>
                </a:cubicBezTo>
                <a:cubicBezTo>
                  <a:pt x="17821" y="16650"/>
                  <a:pt x="17845" y="16701"/>
                  <a:pt x="17875" y="16701"/>
                </a:cubicBezTo>
                <a:cubicBezTo>
                  <a:pt x="17904" y="16701"/>
                  <a:pt x="17928" y="16650"/>
                  <a:pt x="17928" y="16588"/>
                </a:cubicBezTo>
                <a:cubicBezTo>
                  <a:pt x="17928" y="16525"/>
                  <a:pt x="17904" y="16475"/>
                  <a:pt x="17875" y="16475"/>
                </a:cubicBezTo>
                <a:close/>
                <a:moveTo>
                  <a:pt x="17875" y="16801"/>
                </a:moveTo>
                <a:cubicBezTo>
                  <a:pt x="17845" y="16801"/>
                  <a:pt x="17821" y="16852"/>
                  <a:pt x="17821" y="16914"/>
                </a:cubicBezTo>
                <a:cubicBezTo>
                  <a:pt x="17821" y="16977"/>
                  <a:pt x="17845" y="17027"/>
                  <a:pt x="17875" y="17027"/>
                </a:cubicBezTo>
                <a:cubicBezTo>
                  <a:pt x="17904" y="17027"/>
                  <a:pt x="17928" y="16977"/>
                  <a:pt x="17928" y="16914"/>
                </a:cubicBezTo>
                <a:cubicBezTo>
                  <a:pt x="17928" y="16852"/>
                  <a:pt x="17904" y="16801"/>
                  <a:pt x="17875" y="16801"/>
                </a:cubicBezTo>
                <a:close/>
                <a:moveTo>
                  <a:pt x="18649" y="13478"/>
                </a:moveTo>
                <a:cubicBezTo>
                  <a:pt x="18679" y="13478"/>
                  <a:pt x="18703" y="13427"/>
                  <a:pt x="18703" y="13365"/>
                </a:cubicBezTo>
                <a:cubicBezTo>
                  <a:pt x="18703" y="13302"/>
                  <a:pt x="18679" y="13252"/>
                  <a:pt x="18649" y="13252"/>
                </a:cubicBezTo>
                <a:cubicBezTo>
                  <a:pt x="18619" y="13252"/>
                  <a:pt x="18595" y="13302"/>
                  <a:pt x="18595" y="13365"/>
                </a:cubicBezTo>
                <a:cubicBezTo>
                  <a:pt x="18595" y="13427"/>
                  <a:pt x="18619" y="13478"/>
                  <a:pt x="18649" y="13478"/>
                </a:cubicBezTo>
                <a:close/>
                <a:moveTo>
                  <a:pt x="18804" y="13252"/>
                </a:moveTo>
                <a:cubicBezTo>
                  <a:pt x="18774" y="13252"/>
                  <a:pt x="18750" y="13302"/>
                  <a:pt x="18750" y="13365"/>
                </a:cubicBezTo>
                <a:cubicBezTo>
                  <a:pt x="18750" y="13427"/>
                  <a:pt x="18774" y="13478"/>
                  <a:pt x="18804" y="13478"/>
                </a:cubicBezTo>
                <a:cubicBezTo>
                  <a:pt x="18834" y="13478"/>
                  <a:pt x="18858" y="13427"/>
                  <a:pt x="18858" y="13365"/>
                </a:cubicBezTo>
                <a:cubicBezTo>
                  <a:pt x="18858" y="13302"/>
                  <a:pt x="18834" y="13252"/>
                  <a:pt x="18804" y="13252"/>
                </a:cubicBezTo>
                <a:close/>
                <a:moveTo>
                  <a:pt x="18651" y="15862"/>
                </a:moveTo>
                <a:cubicBezTo>
                  <a:pt x="18622" y="15862"/>
                  <a:pt x="18598" y="15912"/>
                  <a:pt x="18598" y="15975"/>
                </a:cubicBezTo>
                <a:cubicBezTo>
                  <a:pt x="18598" y="16037"/>
                  <a:pt x="18622" y="16088"/>
                  <a:pt x="18651" y="16088"/>
                </a:cubicBezTo>
                <a:cubicBezTo>
                  <a:pt x="18681" y="16088"/>
                  <a:pt x="18705" y="16037"/>
                  <a:pt x="18705" y="15975"/>
                </a:cubicBezTo>
                <a:cubicBezTo>
                  <a:pt x="18705" y="15912"/>
                  <a:pt x="18681" y="15862"/>
                  <a:pt x="18651" y="15862"/>
                </a:cubicBezTo>
                <a:close/>
                <a:moveTo>
                  <a:pt x="18496" y="15862"/>
                </a:moveTo>
                <a:cubicBezTo>
                  <a:pt x="18466" y="15862"/>
                  <a:pt x="18442" y="15912"/>
                  <a:pt x="18442" y="15975"/>
                </a:cubicBezTo>
                <a:cubicBezTo>
                  <a:pt x="18442" y="16037"/>
                  <a:pt x="18466" y="16088"/>
                  <a:pt x="18496" y="16088"/>
                </a:cubicBezTo>
                <a:cubicBezTo>
                  <a:pt x="18526" y="16088"/>
                  <a:pt x="18550" y="16037"/>
                  <a:pt x="18550" y="15975"/>
                </a:cubicBezTo>
                <a:cubicBezTo>
                  <a:pt x="18550" y="15912"/>
                  <a:pt x="18526" y="15862"/>
                  <a:pt x="18496" y="15862"/>
                </a:cubicBezTo>
                <a:close/>
                <a:moveTo>
                  <a:pt x="18038" y="15862"/>
                </a:moveTo>
                <a:cubicBezTo>
                  <a:pt x="18008" y="15862"/>
                  <a:pt x="17984" y="15912"/>
                  <a:pt x="17984" y="15975"/>
                </a:cubicBezTo>
                <a:cubicBezTo>
                  <a:pt x="17984" y="16037"/>
                  <a:pt x="18008" y="16088"/>
                  <a:pt x="18038" y="16088"/>
                </a:cubicBezTo>
                <a:cubicBezTo>
                  <a:pt x="18067" y="16088"/>
                  <a:pt x="18092" y="16037"/>
                  <a:pt x="18092" y="15975"/>
                </a:cubicBezTo>
                <a:cubicBezTo>
                  <a:pt x="18092" y="15912"/>
                  <a:pt x="18067" y="15862"/>
                  <a:pt x="18038" y="15862"/>
                </a:cubicBezTo>
                <a:close/>
                <a:moveTo>
                  <a:pt x="18038" y="16188"/>
                </a:moveTo>
                <a:cubicBezTo>
                  <a:pt x="18008" y="16188"/>
                  <a:pt x="17984" y="16239"/>
                  <a:pt x="17984" y="16301"/>
                </a:cubicBezTo>
                <a:cubicBezTo>
                  <a:pt x="17984" y="16364"/>
                  <a:pt x="18008" y="16414"/>
                  <a:pt x="18038" y="16414"/>
                </a:cubicBezTo>
                <a:cubicBezTo>
                  <a:pt x="18067" y="16414"/>
                  <a:pt x="18092" y="16364"/>
                  <a:pt x="18092" y="16301"/>
                </a:cubicBezTo>
                <a:cubicBezTo>
                  <a:pt x="18092" y="16239"/>
                  <a:pt x="18067" y="16188"/>
                  <a:pt x="18038" y="16188"/>
                </a:cubicBezTo>
                <a:close/>
                <a:moveTo>
                  <a:pt x="18342" y="15862"/>
                </a:moveTo>
                <a:cubicBezTo>
                  <a:pt x="18312" y="15862"/>
                  <a:pt x="18288" y="15912"/>
                  <a:pt x="18288" y="15975"/>
                </a:cubicBezTo>
                <a:cubicBezTo>
                  <a:pt x="18288" y="16037"/>
                  <a:pt x="18312" y="16088"/>
                  <a:pt x="18342" y="16088"/>
                </a:cubicBezTo>
                <a:cubicBezTo>
                  <a:pt x="18372" y="16088"/>
                  <a:pt x="18396" y="16037"/>
                  <a:pt x="18396" y="15975"/>
                </a:cubicBezTo>
                <a:cubicBezTo>
                  <a:pt x="18396" y="15912"/>
                  <a:pt x="18372" y="15862"/>
                  <a:pt x="18342" y="15862"/>
                </a:cubicBezTo>
                <a:close/>
                <a:moveTo>
                  <a:pt x="18189" y="15862"/>
                </a:moveTo>
                <a:cubicBezTo>
                  <a:pt x="18160" y="15862"/>
                  <a:pt x="18136" y="15912"/>
                  <a:pt x="18136" y="15975"/>
                </a:cubicBezTo>
                <a:cubicBezTo>
                  <a:pt x="18136" y="16037"/>
                  <a:pt x="18160" y="16088"/>
                  <a:pt x="18189" y="16088"/>
                </a:cubicBezTo>
                <a:cubicBezTo>
                  <a:pt x="18219" y="16088"/>
                  <a:pt x="18243" y="16037"/>
                  <a:pt x="18243" y="15975"/>
                </a:cubicBezTo>
                <a:cubicBezTo>
                  <a:pt x="18243" y="15912"/>
                  <a:pt x="18219" y="15862"/>
                  <a:pt x="18189" y="15862"/>
                </a:cubicBezTo>
                <a:close/>
                <a:moveTo>
                  <a:pt x="18651" y="16188"/>
                </a:moveTo>
                <a:cubicBezTo>
                  <a:pt x="18622" y="16188"/>
                  <a:pt x="18598" y="16239"/>
                  <a:pt x="18598" y="16301"/>
                </a:cubicBezTo>
                <a:cubicBezTo>
                  <a:pt x="18598" y="16364"/>
                  <a:pt x="18622" y="16414"/>
                  <a:pt x="18651" y="16414"/>
                </a:cubicBezTo>
                <a:cubicBezTo>
                  <a:pt x="18681" y="16414"/>
                  <a:pt x="18705" y="16364"/>
                  <a:pt x="18705" y="16301"/>
                </a:cubicBezTo>
                <a:cubicBezTo>
                  <a:pt x="18705" y="16239"/>
                  <a:pt x="18681" y="16188"/>
                  <a:pt x="18651" y="16188"/>
                </a:cubicBezTo>
                <a:close/>
                <a:moveTo>
                  <a:pt x="18496" y="16188"/>
                </a:moveTo>
                <a:cubicBezTo>
                  <a:pt x="18466" y="16188"/>
                  <a:pt x="18442" y="16239"/>
                  <a:pt x="18442" y="16301"/>
                </a:cubicBezTo>
                <a:cubicBezTo>
                  <a:pt x="18442" y="16364"/>
                  <a:pt x="18466" y="16414"/>
                  <a:pt x="18496" y="16414"/>
                </a:cubicBezTo>
                <a:cubicBezTo>
                  <a:pt x="18526" y="16414"/>
                  <a:pt x="18550" y="16364"/>
                  <a:pt x="18550" y="16301"/>
                </a:cubicBezTo>
                <a:cubicBezTo>
                  <a:pt x="18550" y="16239"/>
                  <a:pt x="18526" y="16188"/>
                  <a:pt x="18496" y="16188"/>
                </a:cubicBezTo>
                <a:close/>
                <a:moveTo>
                  <a:pt x="18342" y="16188"/>
                </a:moveTo>
                <a:cubicBezTo>
                  <a:pt x="18312" y="16188"/>
                  <a:pt x="18288" y="16239"/>
                  <a:pt x="18288" y="16301"/>
                </a:cubicBezTo>
                <a:cubicBezTo>
                  <a:pt x="18288" y="16364"/>
                  <a:pt x="18312" y="16414"/>
                  <a:pt x="18342" y="16414"/>
                </a:cubicBezTo>
                <a:cubicBezTo>
                  <a:pt x="18372" y="16414"/>
                  <a:pt x="18396" y="16364"/>
                  <a:pt x="18396" y="16301"/>
                </a:cubicBezTo>
                <a:cubicBezTo>
                  <a:pt x="18396" y="16239"/>
                  <a:pt x="18372" y="16188"/>
                  <a:pt x="18342" y="16188"/>
                </a:cubicBezTo>
                <a:close/>
                <a:moveTo>
                  <a:pt x="18189" y="16188"/>
                </a:moveTo>
                <a:cubicBezTo>
                  <a:pt x="18160" y="16188"/>
                  <a:pt x="18136" y="16239"/>
                  <a:pt x="18136" y="16301"/>
                </a:cubicBezTo>
                <a:cubicBezTo>
                  <a:pt x="18136" y="16364"/>
                  <a:pt x="18160" y="16414"/>
                  <a:pt x="18189" y="16414"/>
                </a:cubicBezTo>
                <a:cubicBezTo>
                  <a:pt x="18219" y="16414"/>
                  <a:pt x="18243" y="16364"/>
                  <a:pt x="18243" y="16301"/>
                </a:cubicBezTo>
                <a:cubicBezTo>
                  <a:pt x="18243" y="16239"/>
                  <a:pt x="18219" y="16188"/>
                  <a:pt x="18189" y="16188"/>
                </a:cubicBezTo>
                <a:close/>
                <a:moveTo>
                  <a:pt x="17875" y="15862"/>
                </a:moveTo>
                <a:cubicBezTo>
                  <a:pt x="17845" y="15862"/>
                  <a:pt x="17821" y="15912"/>
                  <a:pt x="17821" y="15975"/>
                </a:cubicBezTo>
                <a:cubicBezTo>
                  <a:pt x="17821" y="16037"/>
                  <a:pt x="17845" y="16088"/>
                  <a:pt x="17875" y="16088"/>
                </a:cubicBezTo>
                <a:cubicBezTo>
                  <a:pt x="17904" y="16088"/>
                  <a:pt x="17928" y="16037"/>
                  <a:pt x="17928" y="15975"/>
                </a:cubicBezTo>
                <a:cubicBezTo>
                  <a:pt x="17928" y="15912"/>
                  <a:pt x="17904" y="15862"/>
                  <a:pt x="17875" y="15862"/>
                </a:cubicBezTo>
                <a:close/>
                <a:moveTo>
                  <a:pt x="17875" y="16188"/>
                </a:moveTo>
                <a:cubicBezTo>
                  <a:pt x="17845" y="16188"/>
                  <a:pt x="17821" y="16239"/>
                  <a:pt x="17821" y="16301"/>
                </a:cubicBezTo>
                <a:cubicBezTo>
                  <a:pt x="17821" y="16364"/>
                  <a:pt x="17845" y="16414"/>
                  <a:pt x="17875" y="16414"/>
                </a:cubicBezTo>
                <a:cubicBezTo>
                  <a:pt x="17904" y="16414"/>
                  <a:pt x="17928" y="16364"/>
                  <a:pt x="17928" y="16301"/>
                </a:cubicBezTo>
                <a:cubicBezTo>
                  <a:pt x="17928" y="16239"/>
                  <a:pt x="17904" y="16188"/>
                  <a:pt x="17875" y="16188"/>
                </a:cubicBezTo>
                <a:close/>
                <a:moveTo>
                  <a:pt x="18651" y="15209"/>
                </a:moveTo>
                <a:cubicBezTo>
                  <a:pt x="18622" y="15209"/>
                  <a:pt x="18598" y="15260"/>
                  <a:pt x="18598" y="15322"/>
                </a:cubicBezTo>
                <a:cubicBezTo>
                  <a:pt x="18598" y="15385"/>
                  <a:pt x="18622" y="15436"/>
                  <a:pt x="18651" y="15436"/>
                </a:cubicBezTo>
                <a:cubicBezTo>
                  <a:pt x="18681" y="15436"/>
                  <a:pt x="18705" y="15385"/>
                  <a:pt x="18705" y="15322"/>
                </a:cubicBezTo>
                <a:cubicBezTo>
                  <a:pt x="18705" y="15260"/>
                  <a:pt x="18681" y="15209"/>
                  <a:pt x="18651" y="15209"/>
                </a:cubicBezTo>
                <a:close/>
                <a:moveTo>
                  <a:pt x="18496" y="15209"/>
                </a:moveTo>
                <a:cubicBezTo>
                  <a:pt x="18466" y="15209"/>
                  <a:pt x="18442" y="15260"/>
                  <a:pt x="18442" y="15322"/>
                </a:cubicBezTo>
                <a:cubicBezTo>
                  <a:pt x="18442" y="15385"/>
                  <a:pt x="18466" y="15436"/>
                  <a:pt x="18496" y="15436"/>
                </a:cubicBezTo>
                <a:cubicBezTo>
                  <a:pt x="18526" y="15436"/>
                  <a:pt x="18550" y="15385"/>
                  <a:pt x="18550" y="15322"/>
                </a:cubicBezTo>
                <a:cubicBezTo>
                  <a:pt x="18550" y="15260"/>
                  <a:pt x="18526" y="15209"/>
                  <a:pt x="18496" y="15209"/>
                </a:cubicBezTo>
                <a:close/>
                <a:moveTo>
                  <a:pt x="18038" y="15209"/>
                </a:moveTo>
                <a:cubicBezTo>
                  <a:pt x="18008" y="15209"/>
                  <a:pt x="17984" y="15260"/>
                  <a:pt x="17984" y="15322"/>
                </a:cubicBezTo>
                <a:cubicBezTo>
                  <a:pt x="17984" y="15385"/>
                  <a:pt x="18008" y="15436"/>
                  <a:pt x="18038" y="15436"/>
                </a:cubicBezTo>
                <a:cubicBezTo>
                  <a:pt x="18067" y="15436"/>
                  <a:pt x="18092" y="15385"/>
                  <a:pt x="18092" y="15322"/>
                </a:cubicBezTo>
                <a:cubicBezTo>
                  <a:pt x="18092" y="15260"/>
                  <a:pt x="18067" y="15209"/>
                  <a:pt x="18038" y="15209"/>
                </a:cubicBezTo>
                <a:close/>
                <a:moveTo>
                  <a:pt x="18038" y="15536"/>
                </a:moveTo>
                <a:cubicBezTo>
                  <a:pt x="18008" y="15536"/>
                  <a:pt x="17984" y="15586"/>
                  <a:pt x="17984" y="15649"/>
                </a:cubicBezTo>
                <a:cubicBezTo>
                  <a:pt x="17984" y="15711"/>
                  <a:pt x="18008" y="15762"/>
                  <a:pt x="18038" y="15762"/>
                </a:cubicBezTo>
                <a:cubicBezTo>
                  <a:pt x="18067" y="15762"/>
                  <a:pt x="18092" y="15711"/>
                  <a:pt x="18092" y="15649"/>
                </a:cubicBezTo>
                <a:cubicBezTo>
                  <a:pt x="18092" y="15586"/>
                  <a:pt x="18067" y="15536"/>
                  <a:pt x="18038" y="15536"/>
                </a:cubicBezTo>
                <a:close/>
                <a:moveTo>
                  <a:pt x="18342" y="15209"/>
                </a:moveTo>
                <a:cubicBezTo>
                  <a:pt x="18312" y="15209"/>
                  <a:pt x="18288" y="15260"/>
                  <a:pt x="18288" y="15322"/>
                </a:cubicBezTo>
                <a:cubicBezTo>
                  <a:pt x="18288" y="15385"/>
                  <a:pt x="18312" y="15436"/>
                  <a:pt x="18342" y="15436"/>
                </a:cubicBezTo>
                <a:cubicBezTo>
                  <a:pt x="18372" y="15436"/>
                  <a:pt x="18396" y="15385"/>
                  <a:pt x="18396" y="15322"/>
                </a:cubicBezTo>
                <a:cubicBezTo>
                  <a:pt x="18396" y="15260"/>
                  <a:pt x="18372" y="15209"/>
                  <a:pt x="18342" y="15209"/>
                </a:cubicBezTo>
                <a:close/>
                <a:moveTo>
                  <a:pt x="18189" y="15209"/>
                </a:moveTo>
                <a:cubicBezTo>
                  <a:pt x="18160" y="15209"/>
                  <a:pt x="18136" y="15260"/>
                  <a:pt x="18136" y="15322"/>
                </a:cubicBezTo>
                <a:cubicBezTo>
                  <a:pt x="18136" y="15385"/>
                  <a:pt x="18160" y="15436"/>
                  <a:pt x="18189" y="15436"/>
                </a:cubicBezTo>
                <a:cubicBezTo>
                  <a:pt x="18219" y="15436"/>
                  <a:pt x="18243" y="15385"/>
                  <a:pt x="18243" y="15322"/>
                </a:cubicBezTo>
                <a:cubicBezTo>
                  <a:pt x="18243" y="15260"/>
                  <a:pt x="18219" y="15209"/>
                  <a:pt x="18189" y="15209"/>
                </a:cubicBezTo>
                <a:close/>
                <a:moveTo>
                  <a:pt x="18500" y="12925"/>
                </a:moveTo>
                <a:cubicBezTo>
                  <a:pt x="18470" y="12925"/>
                  <a:pt x="18446" y="12976"/>
                  <a:pt x="18446" y="13039"/>
                </a:cubicBezTo>
                <a:cubicBezTo>
                  <a:pt x="18446" y="13101"/>
                  <a:pt x="18470" y="13152"/>
                  <a:pt x="18500" y="13152"/>
                </a:cubicBezTo>
                <a:cubicBezTo>
                  <a:pt x="18529" y="13152"/>
                  <a:pt x="18553" y="13101"/>
                  <a:pt x="18553" y="13039"/>
                </a:cubicBezTo>
                <a:cubicBezTo>
                  <a:pt x="18553" y="12976"/>
                  <a:pt x="18529" y="12925"/>
                  <a:pt x="18500" y="12925"/>
                </a:cubicBezTo>
                <a:close/>
                <a:moveTo>
                  <a:pt x="18804" y="12925"/>
                </a:moveTo>
                <a:cubicBezTo>
                  <a:pt x="18774" y="12925"/>
                  <a:pt x="18750" y="12976"/>
                  <a:pt x="18750" y="13039"/>
                </a:cubicBezTo>
                <a:cubicBezTo>
                  <a:pt x="18750" y="13101"/>
                  <a:pt x="18774" y="13152"/>
                  <a:pt x="18804" y="13152"/>
                </a:cubicBezTo>
                <a:cubicBezTo>
                  <a:pt x="18834" y="13152"/>
                  <a:pt x="18858" y="13101"/>
                  <a:pt x="18858" y="13039"/>
                </a:cubicBezTo>
                <a:cubicBezTo>
                  <a:pt x="18858" y="12976"/>
                  <a:pt x="18834" y="12925"/>
                  <a:pt x="18804" y="12925"/>
                </a:cubicBezTo>
                <a:close/>
                <a:moveTo>
                  <a:pt x="18651" y="15536"/>
                </a:moveTo>
                <a:cubicBezTo>
                  <a:pt x="18622" y="15536"/>
                  <a:pt x="18598" y="15586"/>
                  <a:pt x="18598" y="15649"/>
                </a:cubicBezTo>
                <a:cubicBezTo>
                  <a:pt x="18598" y="15711"/>
                  <a:pt x="18622" y="15762"/>
                  <a:pt x="18651" y="15762"/>
                </a:cubicBezTo>
                <a:cubicBezTo>
                  <a:pt x="18681" y="15762"/>
                  <a:pt x="18705" y="15711"/>
                  <a:pt x="18705" y="15649"/>
                </a:cubicBezTo>
                <a:cubicBezTo>
                  <a:pt x="18705" y="15586"/>
                  <a:pt x="18681" y="15536"/>
                  <a:pt x="18651" y="15536"/>
                </a:cubicBezTo>
                <a:close/>
                <a:moveTo>
                  <a:pt x="18496" y="15536"/>
                </a:moveTo>
                <a:cubicBezTo>
                  <a:pt x="18466" y="15536"/>
                  <a:pt x="18442" y="15586"/>
                  <a:pt x="18442" y="15649"/>
                </a:cubicBezTo>
                <a:cubicBezTo>
                  <a:pt x="18442" y="15711"/>
                  <a:pt x="18466" y="15762"/>
                  <a:pt x="18496" y="15762"/>
                </a:cubicBezTo>
                <a:cubicBezTo>
                  <a:pt x="18526" y="15762"/>
                  <a:pt x="18550" y="15711"/>
                  <a:pt x="18550" y="15649"/>
                </a:cubicBezTo>
                <a:cubicBezTo>
                  <a:pt x="18550" y="15586"/>
                  <a:pt x="18526" y="15536"/>
                  <a:pt x="18496" y="15536"/>
                </a:cubicBezTo>
                <a:close/>
                <a:moveTo>
                  <a:pt x="18342" y="15536"/>
                </a:moveTo>
                <a:cubicBezTo>
                  <a:pt x="18312" y="15536"/>
                  <a:pt x="18288" y="15586"/>
                  <a:pt x="18288" y="15649"/>
                </a:cubicBezTo>
                <a:cubicBezTo>
                  <a:pt x="18288" y="15711"/>
                  <a:pt x="18312" y="15762"/>
                  <a:pt x="18342" y="15762"/>
                </a:cubicBezTo>
                <a:cubicBezTo>
                  <a:pt x="18372" y="15762"/>
                  <a:pt x="18396" y="15711"/>
                  <a:pt x="18396" y="15649"/>
                </a:cubicBezTo>
                <a:cubicBezTo>
                  <a:pt x="18396" y="15586"/>
                  <a:pt x="18372" y="15536"/>
                  <a:pt x="18342" y="15536"/>
                </a:cubicBezTo>
                <a:close/>
                <a:moveTo>
                  <a:pt x="18189" y="15536"/>
                </a:moveTo>
                <a:cubicBezTo>
                  <a:pt x="18160" y="15536"/>
                  <a:pt x="18136" y="15586"/>
                  <a:pt x="18136" y="15649"/>
                </a:cubicBezTo>
                <a:cubicBezTo>
                  <a:pt x="18136" y="15711"/>
                  <a:pt x="18160" y="15762"/>
                  <a:pt x="18189" y="15762"/>
                </a:cubicBezTo>
                <a:cubicBezTo>
                  <a:pt x="18219" y="15762"/>
                  <a:pt x="18243" y="15711"/>
                  <a:pt x="18243" y="15649"/>
                </a:cubicBezTo>
                <a:cubicBezTo>
                  <a:pt x="18243" y="15586"/>
                  <a:pt x="18219" y="15536"/>
                  <a:pt x="18189" y="15536"/>
                </a:cubicBezTo>
                <a:close/>
                <a:moveTo>
                  <a:pt x="17875" y="15209"/>
                </a:moveTo>
                <a:cubicBezTo>
                  <a:pt x="17845" y="15209"/>
                  <a:pt x="17821" y="15260"/>
                  <a:pt x="17821" y="15322"/>
                </a:cubicBezTo>
                <a:cubicBezTo>
                  <a:pt x="17821" y="15385"/>
                  <a:pt x="17845" y="15436"/>
                  <a:pt x="17875" y="15436"/>
                </a:cubicBezTo>
                <a:cubicBezTo>
                  <a:pt x="17904" y="15436"/>
                  <a:pt x="17928" y="15385"/>
                  <a:pt x="17928" y="15322"/>
                </a:cubicBezTo>
                <a:cubicBezTo>
                  <a:pt x="17928" y="15260"/>
                  <a:pt x="17904" y="15209"/>
                  <a:pt x="17875" y="15209"/>
                </a:cubicBezTo>
                <a:close/>
                <a:moveTo>
                  <a:pt x="17875" y="15536"/>
                </a:moveTo>
                <a:cubicBezTo>
                  <a:pt x="17845" y="15536"/>
                  <a:pt x="17821" y="15586"/>
                  <a:pt x="17821" y="15649"/>
                </a:cubicBezTo>
                <a:cubicBezTo>
                  <a:pt x="17821" y="15711"/>
                  <a:pt x="17845" y="15762"/>
                  <a:pt x="17875" y="15762"/>
                </a:cubicBezTo>
                <a:cubicBezTo>
                  <a:pt x="17904" y="15762"/>
                  <a:pt x="17928" y="15711"/>
                  <a:pt x="17928" y="15649"/>
                </a:cubicBezTo>
                <a:cubicBezTo>
                  <a:pt x="17928" y="15586"/>
                  <a:pt x="17904" y="15536"/>
                  <a:pt x="17875" y="15536"/>
                </a:cubicBezTo>
                <a:close/>
                <a:moveTo>
                  <a:pt x="18651" y="14541"/>
                </a:moveTo>
                <a:cubicBezTo>
                  <a:pt x="18622" y="14541"/>
                  <a:pt x="18598" y="14592"/>
                  <a:pt x="18598" y="14654"/>
                </a:cubicBezTo>
                <a:cubicBezTo>
                  <a:pt x="18598" y="14717"/>
                  <a:pt x="18622" y="14768"/>
                  <a:pt x="18651" y="14768"/>
                </a:cubicBezTo>
                <a:cubicBezTo>
                  <a:pt x="18681" y="14768"/>
                  <a:pt x="18705" y="14717"/>
                  <a:pt x="18705" y="14654"/>
                </a:cubicBezTo>
                <a:cubicBezTo>
                  <a:pt x="18705" y="14592"/>
                  <a:pt x="18681" y="14541"/>
                  <a:pt x="18651" y="14541"/>
                </a:cubicBezTo>
                <a:close/>
                <a:moveTo>
                  <a:pt x="18496" y="14541"/>
                </a:moveTo>
                <a:cubicBezTo>
                  <a:pt x="18466" y="14541"/>
                  <a:pt x="18442" y="14592"/>
                  <a:pt x="18442" y="14654"/>
                </a:cubicBezTo>
                <a:cubicBezTo>
                  <a:pt x="18442" y="14717"/>
                  <a:pt x="18466" y="14768"/>
                  <a:pt x="18496" y="14768"/>
                </a:cubicBezTo>
                <a:cubicBezTo>
                  <a:pt x="18526" y="14768"/>
                  <a:pt x="18550" y="14717"/>
                  <a:pt x="18550" y="14654"/>
                </a:cubicBezTo>
                <a:cubicBezTo>
                  <a:pt x="18550" y="14592"/>
                  <a:pt x="18526" y="14541"/>
                  <a:pt x="18496" y="14541"/>
                </a:cubicBezTo>
                <a:close/>
                <a:moveTo>
                  <a:pt x="18038" y="14868"/>
                </a:moveTo>
                <a:cubicBezTo>
                  <a:pt x="18008" y="14868"/>
                  <a:pt x="17984" y="14918"/>
                  <a:pt x="17984" y="14981"/>
                </a:cubicBezTo>
                <a:cubicBezTo>
                  <a:pt x="17984" y="15043"/>
                  <a:pt x="18008" y="15094"/>
                  <a:pt x="18038" y="15094"/>
                </a:cubicBezTo>
                <a:cubicBezTo>
                  <a:pt x="18067" y="15094"/>
                  <a:pt x="18092" y="15043"/>
                  <a:pt x="18092" y="14981"/>
                </a:cubicBezTo>
                <a:cubicBezTo>
                  <a:pt x="18092" y="14918"/>
                  <a:pt x="18067" y="14868"/>
                  <a:pt x="18038" y="14868"/>
                </a:cubicBezTo>
                <a:close/>
                <a:moveTo>
                  <a:pt x="18496" y="14868"/>
                </a:moveTo>
                <a:cubicBezTo>
                  <a:pt x="18466" y="14868"/>
                  <a:pt x="18442" y="14918"/>
                  <a:pt x="18442" y="14981"/>
                </a:cubicBezTo>
                <a:cubicBezTo>
                  <a:pt x="18442" y="15043"/>
                  <a:pt x="18466" y="15094"/>
                  <a:pt x="18496" y="15094"/>
                </a:cubicBezTo>
                <a:cubicBezTo>
                  <a:pt x="18526" y="15094"/>
                  <a:pt x="18550" y="15043"/>
                  <a:pt x="18550" y="14981"/>
                </a:cubicBezTo>
                <a:cubicBezTo>
                  <a:pt x="18550" y="14918"/>
                  <a:pt x="18526" y="14868"/>
                  <a:pt x="18496" y="14868"/>
                </a:cubicBezTo>
                <a:close/>
                <a:moveTo>
                  <a:pt x="18342" y="14868"/>
                </a:moveTo>
                <a:cubicBezTo>
                  <a:pt x="18312" y="14868"/>
                  <a:pt x="18288" y="14918"/>
                  <a:pt x="18288" y="14981"/>
                </a:cubicBezTo>
                <a:cubicBezTo>
                  <a:pt x="18288" y="15043"/>
                  <a:pt x="18312" y="15094"/>
                  <a:pt x="18342" y="15094"/>
                </a:cubicBezTo>
                <a:cubicBezTo>
                  <a:pt x="18372" y="15094"/>
                  <a:pt x="18396" y="15043"/>
                  <a:pt x="18396" y="14981"/>
                </a:cubicBezTo>
                <a:cubicBezTo>
                  <a:pt x="18396" y="14918"/>
                  <a:pt x="18372" y="14868"/>
                  <a:pt x="18342" y="14868"/>
                </a:cubicBezTo>
                <a:close/>
                <a:moveTo>
                  <a:pt x="18185" y="12487"/>
                </a:moveTo>
                <a:cubicBezTo>
                  <a:pt x="18214" y="12487"/>
                  <a:pt x="18238" y="12436"/>
                  <a:pt x="18238" y="12374"/>
                </a:cubicBezTo>
                <a:cubicBezTo>
                  <a:pt x="18238" y="12311"/>
                  <a:pt x="18214" y="12261"/>
                  <a:pt x="18185" y="12261"/>
                </a:cubicBezTo>
                <a:cubicBezTo>
                  <a:pt x="18155" y="12261"/>
                  <a:pt x="18131" y="12311"/>
                  <a:pt x="18131" y="12374"/>
                </a:cubicBezTo>
                <a:cubicBezTo>
                  <a:pt x="18131" y="12436"/>
                  <a:pt x="18155" y="12487"/>
                  <a:pt x="18185" y="12487"/>
                </a:cubicBezTo>
                <a:close/>
                <a:moveTo>
                  <a:pt x="18185" y="12777"/>
                </a:moveTo>
                <a:cubicBezTo>
                  <a:pt x="18214" y="12777"/>
                  <a:pt x="18238" y="12726"/>
                  <a:pt x="18238" y="12664"/>
                </a:cubicBezTo>
                <a:cubicBezTo>
                  <a:pt x="18238" y="12601"/>
                  <a:pt x="18214" y="12551"/>
                  <a:pt x="18185" y="12551"/>
                </a:cubicBezTo>
                <a:cubicBezTo>
                  <a:pt x="18155" y="12551"/>
                  <a:pt x="18131" y="12601"/>
                  <a:pt x="18131" y="12664"/>
                </a:cubicBezTo>
                <a:cubicBezTo>
                  <a:pt x="18131" y="12726"/>
                  <a:pt x="18155" y="12777"/>
                  <a:pt x="18185" y="12777"/>
                </a:cubicBezTo>
                <a:close/>
                <a:moveTo>
                  <a:pt x="17875" y="14230"/>
                </a:moveTo>
                <a:cubicBezTo>
                  <a:pt x="17845" y="14230"/>
                  <a:pt x="17821" y="14281"/>
                  <a:pt x="17821" y="14344"/>
                </a:cubicBezTo>
                <a:cubicBezTo>
                  <a:pt x="17821" y="14406"/>
                  <a:pt x="17845" y="14457"/>
                  <a:pt x="17875" y="14457"/>
                </a:cubicBezTo>
                <a:cubicBezTo>
                  <a:pt x="17904" y="14457"/>
                  <a:pt x="17928" y="14406"/>
                  <a:pt x="17928" y="14344"/>
                </a:cubicBezTo>
                <a:cubicBezTo>
                  <a:pt x="17928" y="14281"/>
                  <a:pt x="17904" y="14230"/>
                  <a:pt x="17875" y="14230"/>
                </a:cubicBezTo>
                <a:close/>
                <a:moveTo>
                  <a:pt x="17116" y="8729"/>
                </a:moveTo>
                <a:cubicBezTo>
                  <a:pt x="17086" y="8729"/>
                  <a:pt x="17062" y="8779"/>
                  <a:pt x="17062" y="8842"/>
                </a:cubicBezTo>
                <a:cubicBezTo>
                  <a:pt x="17062" y="8904"/>
                  <a:pt x="17086" y="8955"/>
                  <a:pt x="17116" y="8955"/>
                </a:cubicBezTo>
                <a:cubicBezTo>
                  <a:pt x="17145" y="8955"/>
                  <a:pt x="17170" y="8904"/>
                  <a:pt x="17170" y="8842"/>
                </a:cubicBezTo>
                <a:cubicBezTo>
                  <a:pt x="17170" y="8779"/>
                  <a:pt x="17145" y="8729"/>
                  <a:pt x="17116" y="8729"/>
                </a:cubicBezTo>
                <a:close/>
                <a:moveTo>
                  <a:pt x="16963" y="8729"/>
                </a:moveTo>
                <a:cubicBezTo>
                  <a:pt x="16933" y="8729"/>
                  <a:pt x="16909" y="8779"/>
                  <a:pt x="16909" y="8842"/>
                </a:cubicBezTo>
                <a:cubicBezTo>
                  <a:pt x="16909" y="8904"/>
                  <a:pt x="16933" y="8955"/>
                  <a:pt x="16963" y="8955"/>
                </a:cubicBezTo>
                <a:cubicBezTo>
                  <a:pt x="16993" y="8955"/>
                  <a:pt x="17017" y="8904"/>
                  <a:pt x="17017" y="8842"/>
                </a:cubicBezTo>
                <a:cubicBezTo>
                  <a:pt x="17017" y="8779"/>
                  <a:pt x="16993" y="8729"/>
                  <a:pt x="16963" y="8729"/>
                </a:cubicBezTo>
                <a:close/>
                <a:moveTo>
                  <a:pt x="16808" y="8729"/>
                </a:moveTo>
                <a:cubicBezTo>
                  <a:pt x="16778" y="8729"/>
                  <a:pt x="16754" y="8779"/>
                  <a:pt x="16754" y="8842"/>
                </a:cubicBezTo>
                <a:cubicBezTo>
                  <a:pt x="16754" y="8904"/>
                  <a:pt x="16778" y="8955"/>
                  <a:pt x="16808" y="8955"/>
                </a:cubicBezTo>
                <a:cubicBezTo>
                  <a:pt x="16838" y="8955"/>
                  <a:pt x="16862" y="8904"/>
                  <a:pt x="16862" y="8842"/>
                </a:cubicBezTo>
                <a:cubicBezTo>
                  <a:pt x="16862" y="8779"/>
                  <a:pt x="16838" y="8729"/>
                  <a:pt x="16808" y="8729"/>
                </a:cubicBezTo>
                <a:close/>
                <a:moveTo>
                  <a:pt x="16350" y="8729"/>
                </a:moveTo>
                <a:cubicBezTo>
                  <a:pt x="16320" y="8729"/>
                  <a:pt x="16296" y="8779"/>
                  <a:pt x="16296" y="8842"/>
                </a:cubicBezTo>
                <a:cubicBezTo>
                  <a:pt x="16296" y="8904"/>
                  <a:pt x="16320" y="8955"/>
                  <a:pt x="16350" y="8955"/>
                </a:cubicBezTo>
                <a:cubicBezTo>
                  <a:pt x="16379" y="8955"/>
                  <a:pt x="16403" y="8904"/>
                  <a:pt x="16403" y="8842"/>
                </a:cubicBezTo>
                <a:cubicBezTo>
                  <a:pt x="16403" y="8779"/>
                  <a:pt x="16379" y="8729"/>
                  <a:pt x="16350" y="8729"/>
                </a:cubicBezTo>
                <a:close/>
                <a:moveTo>
                  <a:pt x="16350" y="9055"/>
                </a:moveTo>
                <a:cubicBezTo>
                  <a:pt x="16320" y="9055"/>
                  <a:pt x="16296" y="9106"/>
                  <a:pt x="16296" y="9168"/>
                </a:cubicBezTo>
                <a:cubicBezTo>
                  <a:pt x="16296" y="9231"/>
                  <a:pt x="16320" y="9281"/>
                  <a:pt x="16350" y="9281"/>
                </a:cubicBezTo>
                <a:cubicBezTo>
                  <a:pt x="16379" y="9281"/>
                  <a:pt x="16403" y="9231"/>
                  <a:pt x="16403" y="9168"/>
                </a:cubicBezTo>
                <a:cubicBezTo>
                  <a:pt x="16403" y="9106"/>
                  <a:pt x="16379" y="9055"/>
                  <a:pt x="16350" y="9055"/>
                </a:cubicBezTo>
                <a:close/>
                <a:moveTo>
                  <a:pt x="16654" y="8729"/>
                </a:moveTo>
                <a:cubicBezTo>
                  <a:pt x="16624" y="8729"/>
                  <a:pt x="16600" y="8779"/>
                  <a:pt x="16600" y="8842"/>
                </a:cubicBezTo>
                <a:cubicBezTo>
                  <a:pt x="16600" y="8904"/>
                  <a:pt x="16624" y="8955"/>
                  <a:pt x="16654" y="8955"/>
                </a:cubicBezTo>
                <a:cubicBezTo>
                  <a:pt x="16684" y="8955"/>
                  <a:pt x="16708" y="8904"/>
                  <a:pt x="16708" y="8842"/>
                </a:cubicBezTo>
                <a:cubicBezTo>
                  <a:pt x="16708" y="8779"/>
                  <a:pt x="16684" y="8729"/>
                  <a:pt x="16654" y="8729"/>
                </a:cubicBezTo>
                <a:close/>
                <a:moveTo>
                  <a:pt x="16501" y="8729"/>
                </a:moveTo>
                <a:cubicBezTo>
                  <a:pt x="16471" y="8729"/>
                  <a:pt x="16447" y="8779"/>
                  <a:pt x="16447" y="8842"/>
                </a:cubicBezTo>
                <a:cubicBezTo>
                  <a:pt x="16447" y="8904"/>
                  <a:pt x="16471" y="8955"/>
                  <a:pt x="16501" y="8955"/>
                </a:cubicBezTo>
                <a:cubicBezTo>
                  <a:pt x="16531" y="8955"/>
                  <a:pt x="16555" y="8904"/>
                  <a:pt x="16555" y="8842"/>
                </a:cubicBezTo>
                <a:cubicBezTo>
                  <a:pt x="16555" y="8779"/>
                  <a:pt x="16531" y="8729"/>
                  <a:pt x="16501" y="8729"/>
                </a:cubicBezTo>
                <a:close/>
                <a:moveTo>
                  <a:pt x="16808" y="9055"/>
                </a:moveTo>
                <a:cubicBezTo>
                  <a:pt x="16778" y="9055"/>
                  <a:pt x="16754" y="9106"/>
                  <a:pt x="16754" y="9168"/>
                </a:cubicBezTo>
                <a:cubicBezTo>
                  <a:pt x="16754" y="9231"/>
                  <a:pt x="16778" y="9281"/>
                  <a:pt x="16808" y="9281"/>
                </a:cubicBezTo>
                <a:cubicBezTo>
                  <a:pt x="16838" y="9281"/>
                  <a:pt x="16862" y="9231"/>
                  <a:pt x="16862" y="9168"/>
                </a:cubicBezTo>
                <a:cubicBezTo>
                  <a:pt x="16862" y="9106"/>
                  <a:pt x="16838" y="9055"/>
                  <a:pt x="16808" y="9055"/>
                </a:cubicBezTo>
                <a:close/>
                <a:moveTo>
                  <a:pt x="16654" y="9055"/>
                </a:moveTo>
                <a:cubicBezTo>
                  <a:pt x="16624" y="9055"/>
                  <a:pt x="16600" y="9106"/>
                  <a:pt x="16600" y="9168"/>
                </a:cubicBezTo>
                <a:cubicBezTo>
                  <a:pt x="16600" y="9231"/>
                  <a:pt x="16624" y="9281"/>
                  <a:pt x="16654" y="9281"/>
                </a:cubicBezTo>
                <a:cubicBezTo>
                  <a:pt x="16684" y="9281"/>
                  <a:pt x="16708" y="9231"/>
                  <a:pt x="16708" y="9168"/>
                </a:cubicBezTo>
                <a:cubicBezTo>
                  <a:pt x="16708" y="9106"/>
                  <a:pt x="16684" y="9055"/>
                  <a:pt x="16654" y="9055"/>
                </a:cubicBezTo>
                <a:close/>
                <a:moveTo>
                  <a:pt x="16501" y="9055"/>
                </a:moveTo>
                <a:cubicBezTo>
                  <a:pt x="16471" y="9055"/>
                  <a:pt x="16447" y="9106"/>
                  <a:pt x="16447" y="9168"/>
                </a:cubicBezTo>
                <a:cubicBezTo>
                  <a:pt x="16447" y="9231"/>
                  <a:pt x="16471" y="9281"/>
                  <a:pt x="16501" y="9281"/>
                </a:cubicBezTo>
                <a:cubicBezTo>
                  <a:pt x="16531" y="9281"/>
                  <a:pt x="16555" y="9231"/>
                  <a:pt x="16555" y="9168"/>
                </a:cubicBezTo>
                <a:cubicBezTo>
                  <a:pt x="16555" y="9106"/>
                  <a:pt x="16531" y="9055"/>
                  <a:pt x="16501" y="9055"/>
                </a:cubicBezTo>
                <a:close/>
                <a:moveTo>
                  <a:pt x="16186" y="8955"/>
                </a:moveTo>
                <a:cubicBezTo>
                  <a:pt x="16216" y="8955"/>
                  <a:pt x="16240" y="8904"/>
                  <a:pt x="16240" y="8842"/>
                </a:cubicBezTo>
                <a:cubicBezTo>
                  <a:pt x="16240" y="8779"/>
                  <a:pt x="16216" y="8729"/>
                  <a:pt x="16186" y="8729"/>
                </a:cubicBezTo>
                <a:cubicBezTo>
                  <a:pt x="16157" y="8729"/>
                  <a:pt x="16133" y="8779"/>
                  <a:pt x="16133" y="8842"/>
                </a:cubicBezTo>
                <a:cubicBezTo>
                  <a:pt x="16133" y="8904"/>
                  <a:pt x="16157" y="8955"/>
                  <a:pt x="16186" y="8955"/>
                </a:cubicBezTo>
                <a:close/>
                <a:moveTo>
                  <a:pt x="16032" y="8955"/>
                </a:moveTo>
                <a:cubicBezTo>
                  <a:pt x="16062" y="8955"/>
                  <a:pt x="16086" y="8904"/>
                  <a:pt x="16086" y="8842"/>
                </a:cubicBezTo>
                <a:cubicBezTo>
                  <a:pt x="16086" y="8779"/>
                  <a:pt x="16062" y="8729"/>
                  <a:pt x="16032" y="8729"/>
                </a:cubicBezTo>
                <a:cubicBezTo>
                  <a:pt x="16003" y="8729"/>
                  <a:pt x="15979" y="8779"/>
                  <a:pt x="15979" y="8842"/>
                </a:cubicBezTo>
                <a:cubicBezTo>
                  <a:pt x="15979" y="8904"/>
                  <a:pt x="16003" y="8955"/>
                  <a:pt x="16032" y="8955"/>
                </a:cubicBezTo>
                <a:close/>
                <a:moveTo>
                  <a:pt x="15880" y="8729"/>
                </a:moveTo>
                <a:cubicBezTo>
                  <a:pt x="15850" y="8729"/>
                  <a:pt x="15826" y="8779"/>
                  <a:pt x="15826" y="8842"/>
                </a:cubicBezTo>
                <a:cubicBezTo>
                  <a:pt x="15826" y="8904"/>
                  <a:pt x="15850" y="8955"/>
                  <a:pt x="15880" y="8955"/>
                </a:cubicBezTo>
                <a:cubicBezTo>
                  <a:pt x="15909" y="8955"/>
                  <a:pt x="15934" y="8904"/>
                  <a:pt x="15934" y="8842"/>
                </a:cubicBezTo>
                <a:cubicBezTo>
                  <a:pt x="15934" y="8779"/>
                  <a:pt x="15909" y="8729"/>
                  <a:pt x="15880" y="8729"/>
                </a:cubicBezTo>
                <a:close/>
                <a:moveTo>
                  <a:pt x="16186" y="9281"/>
                </a:moveTo>
                <a:cubicBezTo>
                  <a:pt x="16216" y="9281"/>
                  <a:pt x="16240" y="9231"/>
                  <a:pt x="16240" y="9168"/>
                </a:cubicBezTo>
                <a:cubicBezTo>
                  <a:pt x="16240" y="9106"/>
                  <a:pt x="16216" y="9055"/>
                  <a:pt x="16186" y="9055"/>
                </a:cubicBezTo>
                <a:cubicBezTo>
                  <a:pt x="16157" y="9055"/>
                  <a:pt x="16133" y="9106"/>
                  <a:pt x="16133" y="9168"/>
                </a:cubicBezTo>
                <a:cubicBezTo>
                  <a:pt x="16133" y="9231"/>
                  <a:pt x="16157" y="9281"/>
                  <a:pt x="16186" y="9281"/>
                </a:cubicBezTo>
                <a:close/>
                <a:moveTo>
                  <a:pt x="16032" y="9281"/>
                </a:moveTo>
                <a:cubicBezTo>
                  <a:pt x="16062" y="9281"/>
                  <a:pt x="16086" y="9231"/>
                  <a:pt x="16086" y="9168"/>
                </a:cubicBezTo>
                <a:cubicBezTo>
                  <a:pt x="16086" y="9106"/>
                  <a:pt x="16062" y="9055"/>
                  <a:pt x="16032" y="9055"/>
                </a:cubicBezTo>
                <a:cubicBezTo>
                  <a:pt x="16003" y="9055"/>
                  <a:pt x="15979" y="9106"/>
                  <a:pt x="15979" y="9168"/>
                </a:cubicBezTo>
                <a:cubicBezTo>
                  <a:pt x="15979" y="9231"/>
                  <a:pt x="16003" y="9281"/>
                  <a:pt x="16032" y="9281"/>
                </a:cubicBezTo>
                <a:close/>
                <a:moveTo>
                  <a:pt x="15880" y="9055"/>
                </a:moveTo>
                <a:cubicBezTo>
                  <a:pt x="15850" y="9055"/>
                  <a:pt x="15826" y="9106"/>
                  <a:pt x="15826" y="9168"/>
                </a:cubicBezTo>
                <a:cubicBezTo>
                  <a:pt x="15826" y="9231"/>
                  <a:pt x="15850" y="9281"/>
                  <a:pt x="15880" y="9281"/>
                </a:cubicBezTo>
                <a:cubicBezTo>
                  <a:pt x="15909" y="9281"/>
                  <a:pt x="15934" y="9231"/>
                  <a:pt x="15934" y="9168"/>
                </a:cubicBezTo>
                <a:cubicBezTo>
                  <a:pt x="15934" y="9106"/>
                  <a:pt x="15909" y="9055"/>
                  <a:pt x="15880" y="9055"/>
                </a:cubicBezTo>
                <a:close/>
                <a:moveTo>
                  <a:pt x="17265" y="8342"/>
                </a:moveTo>
                <a:cubicBezTo>
                  <a:pt x="17295" y="8342"/>
                  <a:pt x="17319" y="8291"/>
                  <a:pt x="17319" y="8229"/>
                </a:cubicBezTo>
                <a:cubicBezTo>
                  <a:pt x="17319" y="8166"/>
                  <a:pt x="17295" y="8116"/>
                  <a:pt x="17265" y="8116"/>
                </a:cubicBezTo>
                <a:cubicBezTo>
                  <a:pt x="17235" y="8116"/>
                  <a:pt x="17211" y="8166"/>
                  <a:pt x="17211" y="8229"/>
                </a:cubicBezTo>
                <a:cubicBezTo>
                  <a:pt x="17211" y="8291"/>
                  <a:pt x="17235" y="8342"/>
                  <a:pt x="17265" y="8342"/>
                </a:cubicBezTo>
                <a:close/>
                <a:moveTo>
                  <a:pt x="17265" y="8668"/>
                </a:moveTo>
                <a:cubicBezTo>
                  <a:pt x="17295" y="8668"/>
                  <a:pt x="17319" y="8618"/>
                  <a:pt x="17319" y="8555"/>
                </a:cubicBezTo>
                <a:cubicBezTo>
                  <a:pt x="17319" y="8493"/>
                  <a:pt x="17295" y="8442"/>
                  <a:pt x="17265" y="8442"/>
                </a:cubicBezTo>
                <a:cubicBezTo>
                  <a:pt x="17235" y="8442"/>
                  <a:pt x="17211" y="8493"/>
                  <a:pt x="17211" y="8555"/>
                </a:cubicBezTo>
                <a:cubicBezTo>
                  <a:pt x="17211" y="8618"/>
                  <a:pt x="17235" y="8668"/>
                  <a:pt x="17265" y="8668"/>
                </a:cubicBezTo>
                <a:close/>
                <a:moveTo>
                  <a:pt x="17265" y="7690"/>
                </a:moveTo>
                <a:cubicBezTo>
                  <a:pt x="17295" y="7690"/>
                  <a:pt x="17319" y="7639"/>
                  <a:pt x="17319" y="7576"/>
                </a:cubicBezTo>
                <a:cubicBezTo>
                  <a:pt x="17319" y="7514"/>
                  <a:pt x="17295" y="7463"/>
                  <a:pt x="17265" y="7463"/>
                </a:cubicBezTo>
                <a:cubicBezTo>
                  <a:pt x="17235" y="7463"/>
                  <a:pt x="17211" y="7514"/>
                  <a:pt x="17211" y="7576"/>
                </a:cubicBezTo>
                <a:cubicBezTo>
                  <a:pt x="17211" y="7639"/>
                  <a:pt x="17235" y="7690"/>
                  <a:pt x="17265" y="7690"/>
                </a:cubicBezTo>
                <a:close/>
                <a:moveTo>
                  <a:pt x="18065" y="11431"/>
                </a:moveTo>
                <a:cubicBezTo>
                  <a:pt x="18065" y="11369"/>
                  <a:pt x="18041" y="11318"/>
                  <a:pt x="18012" y="11318"/>
                </a:cubicBezTo>
                <a:cubicBezTo>
                  <a:pt x="17982" y="11318"/>
                  <a:pt x="17958" y="11369"/>
                  <a:pt x="17958" y="11431"/>
                </a:cubicBezTo>
                <a:cubicBezTo>
                  <a:pt x="17958" y="11494"/>
                  <a:pt x="17982" y="11545"/>
                  <a:pt x="18012" y="11545"/>
                </a:cubicBezTo>
                <a:cubicBezTo>
                  <a:pt x="18041" y="11545"/>
                  <a:pt x="18065" y="11494"/>
                  <a:pt x="18065" y="11431"/>
                </a:cubicBezTo>
                <a:close/>
                <a:moveTo>
                  <a:pt x="17880" y="11318"/>
                </a:moveTo>
                <a:cubicBezTo>
                  <a:pt x="17850" y="11318"/>
                  <a:pt x="17826" y="11369"/>
                  <a:pt x="17826" y="11431"/>
                </a:cubicBezTo>
                <a:cubicBezTo>
                  <a:pt x="17826" y="11494"/>
                  <a:pt x="17850" y="11545"/>
                  <a:pt x="17880" y="11545"/>
                </a:cubicBezTo>
                <a:cubicBezTo>
                  <a:pt x="17909" y="11545"/>
                  <a:pt x="17933" y="11494"/>
                  <a:pt x="17933" y="11431"/>
                </a:cubicBezTo>
                <a:cubicBezTo>
                  <a:pt x="17933" y="11369"/>
                  <a:pt x="17909" y="11318"/>
                  <a:pt x="17880" y="11318"/>
                </a:cubicBezTo>
                <a:close/>
                <a:moveTo>
                  <a:pt x="17420" y="10992"/>
                </a:moveTo>
                <a:cubicBezTo>
                  <a:pt x="17391" y="10992"/>
                  <a:pt x="17367" y="11043"/>
                  <a:pt x="17367" y="11105"/>
                </a:cubicBezTo>
                <a:cubicBezTo>
                  <a:pt x="17367" y="11168"/>
                  <a:pt x="17391" y="11218"/>
                  <a:pt x="17420" y="11218"/>
                </a:cubicBezTo>
                <a:cubicBezTo>
                  <a:pt x="17450" y="11218"/>
                  <a:pt x="17474" y="11168"/>
                  <a:pt x="17474" y="11105"/>
                </a:cubicBezTo>
                <a:cubicBezTo>
                  <a:pt x="17474" y="11043"/>
                  <a:pt x="17450" y="10992"/>
                  <a:pt x="17420" y="10992"/>
                </a:cubicBezTo>
                <a:close/>
                <a:moveTo>
                  <a:pt x="17753" y="10992"/>
                </a:moveTo>
                <a:cubicBezTo>
                  <a:pt x="17724" y="10992"/>
                  <a:pt x="17700" y="11043"/>
                  <a:pt x="17700" y="11105"/>
                </a:cubicBezTo>
                <a:cubicBezTo>
                  <a:pt x="17700" y="11168"/>
                  <a:pt x="17724" y="11218"/>
                  <a:pt x="17753" y="11218"/>
                </a:cubicBezTo>
                <a:cubicBezTo>
                  <a:pt x="17783" y="11218"/>
                  <a:pt x="17807" y="11168"/>
                  <a:pt x="17807" y="11105"/>
                </a:cubicBezTo>
                <a:cubicBezTo>
                  <a:pt x="17807" y="11043"/>
                  <a:pt x="17783" y="10992"/>
                  <a:pt x="17753" y="10992"/>
                </a:cubicBezTo>
                <a:close/>
                <a:moveTo>
                  <a:pt x="17885" y="10666"/>
                </a:moveTo>
                <a:cubicBezTo>
                  <a:pt x="17856" y="10666"/>
                  <a:pt x="17832" y="10716"/>
                  <a:pt x="17832" y="10779"/>
                </a:cubicBezTo>
                <a:cubicBezTo>
                  <a:pt x="17832" y="10841"/>
                  <a:pt x="17856" y="10892"/>
                  <a:pt x="17885" y="10892"/>
                </a:cubicBezTo>
                <a:cubicBezTo>
                  <a:pt x="17915" y="10892"/>
                  <a:pt x="17939" y="10841"/>
                  <a:pt x="17939" y="10779"/>
                </a:cubicBezTo>
                <a:cubicBezTo>
                  <a:pt x="17939" y="10716"/>
                  <a:pt x="17915" y="10666"/>
                  <a:pt x="17885" y="10666"/>
                </a:cubicBezTo>
                <a:close/>
                <a:moveTo>
                  <a:pt x="17725" y="10610"/>
                </a:moveTo>
                <a:cubicBezTo>
                  <a:pt x="17754" y="10610"/>
                  <a:pt x="17778" y="10559"/>
                  <a:pt x="17778" y="10497"/>
                </a:cubicBezTo>
                <a:cubicBezTo>
                  <a:pt x="17778" y="10434"/>
                  <a:pt x="17754" y="10383"/>
                  <a:pt x="17725" y="10383"/>
                </a:cubicBezTo>
                <a:cubicBezTo>
                  <a:pt x="17695" y="10383"/>
                  <a:pt x="17671" y="10434"/>
                  <a:pt x="17671" y="10497"/>
                </a:cubicBezTo>
                <a:cubicBezTo>
                  <a:pt x="17671" y="10559"/>
                  <a:pt x="17695" y="10610"/>
                  <a:pt x="17725" y="10610"/>
                </a:cubicBezTo>
                <a:close/>
                <a:moveTo>
                  <a:pt x="17575" y="10033"/>
                </a:moveTo>
                <a:cubicBezTo>
                  <a:pt x="17546" y="10033"/>
                  <a:pt x="17522" y="10084"/>
                  <a:pt x="17522" y="10146"/>
                </a:cubicBezTo>
                <a:cubicBezTo>
                  <a:pt x="17522" y="10209"/>
                  <a:pt x="17546" y="10259"/>
                  <a:pt x="17575" y="10259"/>
                </a:cubicBezTo>
                <a:cubicBezTo>
                  <a:pt x="17605" y="10259"/>
                  <a:pt x="17629" y="10209"/>
                  <a:pt x="17629" y="10146"/>
                </a:cubicBezTo>
                <a:cubicBezTo>
                  <a:pt x="17629" y="10084"/>
                  <a:pt x="17605" y="10033"/>
                  <a:pt x="17575" y="10033"/>
                </a:cubicBezTo>
                <a:close/>
                <a:moveTo>
                  <a:pt x="17575" y="9695"/>
                </a:moveTo>
                <a:cubicBezTo>
                  <a:pt x="17546" y="9695"/>
                  <a:pt x="17522" y="9745"/>
                  <a:pt x="17522" y="9808"/>
                </a:cubicBezTo>
                <a:cubicBezTo>
                  <a:pt x="17522" y="9870"/>
                  <a:pt x="17546" y="9921"/>
                  <a:pt x="17575" y="9921"/>
                </a:cubicBezTo>
                <a:cubicBezTo>
                  <a:pt x="17605" y="9921"/>
                  <a:pt x="17629" y="9870"/>
                  <a:pt x="17629" y="9808"/>
                </a:cubicBezTo>
                <a:cubicBezTo>
                  <a:pt x="17629" y="9745"/>
                  <a:pt x="17605" y="9695"/>
                  <a:pt x="17575" y="9695"/>
                </a:cubicBezTo>
                <a:close/>
                <a:moveTo>
                  <a:pt x="17466" y="8768"/>
                </a:moveTo>
                <a:cubicBezTo>
                  <a:pt x="17437" y="8768"/>
                  <a:pt x="17412" y="8819"/>
                  <a:pt x="17412" y="8882"/>
                </a:cubicBezTo>
                <a:cubicBezTo>
                  <a:pt x="17412" y="8944"/>
                  <a:pt x="17437" y="8995"/>
                  <a:pt x="17466" y="8995"/>
                </a:cubicBezTo>
                <a:cubicBezTo>
                  <a:pt x="17496" y="8995"/>
                  <a:pt x="17520" y="8944"/>
                  <a:pt x="17520" y="8882"/>
                </a:cubicBezTo>
                <a:cubicBezTo>
                  <a:pt x="17520" y="8819"/>
                  <a:pt x="17496" y="8768"/>
                  <a:pt x="17466" y="8768"/>
                </a:cubicBezTo>
                <a:close/>
                <a:moveTo>
                  <a:pt x="17445" y="7903"/>
                </a:moveTo>
                <a:cubicBezTo>
                  <a:pt x="17445" y="7840"/>
                  <a:pt x="17421" y="7790"/>
                  <a:pt x="17392" y="7790"/>
                </a:cubicBezTo>
                <a:cubicBezTo>
                  <a:pt x="17362" y="7790"/>
                  <a:pt x="17338" y="7840"/>
                  <a:pt x="17338" y="7903"/>
                </a:cubicBezTo>
                <a:cubicBezTo>
                  <a:pt x="17338" y="7965"/>
                  <a:pt x="17362" y="8016"/>
                  <a:pt x="17392" y="8016"/>
                </a:cubicBezTo>
                <a:cubicBezTo>
                  <a:pt x="17421" y="8016"/>
                  <a:pt x="17445" y="7965"/>
                  <a:pt x="17445" y="7903"/>
                </a:cubicBezTo>
                <a:close/>
                <a:moveTo>
                  <a:pt x="17265" y="8016"/>
                </a:moveTo>
                <a:cubicBezTo>
                  <a:pt x="17295" y="8016"/>
                  <a:pt x="17319" y="7965"/>
                  <a:pt x="17319" y="7903"/>
                </a:cubicBezTo>
                <a:cubicBezTo>
                  <a:pt x="17319" y="7840"/>
                  <a:pt x="17295" y="7790"/>
                  <a:pt x="17265" y="7790"/>
                </a:cubicBezTo>
                <a:cubicBezTo>
                  <a:pt x="17235" y="7790"/>
                  <a:pt x="17211" y="7840"/>
                  <a:pt x="17211" y="7903"/>
                </a:cubicBezTo>
                <a:cubicBezTo>
                  <a:pt x="17211" y="7965"/>
                  <a:pt x="17235" y="8016"/>
                  <a:pt x="17265" y="8016"/>
                </a:cubicBezTo>
                <a:close/>
                <a:moveTo>
                  <a:pt x="17116" y="8116"/>
                </a:moveTo>
                <a:cubicBezTo>
                  <a:pt x="17086" y="8116"/>
                  <a:pt x="17062" y="8166"/>
                  <a:pt x="17062" y="8229"/>
                </a:cubicBezTo>
                <a:cubicBezTo>
                  <a:pt x="17062" y="8291"/>
                  <a:pt x="17086" y="8342"/>
                  <a:pt x="17116" y="8342"/>
                </a:cubicBezTo>
                <a:cubicBezTo>
                  <a:pt x="17145" y="8342"/>
                  <a:pt x="17170" y="8291"/>
                  <a:pt x="17170" y="8229"/>
                </a:cubicBezTo>
                <a:cubicBezTo>
                  <a:pt x="17170" y="8166"/>
                  <a:pt x="17145" y="8116"/>
                  <a:pt x="17116" y="8116"/>
                </a:cubicBezTo>
                <a:close/>
                <a:moveTo>
                  <a:pt x="16963" y="8116"/>
                </a:moveTo>
                <a:cubicBezTo>
                  <a:pt x="16933" y="8116"/>
                  <a:pt x="16909" y="8166"/>
                  <a:pt x="16909" y="8229"/>
                </a:cubicBezTo>
                <a:cubicBezTo>
                  <a:pt x="16909" y="8291"/>
                  <a:pt x="16933" y="8342"/>
                  <a:pt x="16963" y="8342"/>
                </a:cubicBezTo>
                <a:cubicBezTo>
                  <a:pt x="16993" y="8342"/>
                  <a:pt x="17017" y="8291"/>
                  <a:pt x="17017" y="8229"/>
                </a:cubicBezTo>
                <a:cubicBezTo>
                  <a:pt x="17017" y="8166"/>
                  <a:pt x="16993" y="8116"/>
                  <a:pt x="16963" y="8116"/>
                </a:cubicBezTo>
                <a:close/>
                <a:moveTo>
                  <a:pt x="16808" y="8116"/>
                </a:moveTo>
                <a:cubicBezTo>
                  <a:pt x="16778" y="8116"/>
                  <a:pt x="16754" y="8166"/>
                  <a:pt x="16754" y="8229"/>
                </a:cubicBezTo>
                <a:cubicBezTo>
                  <a:pt x="16754" y="8291"/>
                  <a:pt x="16778" y="8342"/>
                  <a:pt x="16808" y="8342"/>
                </a:cubicBezTo>
                <a:cubicBezTo>
                  <a:pt x="16838" y="8342"/>
                  <a:pt x="16862" y="8291"/>
                  <a:pt x="16862" y="8229"/>
                </a:cubicBezTo>
                <a:cubicBezTo>
                  <a:pt x="16862" y="8166"/>
                  <a:pt x="16838" y="8116"/>
                  <a:pt x="16808" y="8116"/>
                </a:cubicBezTo>
                <a:close/>
                <a:moveTo>
                  <a:pt x="16350" y="8116"/>
                </a:moveTo>
                <a:cubicBezTo>
                  <a:pt x="16320" y="8116"/>
                  <a:pt x="16296" y="8166"/>
                  <a:pt x="16296" y="8229"/>
                </a:cubicBezTo>
                <a:cubicBezTo>
                  <a:pt x="16296" y="8291"/>
                  <a:pt x="16320" y="8342"/>
                  <a:pt x="16350" y="8342"/>
                </a:cubicBezTo>
                <a:cubicBezTo>
                  <a:pt x="16379" y="8342"/>
                  <a:pt x="16403" y="8291"/>
                  <a:pt x="16403" y="8229"/>
                </a:cubicBezTo>
                <a:cubicBezTo>
                  <a:pt x="16403" y="8166"/>
                  <a:pt x="16379" y="8116"/>
                  <a:pt x="16350" y="8116"/>
                </a:cubicBezTo>
                <a:close/>
                <a:moveTo>
                  <a:pt x="16350" y="8442"/>
                </a:moveTo>
                <a:cubicBezTo>
                  <a:pt x="16320" y="8442"/>
                  <a:pt x="16296" y="8493"/>
                  <a:pt x="16296" y="8555"/>
                </a:cubicBezTo>
                <a:cubicBezTo>
                  <a:pt x="16296" y="8618"/>
                  <a:pt x="16320" y="8668"/>
                  <a:pt x="16350" y="8668"/>
                </a:cubicBezTo>
                <a:cubicBezTo>
                  <a:pt x="16379" y="8668"/>
                  <a:pt x="16403" y="8618"/>
                  <a:pt x="16403" y="8555"/>
                </a:cubicBezTo>
                <a:cubicBezTo>
                  <a:pt x="16403" y="8493"/>
                  <a:pt x="16379" y="8442"/>
                  <a:pt x="16350" y="8442"/>
                </a:cubicBezTo>
                <a:close/>
                <a:moveTo>
                  <a:pt x="16654" y="8116"/>
                </a:moveTo>
                <a:cubicBezTo>
                  <a:pt x="16624" y="8116"/>
                  <a:pt x="16600" y="8166"/>
                  <a:pt x="16600" y="8229"/>
                </a:cubicBezTo>
                <a:cubicBezTo>
                  <a:pt x="16600" y="8291"/>
                  <a:pt x="16624" y="8342"/>
                  <a:pt x="16654" y="8342"/>
                </a:cubicBezTo>
                <a:cubicBezTo>
                  <a:pt x="16684" y="8342"/>
                  <a:pt x="16708" y="8291"/>
                  <a:pt x="16708" y="8229"/>
                </a:cubicBezTo>
                <a:cubicBezTo>
                  <a:pt x="16708" y="8166"/>
                  <a:pt x="16684" y="8116"/>
                  <a:pt x="16654" y="8116"/>
                </a:cubicBezTo>
                <a:close/>
                <a:moveTo>
                  <a:pt x="16501" y="8116"/>
                </a:moveTo>
                <a:cubicBezTo>
                  <a:pt x="16471" y="8116"/>
                  <a:pt x="16447" y="8166"/>
                  <a:pt x="16447" y="8229"/>
                </a:cubicBezTo>
                <a:cubicBezTo>
                  <a:pt x="16447" y="8291"/>
                  <a:pt x="16471" y="8342"/>
                  <a:pt x="16501" y="8342"/>
                </a:cubicBezTo>
                <a:cubicBezTo>
                  <a:pt x="16531" y="8342"/>
                  <a:pt x="16555" y="8291"/>
                  <a:pt x="16555" y="8229"/>
                </a:cubicBezTo>
                <a:cubicBezTo>
                  <a:pt x="16555" y="8166"/>
                  <a:pt x="16531" y="8116"/>
                  <a:pt x="16501" y="8116"/>
                </a:cubicBezTo>
                <a:close/>
                <a:moveTo>
                  <a:pt x="17116" y="8442"/>
                </a:moveTo>
                <a:cubicBezTo>
                  <a:pt x="17086" y="8442"/>
                  <a:pt x="17062" y="8493"/>
                  <a:pt x="17062" y="8555"/>
                </a:cubicBezTo>
                <a:cubicBezTo>
                  <a:pt x="17062" y="8618"/>
                  <a:pt x="17086" y="8668"/>
                  <a:pt x="17116" y="8668"/>
                </a:cubicBezTo>
                <a:cubicBezTo>
                  <a:pt x="17145" y="8668"/>
                  <a:pt x="17170" y="8618"/>
                  <a:pt x="17170" y="8555"/>
                </a:cubicBezTo>
                <a:cubicBezTo>
                  <a:pt x="17170" y="8493"/>
                  <a:pt x="17145" y="8442"/>
                  <a:pt x="17116" y="8442"/>
                </a:cubicBezTo>
                <a:close/>
                <a:moveTo>
                  <a:pt x="16963" y="8442"/>
                </a:moveTo>
                <a:cubicBezTo>
                  <a:pt x="16933" y="8442"/>
                  <a:pt x="16909" y="8493"/>
                  <a:pt x="16909" y="8555"/>
                </a:cubicBezTo>
                <a:cubicBezTo>
                  <a:pt x="16909" y="8618"/>
                  <a:pt x="16933" y="8668"/>
                  <a:pt x="16963" y="8668"/>
                </a:cubicBezTo>
                <a:cubicBezTo>
                  <a:pt x="16993" y="8668"/>
                  <a:pt x="17017" y="8618"/>
                  <a:pt x="17017" y="8555"/>
                </a:cubicBezTo>
                <a:cubicBezTo>
                  <a:pt x="17017" y="8493"/>
                  <a:pt x="16993" y="8442"/>
                  <a:pt x="16963" y="8442"/>
                </a:cubicBezTo>
                <a:close/>
                <a:moveTo>
                  <a:pt x="16808" y="8442"/>
                </a:moveTo>
                <a:cubicBezTo>
                  <a:pt x="16778" y="8442"/>
                  <a:pt x="16754" y="8493"/>
                  <a:pt x="16754" y="8555"/>
                </a:cubicBezTo>
                <a:cubicBezTo>
                  <a:pt x="16754" y="8618"/>
                  <a:pt x="16778" y="8668"/>
                  <a:pt x="16808" y="8668"/>
                </a:cubicBezTo>
                <a:cubicBezTo>
                  <a:pt x="16838" y="8668"/>
                  <a:pt x="16862" y="8618"/>
                  <a:pt x="16862" y="8555"/>
                </a:cubicBezTo>
                <a:cubicBezTo>
                  <a:pt x="16862" y="8493"/>
                  <a:pt x="16838" y="8442"/>
                  <a:pt x="16808" y="8442"/>
                </a:cubicBezTo>
                <a:close/>
                <a:moveTo>
                  <a:pt x="16654" y="8442"/>
                </a:moveTo>
                <a:cubicBezTo>
                  <a:pt x="16624" y="8442"/>
                  <a:pt x="16600" y="8493"/>
                  <a:pt x="16600" y="8555"/>
                </a:cubicBezTo>
                <a:cubicBezTo>
                  <a:pt x="16600" y="8618"/>
                  <a:pt x="16624" y="8668"/>
                  <a:pt x="16654" y="8668"/>
                </a:cubicBezTo>
                <a:cubicBezTo>
                  <a:pt x="16684" y="8668"/>
                  <a:pt x="16708" y="8618"/>
                  <a:pt x="16708" y="8555"/>
                </a:cubicBezTo>
                <a:cubicBezTo>
                  <a:pt x="16708" y="8493"/>
                  <a:pt x="16684" y="8442"/>
                  <a:pt x="16654" y="8442"/>
                </a:cubicBezTo>
                <a:close/>
                <a:moveTo>
                  <a:pt x="16501" y="8442"/>
                </a:moveTo>
                <a:cubicBezTo>
                  <a:pt x="16471" y="8442"/>
                  <a:pt x="16447" y="8493"/>
                  <a:pt x="16447" y="8555"/>
                </a:cubicBezTo>
                <a:cubicBezTo>
                  <a:pt x="16447" y="8618"/>
                  <a:pt x="16471" y="8668"/>
                  <a:pt x="16501" y="8668"/>
                </a:cubicBezTo>
                <a:cubicBezTo>
                  <a:pt x="16531" y="8668"/>
                  <a:pt x="16555" y="8618"/>
                  <a:pt x="16555" y="8555"/>
                </a:cubicBezTo>
                <a:cubicBezTo>
                  <a:pt x="16555" y="8493"/>
                  <a:pt x="16531" y="8442"/>
                  <a:pt x="16501" y="8442"/>
                </a:cubicBezTo>
                <a:close/>
                <a:moveTo>
                  <a:pt x="16186" y="8342"/>
                </a:moveTo>
                <a:cubicBezTo>
                  <a:pt x="16216" y="8342"/>
                  <a:pt x="16240" y="8291"/>
                  <a:pt x="16240" y="8229"/>
                </a:cubicBezTo>
                <a:cubicBezTo>
                  <a:pt x="16240" y="8166"/>
                  <a:pt x="16216" y="8116"/>
                  <a:pt x="16186" y="8116"/>
                </a:cubicBezTo>
                <a:cubicBezTo>
                  <a:pt x="16157" y="8116"/>
                  <a:pt x="16133" y="8166"/>
                  <a:pt x="16133" y="8229"/>
                </a:cubicBezTo>
                <a:cubicBezTo>
                  <a:pt x="16133" y="8291"/>
                  <a:pt x="16157" y="8342"/>
                  <a:pt x="16186" y="8342"/>
                </a:cubicBezTo>
                <a:close/>
                <a:moveTo>
                  <a:pt x="16032" y="8342"/>
                </a:moveTo>
                <a:cubicBezTo>
                  <a:pt x="16062" y="8342"/>
                  <a:pt x="16086" y="8291"/>
                  <a:pt x="16086" y="8229"/>
                </a:cubicBezTo>
                <a:cubicBezTo>
                  <a:pt x="16086" y="8166"/>
                  <a:pt x="16062" y="8116"/>
                  <a:pt x="16032" y="8116"/>
                </a:cubicBezTo>
                <a:cubicBezTo>
                  <a:pt x="16003" y="8116"/>
                  <a:pt x="15979" y="8166"/>
                  <a:pt x="15979" y="8229"/>
                </a:cubicBezTo>
                <a:cubicBezTo>
                  <a:pt x="15979" y="8291"/>
                  <a:pt x="16003" y="8342"/>
                  <a:pt x="16032" y="8342"/>
                </a:cubicBezTo>
                <a:close/>
                <a:moveTo>
                  <a:pt x="15880" y="8116"/>
                </a:moveTo>
                <a:cubicBezTo>
                  <a:pt x="15850" y="8116"/>
                  <a:pt x="15826" y="8166"/>
                  <a:pt x="15826" y="8229"/>
                </a:cubicBezTo>
                <a:cubicBezTo>
                  <a:pt x="15826" y="8291"/>
                  <a:pt x="15850" y="8342"/>
                  <a:pt x="15880" y="8342"/>
                </a:cubicBezTo>
                <a:cubicBezTo>
                  <a:pt x="15909" y="8342"/>
                  <a:pt x="15934" y="8291"/>
                  <a:pt x="15934" y="8229"/>
                </a:cubicBezTo>
                <a:cubicBezTo>
                  <a:pt x="15934" y="8166"/>
                  <a:pt x="15909" y="8116"/>
                  <a:pt x="15880" y="8116"/>
                </a:cubicBezTo>
                <a:close/>
                <a:moveTo>
                  <a:pt x="16186" y="8668"/>
                </a:moveTo>
                <a:cubicBezTo>
                  <a:pt x="16216" y="8668"/>
                  <a:pt x="16240" y="8618"/>
                  <a:pt x="16240" y="8555"/>
                </a:cubicBezTo>
                <a:cubicBezTo>
                  <a:pt x="16240" y="8493"/>
                  <a:pt x="16216" y="8442"/>
                  <a:pt x="16186" y="8442"/>
                </a:cubicBezTo>
                <a:cubicBezTo>
                  <a:pt x="16157" y="8442"/>
                  <a:pt x="16133" y="8493"/>
                  <a:pt x="16133" y="8555"/>
                </a:cubicBezTo>
                <a:cubicBezTo>
                  <a:pt x="16133" y="8618"/>
                  <a:pt x="16157" y="8668"/>
                  <a:pt x="16186" y="8668"/>
                </a:cubicBezTo>
                <a:close/>
                <a:moveTo>
                  <a:pt x="16032" y="8668"/>
                </a:moveTo>
                <a:cubicBezTo>
                  <a:pt x="16062" y="8668"/>
                  <a:pt x="16086" y="8618"/>
                  <a:pt x="16086" y="8555"/>
                </a:cubicBezTo>
                <a:cubicBezTo>
                  <a:pt x="16086" y="8493"/>
                  <a:pt x="16062" y="8442"/>
                  <a:pt x="16032" y="8442"/>
                </a:cubicBezTo>
                <a:cubicBezTo>
                  <a:pt x="16003" y="8442"/>
                  <a:pt x="15979" y="8493"/>
                  <a:pt x="15979" y="8555"/>
                </a:cubicBezTo>
                <a:cubicBezTo>
                  <a:pt x="15979" y="8618"/>
                  <a:pt x="16003" y="8668"/>
                  <a:pt x="16032" y="8668"/>
                </a:cubicBezTo>
                <a:close/>
                <a:moveTo>
                  <a:pt x="15880" y="8442"/>
                </a:moveTo>
                <a:cubicBezTo>
                  <a:pt x="15850" y="8442"/>
                  <a:pt x="15826" y="8493"/>
                  <a:pt x="15826" y="8555"/>
                </a:cubicBezTo>
                <a:cubicBezTo>
                  <a:pt x="15826" y="8618"/>
                  <a:pt x="15850" y="8668"/>
                  <a:pt x="15880" y="8668"/>
                </a:cubicBezTo>
                <a:cubicBezTo>
                  <a:pt x="15909" y="8668"/>
                  <a:pt x="15934" y="8618"/>
                  <a:pt x="15934" y="8555"/>
                </a:cubicBezTo>
                <a:cubicBezTo>
                  <a:pt x="15934" y="8493"/>
                  <a:pt x="15909" y="8442"/>
                  <a:pt x="15880" y="8442"/>
                </a:cubicBezTo>
                <a:close/>
                <a:moveTo>
                  <a:pt x="17116" y="7463"/>
                </a:moveTo>
                <a:cubicBezTo>
                  <a:pt x="17086" y="7463"/>
                  <a:pt x="17062" y="7514"/>
                  <a:pt x="17062" y="7576"/>
                </a:cubicBezTo>
                <a:cubicBezTo>
                  <a:pt x="17062" y="7639"/>
                  <a:pt x="17086" y="7690"/>
                  <a:pt x="17116" y="7690"/>
                </a:cubicBezTo>
                <a:cubicBezTo>
                  <a:pt x="17145" y="7690"/>
                  <a:pt x="17170" y="7639"/>
                  <a:pt x="17170" y="7576"/>
                </a:cubicBezTo>
                <a:cubicBezTo>
                  <a:pt x="17170" y="7514"/>
                  <a:pt x="17145" y="7463"/>
                  <a:pt x="17116" y="7463"/>
                </a:cubicBezTo>
                <a:close/>
                <a:moveTo>
                  <a:pt x="16963" y="7463"/>
                </a:moveTo>
                <a:cubicBezTo>
                  <a:pt x="16933" y="7463"/>
                  <a:pt x="16909" y="7514"/>
                  <a:pt x="16909" y="7576"/>
                </a:cubicBezTo>
                <a:cubicBezTo>
                  <a:pt x="16909" y="7639"/>
                  <a:pt x="16933" y="7690"/>
                  <a:pt x="16963" y="7690"/>
                </a:cubicBezTo>
                <a:cubicBezTo>
                  <a:pt x="16993" y="7690"/>
                  <a:pt x="17017" y="7639"/>
                  <a:pt x="17017" y="7576"/>
                </a:cubicBezTo>
                <a:cubicBezTo>
                  <a:pt x="17017" y="7514"/>
                  <a:pt x="16993" y="7463"/>
                  <a:pt x="16963" y="7463"/>
                </a:cubicBezTo>
                <a:close/>
                <a:moveTo>
                  <a:pt x="16808" y="7463"/>
                </a:moveTo>
                <a:cubicBezTo>
                  <a:pt x="16778" y="7463"/>
                  <a:pt x="16754" y="7514"/>
                  <a:pt x="16754" y="7576"/>
                </a:cubicBezTo>
                <a:cubicBezTo>
                  <a:pt x="16754" y="7639"/>
                  <a:pt x="16778" y="7690"/>
                  <a:pt x="16808" y="7690"/>
                </a:cubicBezTo>
                <a:cubicBezTo>
                  <a:pt x="16838" y="7690"/>
                  <a:pt x="16862" y="7639"/>
                  <a:pt x="16862" y="7576"/>
                </a:cubicBezTo>
                <a:cubicBezTo>
                  <a:pt x="16862" y="7514"/>
                  <a:pt x="16838" y="7463"/>
                  <a:pt x="16808" y="7463"/>
                </a:cubicBezTo>
                <a:close/>
                <a:moveTo>
                  <a:pt x="16350" y="7463"/>
                </a:moveTo>
                <a:cubicBezTo>
                  <a:pt x="16320" y="7463"/>
                  <a:pt x="16296" y="7514"/>
                  <a:pt x="16296" y="7576"/>
                </a:cubicBezTo>
                <a:cubicBezTo>
                  <a:pt x="16296" y="7639"/>
                  <a:pt x="16320" y="7690"/>
                  <a:pt x="16350" y="7690"/>
                </a:cubicBezTo>
                <a:cubicBezTo>
                  <a:pt x="16379" y="7690"/>
                  <a:pt x="16403" y="7639"/>
                  <a:pt x="16403" y="7576"/>
                </a:cubicBezTo>
                <a:cubicBezTo>
                  <a:pt x="16403" y="7514"/>
                  <a:pt x="16379" y="7463"/>
                  <a:pt x="16350" y="7463"/>
                </a:cubicBezTo>
                <a:close/>
                <a:moveTo>
                  <a:pt x="16350" y="7790"/>
                </a:moveTo>
                <a:cubicBezTo>
                  <a:pt x="16320" y="7790"/>
                  <a:pt x="16296" y="7840"/>
                  <a:pt x="16296" y="7903"/>
                </a:cubicBezTo>
                <a:cubicBezTo>
                  <a:pt x="16296" y="7965"/>
                  <a:pt x="16320" y="8016"/>
                  <a:pt x="16350" y="8016"/>
                </a:cubicBezTo>
                <a:cubicBezTo>
                  <a:pt x="16379" y="8016"/>
                  <a:pt x="16403" y="7965"/>
                  <a:pt x="16403" y="7903"/>
                </a:cubicBezTo>
                <a:cubicBezTo>
                  <a:pt x="16403" y="7840"/>
                  <a:pt x="16379" y="7790"/>
                  <a:pt x="16350" y="7790"/>
                </a:cubicBezTo>
                <a:close/>
                <a:moveTo>
                  <a:pt x="16654" y="7463"/>
                </a:moveTo>
                <a:cubicBezTo>
                  <a:pt x="16624" y="7463"/>
                  <a:pt x="16600" y="7514"/>
                  <a:pt x="16600" y="7576"/>
                </a:cubicBezTo>
                <a:cubicBezTo>
                  <a:pt x="16600" y="7639"/>
                  <a:pt x="16624" y="7690"/>
                  <a:pt x="16654" y="7690"/>
                </a:cubicBezTo>
                <a:cubicBezTo>
                  <a:pt x="16684" y="7690"/>
                  <a:pt x="16708" y="7639"/>
                  <a:pt x="16708" y="7576"/>
                </a:cubicBezTo>
                <a:cubicBezTo>
                  <a:pt x="16708" y="7514"/>
                  <a:pt x="16684" y="7463"/>
                  <a:pt x="16654" y="7463"/>
                </a:cubicBezTo>
                <a:close/>
                <a:moveTo>
                  <a:pt x="16501" y="7463"/>
                </a:moveTo>
                <a:cubicBezTo>
                  <a:pt x="16471" y="7463"/>
                  <a:pt x="16447" y="7514"/>
                  <a:pt x="16447" y="7576"/>
                </a:cubicBezTo>
                <a:cubicBezTo>
                  <a:pt x="16447" y="7639"/>
                  <a:pt x="16471" y="7690"/>
                  <a:pt x="16501" y="7690"/>
                </a:cubicBezTo>
                <a:cubicBezTo>
                  <a:pt x="16531" y="7690"/>
                  <a:pt x="16555" y="7639"/>
                  <a:pt x="16555" y="7576"/>
                </a:cubicBezTo>
                <a:cubicBezTo>
                  <a:pt x="16555" y="7514"/>
                  <a:pt x="16531" y="7463"/>
                  <a:pt x="16501" y="7463"/>
                </a:cubicBezTo>
                <a:close/>
                <a:moveTo>
                  <a:pt x="17116" y="7790"/>
                </a:moveTo>
                <a:cubicBezTo>
                  <a:pt x="17086" y="7790"/>
                  <a:pt x="17062" y="7840"/>
                  <a:pt x="17062" y="7903"/>
                </a:cubicBezTo>
                <a:cubicBezTo>
                  <a:pt x="17062" y="7965"/>
                  <a:pt x="17086" y="8016"/>
                  <a:pt x="17116" y="8016"/>
                </a:cubicBezTo>
                <a:cubicBezTo>
                  <a:pt x="17145" y="8016"/>
                  <a:pt x="17170" y="7965"/>
                  <a:pt x="17170" y="7903"/>
                </a:cubicBezTo>
                <a:cubicBezTo>
                  <a:pt x="17170" y="7840"/>
                  <a:pt x="17145" y="7790"/>
                  <a:pt x="17116" y="7790"/>
                </a:cubicBezTo>
                <a:close/>
                <a:moveTo>
                  <a:pt x="16963" y="7790"/>
                </a:moveTo>
                <a:cubicBezTo>
                  <a:pt x="16933" y="7790"/>
                  <a:pt x="16909" y="7840"/>
                  <a:pt x="16909" y="7903"/>
                </a:cubicBezTo>
                <a:cubicBezTo>
                  <a:pt x="16909" y="7965"/>
                  <a:pt x="16933" y="8016"/>
                  <a:pt x="16963" y="8016"/>
                </a:cubicBezTo>
                <a:cubicBezTo>
                  <a:pt x="16993" y="8016"/>
                  <a:pt x="17017" y="7965"/>
                  <a:pt x="17017" y="7903"/>
                </a:cubicBezTo>
                <a:cubicBezTo>
                  <a:pt x="17017" y="7840"/>
                  <a:pt x="16993" y="7790"/>
                  <a:pt x="16963" y="7790"/>
                </a:cubicBezTo>
                <a:close/>
                <a:moveTo>
                  <a:pt x="16808" y="7790"/>
                </a:moveTo>
                <a:cubicBezTo>
                  <a:pt x="16778" y="7790"/>
                  <a:pt x="16754" y="7840"/>
                  <a:pt x="16754" y="7903"/>
                </a:cubicBezTo>
                <a:cubicBezTo>
                  <a:pt x="16754" y="7965"/>
                  <a:pt x="16778" y="8016"/>
                  <a:pt x="16808" y="8016"/>
                </a:cubicBezTo>
                <a:cubicBezTo>
                  <a:pt x="16838" y="8016"/>
                  <a:pt x="16862" y="7965"/>
                  <a:pt x="16862" y="7903"/>
                </a:cubicBezTo>
                <a:cubicBezTo>
                  <a:pt x="16862" y="7840"/>
                  <a:pt x="16838" y="7790"/>
                  <a:pt x="16808" y="7790"/>
                </a:cubicBezTo>
                <a:close/>
                <a:moveTo>
                  <a:pt x="16654" y="7790"/>
                </a:moveTo>
                <a:cubicBezTo>
                  <a:pt x="16624" y="7790"/>
                  <a:pt x="16600" y="7840"/>
                  <a:pt x="16600" y="7903"/>
                </a:cubicBezTo>
                <a:cubicBezTo>
                  <a:pt x="16600" y="7965"/>
                  <a:pt x="16624" y="8016"/>
                  <a:pt x="16654" y="8016"/>
                </a:cubicBezTo>
                <a:cubicBezTo>
                  <a:pt x="16684" y="8016"/>
                  <a:pt x="16708" y="7965"/>
                  <a:pt x="16708" y="7903"/>
                </a:cubicBezTo>
                <a:cubicBezTo>
                  <a:pt x="16708" y="7840"/>
                  <a:pt x="16684" y="7790"/>
                  <a:pt x="16654" y="7790"/>
                </a:cubicBezTo>
                <a:close/>
                <a:moveTo>
                  <a:pt x="16501" y="7790"/>
                </a:moveTo>
                <a:cubicBezTo>
                  <a:pt x="16471" y="7790"/>
                  <a:pt x="16447" y="7840"/>
                  <a:pt x="16447" y="7903"/>
                </a:cubicBezTo>
                <a:cubicBezTo>
                  <a:pt x="16447" y="7965"/>
                  <a:pt x="16471" y="8016"/>
                  <a:pt x="16501" y="8016"/>
                </a:cubicBezTo>
                <a:cubicBezTo>
                  <a:pt x="16531" y="8016"/>
                  <a:pt x="16555" y="7965"/>
                  <a:pt x="16555" y="7903"/>
                </a:cubicBezTo>
                <a:cubicBezTo>
                  <a:pt x="16555" y="7840"/>
                  <a:pt x="16531" y="7790"/>
                  <a:pt x="16501" y="7790"/>
                </a:cubicBezTo>
                <a:close/>
                <a:moveTo>
                  <a:pt x="16186" y="7690"/>
                </a:moveTo>
                <a:cubicBezTo>
                  <a:pt x="16216" y="7690"/>
                  <a:pt x="16240" y="7639"/>
                  <a:pt x="16240" y="7576"/>
                </a:cubicBezTo>
                <a:cubicBezTo>
                  <a:pt x="16240" y="7514"/>
                  <a:pt x="16216" y="7463"/>
                  <a:pt x="16186" y="7463"/>
                </a:cubicBezTo>
                <a:cubicBezTo>
                  <a:pt x="16157" y="7463"/>
                  <a:pt x="16133" y="7514"/>
                  <a:pt x="16133" y="7576"/>
                </a:cubicBezTo>
                <a:cubicBezTo>
                  <a:pt x="16133" y="7639"/>
                  <a:pt x="16157" y="7690"/>
                  <a:pt x="16186" y="7690"/>
                </a:cubicBezTo>
                <a:close/>
                <a:moveTo>
                  <a:pt x="16032" y="7690"/>
                </a:moveTo>
                <a:cubicBezTo>
                  <a:pt x="16062" y="7690"/>
                  <a:pt x="16086" y="7639"/>
                  <a:pt x="16086" y="7576"/>
                </a:cubicBezTo>
                <a:cubicBezTo>
                  <a:pt x="16086" y="7514"/>
                  <a:pt x="16062" y="7463"/>
                  <a:pt x="16032" y="7463"/>
                </a:cubicBezTo>
                <a:cubicBezTo>
                  <a:pt x="16003" y="7463"/>
                  <a:pt x="15979" y="7514"/>
                  <a:pt x="15979" y="7576"/>
                </a:cubicBezTo>
                <a:cubicBezTo>
                  <a:pt x="15979" y="7639"/>
                  <a:pt x="16003" y="7690"/>
                  <a:pt x="16032" y="7690"/>
                </a:cubicBezTo>
                <a:close/>
                <a:moveTo>
                  <a:pt x="15880" y="7463"/>
                </a:moveTo>
                <a:cubicBezTo>
                  <a:pt x="15850" y="7463"/>
                  <a:pt x="15826" y="7514"/>
                  <a:pt x="15826" y="7576"/>
                </a:cubicBezTo>
                <a:cubicBezTo>
                  <a:pt x="15826" y="7639"/>
                  <a:pt x="15850" y="7690"/>
                  <a:pt x="15880" y="7690"/>
                </a:cubicBezTo>
                <a:cubicBezTo>
                  <a:pt x="15909" y="7690"/>
                  <a:pt x="15934" y="7639"/>
                  <a:pt x="15934" y="7576"/>
                </a:cubicBezTo>
                <a:cubicBezTo>
                  <a:pt x="15934" y="7514"/>
                  <a:pt x="15909" y="7463"/>
                  <a:pt x="15880" y="7463"/>
                </a:cubicBezTo>
                <a:close/>
                <a:moveTo>
                  <a:pt x="16186" y="8016"/>
                </a:moveTo>
                <a:cubicBezTo>
                  <a:pt x="16216" y="8016"/>
                  <a:pt x="16240" y="7965"/>
                  <a:pt x="16240" y="7903"/>
                </a:cubicBezTo>
                <a:cubicBezTo>
                  <a:pt x="16240" y="7840"/>
                  <a:pt x="16216" y="7790"/>
                  <a:pt x="16186" y="7790"/>
                </a:cubicBezTo>
                <a:cubicBezTo>
                  <a:pt x="16157" y="7790"/>
                  <a:pt x="16133" y="7840"/>
                  <a:pt x="16133" y="7903"/>
                </a:cubicBezTo>
                <a:cubicBezTo>
                  <a:pt x="16133" y="7965"/>
                  <a:pt x="16157" y="8016"/>
                  <a:pt x="16186" y="8016"/>
                </a:cubicBezTo>
                <a:close/>
                <a:moveTo>
                  <a:pt x="16032" y="8016"/>
                </a:moveTo>
                <a:cubicBezTo>
                  <a:pt x="16062" y="8016"/>
                  <a:pt x="16086" y="7965"/>
                  <a:pt x="16086" y="7903"/>
                </a:cubicBezTo>
                <a:cubicBezTo>
                  <a:pt x="16086" y="7840"/>
                  <a:pt x="16062" y="7790"/>
                  <a:pt x="16032" y="7790"/>
                </a:cubicBezTo>
                <a:cubicBezTo>
                  <a:pt x="16003" y="7790"/>
                  <a:pt x="15979" y="7840"/>
                  <a:pt x="15979" y="7903"/>
                </a:cubicBezTo>
                <a:cubicBezTo>
                  <a:pt x="15979" y="7965"/>
                  <a:pt x="16003" y="8016"/>
                  <a:pt x="16032" y="8016"/>
                </a:cubicBezTo>
                <a:close/>
                <a:moveTo>
                  <a:pt x="15880" y="7790"/>
                </a:moveTo>
                <a:cubicBezTo>
                  <a:pt x="15850" y="7790"/>
                  <a:pt x="15826" y="7840"/>
                  <a:pt x="15826" y="7903"/>
                </a:cubicBezTo>
                <a:cubicBezTo>
                  <a:pt x="15826" y="7965"/>
                  <a:pt x="15850" y="8016"/>
                  <a:pt x="15880" y="8016"/>
                </a:cubicBezTo>
                <a:cubicBezTo>
                  <a:pt x="15909" y="8016"/>
                  <a:pt x="15934" y="7965"/>
                  <a:pt x="15934" y="7903"/>
                </a:cubicBezTo>
                <a:cubicBezTo>
                  <a:pt x="15934" y="7840"/>
                  <a:pt x="15909" y="7790"/>
                  <a:pt x="15880" y="7790"/>
                </a:cubicBezTo>
                <a:close/>
                <a:moveTo>
                  <a:pt x="17116" y="6795"/>
                </a:moveTo>
                <a:cubicBezTo>
                  <a:pt x="17086" y="6795"/>
                  <a:pt x="17062" y="6846"/>
                  <a:pt x="17062" y="6908"/>
                </a:cubicBezTo>
                <a:cubicBezTo>
                  <a:pt x="17062" y="6971"/>
                  <a:pt x="17086" y="7022"/>
                  <a:pt x="17116" y="7022"/>
                </a:cubicBezTo>
                <a:cubicBezTo>
                  <a:pt x="17145" y="7022"/>
                  <a:pt x="17170" y="6971"/>
                  <a:pt x="17170" y="6908"/>
                </a:cubicBezTo>
                <a:cubicBezTo>
                  <a:pt x="17170" y="6846"/>
                  <a:pt x="17145" y="6795"/>
                  <a:pt x="17116" y="6795"/>
                </a:cubicBezTo>
                <a:close/>
                <a:moveTo>
                  <a:pt x="16963" y="6795"/>
                </a:moveTo>
                <a:cubicBezTo>
                  <a:pt x="16933" y="6795"/>
                  <a:pt x="16909" y="6846"/>
                  <a:pt x="16909" y="6908"/>
                </a:cubicBezTo>
                <a:cubicBezTo>
                  <a:pt x="16909" y="6971"/>
                  <a:pt x="16933" y="7022"/>
                  <a:pt x="16963" y="7022"/>
                </a:cubicBezTo>
                <a:cubicBezTo>
                  <a:pt x="16993" y="7022"/>
                  <a:pt x="17017" y="6971"/>
                  <a:pt x="17017" y="6908"/>
                </a:cubicBezTo>
                <a:cubicBezTo>
                  <a:pt x="17017" y="6846"/>
                  <a:pt x="16993" y="6795"/>
                  <a:pt x="16963" y="6795"/>
                </a:cubicBezTo>
                <a:close/>
                <a:moveTo>
                  <a:pt x="16808" y="6795"/>
                </a:moveTo>
                <a:cubicBezTo>
                  <a:pt x="16778" y="6795"/>
                  <a:pt x="16754" y="6846"/>
                  <a:pt x="16754" y="6908"/>
                </a:cubicBezTo>
                <a:cubicBezTo>
                  <a:pt x="16754" y="6971"/>
                  <a:pt x="16778" y="7022"/>
                  <a:pt x="16808" y="7022"/>
                </a:cubicBezTo>
                <a:cubicBezTo>
                  <a:pt x="16838" y="7022"/>
                  <a:pt x="16862" y="6971"/>
                  <a:pt x="16862" y="6908"/>
                </a:cubicBezTo>
                <a:cubicBezTo>
                  <a:pt x="16862" y="6846"/>
                  <a:pt x="16838" y="6795"/>
                  <a:pt x="16808" y="6795"/>
                </a:cubicBezTo>
                <a:close/>
                <a:moveTo>
                  <a:pt x="16350" y="6795"/>
                </a:moveTo>
                <a:cubicBezTo>
                  <a:pt x="16320" y="6795"/>
                  <a:pt x="16296" y="6846"/>
                  <a:pt x="16296" y="6908"/>
                </a:cubicBezTo>
                <a:cubicBezTo>
                  <a:pt x="16296" y="6971"/>
                  <a:pt x="16320" y="7022"/>
                  <a:pt x="16350" y="7022"/>
                </a:cubicBezTo>
                <a:cubicBezTo>
                  <a:pt x="16379" y="7022"/>
                  <a:pt x="16403" y="6971"/>
                  <a:pt x="16403" y="6908"/>
                </a:cubicBezTo>
                <a:cubicBezTo>
                  <a:pt x="16403" y="6846"/>
                  <a:pt x="16379" y="6795"/>
                  <a:pt x="16350" y="6795"/>
                </a:cubicBezTo>
                <a:close/>
                <a:moveTo>
                  <a:pt x="16350" y="7122"/>
                </a:moveTo>
                <a:cubicBezTo>
                  <a:pt x="16320" y="7122"/>
                  <a:pt x="16296" y="7172"/>
                  <a:pt x="16296" y="7235"/>
                </a:cubicBezTo>
                <a:cubicBezTo>
                  <a:pt x="16296" y="7297"/>
                  <a:pt x="16320" y="7348"/>
                  <a:pt x="16350" y="7348"/>
                </a:cubicBezTo>
                <a:cubicBezTo>
                  <a:pt x="16379" y="7348"/>
                  <a:pt x="16403" y="7297"/>
                  <a:pt x="16403" y="7235"/>
                </a:cubicBezTo>
                <a:cubicBezTo>
                  <a:pt x="16403" y="7172"/>
                  <a:pt x="16379" y="7122"/>
                  <a:pt x="16350" y="7122"/>
                </a:cubicBezTo>
                <a:close/>
                <a:moveTo>
                  <a:pt x="16654" y="6795"/>
                </a:moveTo>
                <a:cubicBezTo>
                  <a:pt x="16624" y="6795"/>
                  <a:pt x="16600" y="6846"/>
                  <a:pt x="16600" y="6908"/>
                </a:cubicBezTo>
                <a:cubicBezTo>
                  <a:pt x="16600" y="6971"/>
                  <a:pt x="16624" y="7022"/>
                  <a:pt x="16654" y="7022"/>
                </a:cubicBezTo>
                <a:cubicBezTo>
                  <a:pt x="16684" y="7022"/>
                  <a:pt x="16708" y="6971"/>
                  <a:pt x="16708" y="6908"/>
                </a:cubicBezTo>
                <a:cubicBezTo>
                  <a:pt x="16708" y="6846"/>
                  <a:pt x="16684" y="6795"/>
                  <a:pt x="16654" y="6795"/>
                </a:cubicBezTo>
                <a:close/>
                <a:moveTo>
                  <a:pt x="16501" y="6795"/>
                </a:moveTo>
                <a:cubicBezTo>
                  <a:pt x="16471" y="6795"/>
                  <a:pt x="16447" y="6846"/>
                  <a:pt x="16447" y="6908"/>
                </a:cubicBezTo>
                <a:cubicBezTo>
                  <a:pt x="16447" y="6971"/>
                  <a:pt x="16471" y="7022"/>
                  <a:pt x="16501" y="7022"/>
                </a:cubicBezTo>
                <a:cubicBezTo>
                  <a:pt x="16531" y="7022"/>
                  <a:pt x="16555" y="6971"/>
                  <a:pt x="16555" y="6908"/>
                </a:cubicBezTo>
                <a:cubicBezTo>
                  <a:pt x="16555" y="6846"/>
                  <a:pt x="16531" y="6795"/>
                  <a:pt x="16501" y="6795"/>
                </a:cubicBezTo>
                <a:close/>
                <a:moveTo>
                  <a:pt x="17116" y="7122"/>
                </a:moveTo>
                <a:cubicBezTo>
                  <a:pt x="17086" y="7122"/>
                  <a:pt x="17062" y="7172"/>
                  <a:pt x="17062" y="7235"/>
                </a:cubicBezTo>
                <a:cubicBezTo>
                  <a:pt x="17062" y="7297"/>
                  <a:pt x="17086" y="7348"/>
                  <a:pt x="17116" y="7348"/>
                </a:cubicBezTo>
                <a:cubicBezTo>
                  <a:pt x="17145" y="7348"/>
                  <a:pt x="17170" y="7297"/>
                  <a:pt x="17170" y="7235"/>
                </a:cubicBezTo>
                <a:cubicBezTo>
                  <a:pt x="17170" y="7172"/>
                  <a:pt x="17145" y="7122"/>
                  <a:pt x="17116" y="7122"/>
                </a:cubicBezTo>
                <a:close/>
                <a:moveTo>
                  <a:pt x="16963" y="7122"/>
                </a:moveTo>
                <a:cubicBezTo>
                  <a:pt x="16933" y="7122"/>
                  <a:pt x="16909" y="7172"/>
                  <a:pt x="16909" y="7235"/>
                </a:cubicBezTo>
                <a:cubicBezTo>
                  <a:pt x="16909" y="7297"/>
                  <a:pt x="16933" y="7348"/>
                  <a:pt x="16963" y="7348"/>
                </a:cubicBezTo>
                <a:cubicBezTo>
                  <a:pt x="16993" y="7348"/>
                  <a:pt x="17017" y="7297"/>
                  <a:pt x="17017" y="7235"/>
                </a:cubicBezTo>
                <a:cubicBezTo>
                  <a:pt x="17017" y="7172"/>
                  <a:pt x="16993" y="7122"/>
                  <a:pt x="16963" y="7122"/>
                </a:cubicBezTo>
                <a:close/>
                <a:moveTo>
                  <a:pt x="16808" y="7122"/>
                </a:moveTo>
                <a:cubicBezTo>
                  <a:pt x="16778" y="7122"/>
                  <a:pt x="16754" y="7172"/>
                  <a:pt x="16754" y="7235"/>
                </a:cubicBezTo>
                <a:cubicBezTo>
                  <a:pt x="16754" y="7297"/>
                  <a:pt x="16778" y="7348"/>
                  <a:pt x="16808" y="7348"/>
                </a:cubicBezTo>
                <a:cubicBezTo>
                  <a:pt x="16838" y="7348"/>
                  <a:pt x="16862" y="7297"/>
                  <a:pt x="16862" y="7235"/>
                </a:cubicBezTo>
                <a:cubicBezTo>
                  <a:pt x="16862" y="7172"/>
                  <a:pt x="16838" y="7122"/>
                  <a:pt x="16808" y="7122"/>
                </a:cubicBezTo>
                <a:close/>
                <a:moveTo>
                  <a:pt x="16654" y="7122"/>
                </a:moveTo>
                <a:cubicBezTo>
                  <a:pt x="16624" y="7122"/>
                  <a:pt x="16600" y="7172"/>
                  <a:pt x="16600" y="7235"/>
                </a:cubicBezTo>
                <a:cubicBezTo>
                  <a:pt x="16600" y="7297"/>
                  <a:pt x="16624" y="7348"/>
                  <a:pt x="16654" y="7348"/>
                </a:cubicBezTo>
                <a:cubicBezTo>
                  <a:pt x="16684" y="7348"/>
                  <a:pt x="16708" y="7297"/>
                  <a:pt x="16708" y="7235"/>
                </a:cubicBezTo>
                <a:cubicBezTo>
                  <a:pt x="16708" y="7172"/>
                  <a:pt x="16684" y="7122"/>
                  <a:pt x="16654" y="7122"/>
                </a:cubicBezTo>
                <a:close/>
                <a:moveTo>
                  <a:pt x="16501" y="7122"/>
                </a:moveTo>
                <a:cubicBezTo>
                  <a:pt x="16471" y="7122"/>
                  <a:pt x="16447" y="7172"/>
                  <a:pt x="16447" y="7235"/>
                </a:cubicBezTo>
                <a:cubicBezTo>
                  <a:pt x="16447" y="7297"/>
                  <a:pt x="16471" y="7348"/>
                  <a:pt x="16501" y="7348"/>
                </a:cubicBezTo>
                <a:cubicBezTo>
                  <a:pt x="16531" y="7348"/>
                  <a:pt x="16555" y="7297"/>
                  <a:pt x="16555" y="7235"/>
                </a:cubicBezTo>
                <a:cubicBezTo>
                  <a:pt x="16555" y="7172"/>
                  <a:pt x="16531" y="7122"/>
                  <a:pt x="16501" y="7122"/>
                </a:cubicBezTo>
                <a:close/>
                <a:moveTo>
                  <a:pt x="16186" y="7022"/>
                </a:moveTo>
                <a:cubicBezTo>
                  <a:pt x="16216" y="7022"/>
                  <a:pt x="16240" y="6971"/>
                  <a:pt x="16240" y="6908"/>
                </a:cubicBezTo>
                <a:cubicBezTo>
                  <a:pt x="16240" y="6846"/>
                  <a:pt x="16216" y="6795"/>
                  <a:pt x="16186" y="6795"/>
                </a:cubicBezTo>
                <a:cubicBezTo>
                  <a:pt x="16157" y="6795"/>
                  <a:pt x="16133" y="6846"/>
                  <a:pt x="16133" y="6908"/>
                </a:cubicBezTo>
                <a:cubicBezTo>
                  <a:pt x="16133" y="6971"/>
                  <a:pt x="16157" y="7022"/>
                  <a:pt x="16186" y="7022"/>
                </a:cubicBezTo>
                <a:close/>
                <a:moveTo>
                  <a:pt x="16032" y="7022"/>
                </a:moveTo>
                <a:cubicBezTo>
                  <a:pt x="16062" y="7022"/>
                  <a:pt x="16086" y="6971"/>
                  <a:pt x="16086" y="6908"/>
                </a:cubicBezTo>
                <a:cubicBezTo>
                  <a:pt x="16086" y="6846"/>
                  <a:pt x="16062" y="6795"/>
                  <a:pt x="16032" y="6795"/>
                </a:cubicBezTo>
                <a:cubicBezTo>
                  <a:pt x="16003" y="6795"/>
                  <a:pt x="15979" y="6846"/>
                  <a:pt x="15979" y="6908"/>
                </a:cubicBezTo>
                <a:cubicBezTo>
                  <a:pt x="15979" y="6971"/>
                  <a:pt x="16003" y="7022"/>
                  <a:pt x="16032" y="7022"/>
                </a:cubicBezTo>
                <a:close/>
                <a:moveTo>
                  <a:pt x="15880" y="6795"/>
                </a:moveTo>
                <a:cubicBezTo>
                  <a:pt x="15850" y="6795"/>
                  <a:pt x="15826" y="6846"/>
                  <a:pt x="15826" y="6908"/>
                </a:cubicBezTo>
                <a:cubicBezTo>
                  <a:pt x="15826" y="6971"/>
                  <a:pt x="15850" y="7022"/>
                  <a:pt x="15880" y="7022"/>
                </a:cubicBezTo>
                <a:cubicBezTo>
                  <a:pt x="15909" y="7022"/>
                  <a:pt x="15934" y="6971"/>
                  <a:pt x="15934" y="6908"/>
                </a:cubicBezTo>
                <a:cubicBezTo>
                  <a:pt x="15934" y="6846"/>
                  <a:pt x="15909" y="6795"/>
                  <a:pt x="15880" y="6795"/>
                </a:cubicBezTo>
                <a:close/>
                <a:moveTo>
                  <a:pt x="16186" y="7348"/>
                </a:moveTo>
                <a:cubicBezTo>
                  <a:pt x="16216" y="7348"/>
                  <a:pt x="16240" y="7297"/>
                  <a:pt x="16240" y="7235"/>
                </a:cubicBezTo>
                <a:cubicBezTo>
                  <a:pt x="16240" y="7172"/>
                  <a:pt x="16216" y="7122"/>
                  <a:pt x="16186" y="7122"/>
                </a:cubicBezTo>
                <a:cubicBezTo>
                  <a:pt x="16157" y="7122"/>
                  <a:pt x="16133" y="7172"/>
                  <a:pt x="16133" y="7235"/>
                </a:cubicBezTo>
                <a:cubicBezTo>
                  <a:pt x="16133" y="7297"/>
                  <a:pt x="16157" y="7348"/>
                  <a:pt x="16186" y="7348"/>
                </a:cubicBezTo>
                <a:close/>
                <a:moveTo>
                  <a:pt x="16032" y="7348"/>
                </a:moveTo>
                <a:cubicBezTo>
                  <a:pt x="16062" y="7348"/>
                  <a:pt x="16086" y="7297"/>
                  <a:pt x="16086" y="7235"/>
                </a:cubicBezTo>
                <a:cubicBezTo>
                  <a:pt x="16086" y="7172"/>
                  <a:pt x="16062" y="7122"/>
                  <a:pt x="16032" y="7122"/>
                </a:cubicBezTo>
                <a:cubicBezTo>
                  <a:pt x="16003" y="7122"/>
                  <a:pt x="15979" y="7172"/>
                  <a:pt x="15979" y="7235"/>
                </a:cubicBezTo>
                <a:cubicBezTo>
                  <a:pt x="15979" y="7297"/>
                  <a:pt x="16003" y="7348"/>
                  <a:pt x="16032" y="7348"/>
                </a:cubicBezTo>
                <a:close/>
                <a:moveTo>
                  <a:pt x="15880" y="7122"/>
                </a:moveTo>
                <a:cubicBezTo>
                  <a:pt x="15850" y="7122"/>
                  <a:pt x="15826" y="7172"/>
                  <a:pt x="15826" y="7235"/>
                </a:cubicBezTo>
                <a:cubicBezTo>
                  <a:pt x="15826" y="7297"/>
                  <a:pt x="15850" y="7348"/>
                  <a:pt x="15880" y="7348"/>
                </a:cubicBezTo>
                <a:cubicBezTo>
                  <a:pt x="15909" y="7348"/>
                  <a:pt x="15934" y="7297"/>
                  <a:pt x="15934" y="7235"/>
                </a:cubicBezTo>
                <a:cubicBezTo>
                  <a:pt x="15934" y="7172"/>
                  <a:pt x="15909" y="7122"/>
                  <a:pt x="15880" y="7122"/>
                </a:cubicBezTo>
                <a:close/>
                <a:moveTo>
                  <a:pt x="17116" y="6158"/>
                </a:moveTo>
                <a:cubicBezTo>
                  <a:pt x="17086" y="6158"/>
                  <a:pt x="17062" y="6209"/>
                  <a:pt x="17062" y="6271"/>
                </a:cubicBezTo>
                <a:cubicBezTo>
                  <a:pt x="17062" y="6334"/>
                  <a:pt x="17086" y="6384"/>
                  <a:pt x="17116" y="6384"/>
                </a:cubicBezTo>
                <a:cubicBezTo>
                  <a:pt x="17145" y="6384"/>
                  <a:pt x="17170" y="6334"/>
                  <a:pt x="17170" y="6271"/>
                </a:cubicBezTo>
                <a:cubicBezTo>
                  <a:pt x="17170" y="6209"/>
                  <a:pt x="17145" y="6158"/>
                  <a:pt x="17116" y="6158"/>
                </a:cubicBezTo>
                <a:close/>
                <a:moveTo>
                  <a:pt x="16963" y="6158"/>
                </a:moveTo>
                <a:cubicBezTo>
                  <a:pt x="16933" y="6158"/>
                  <a:pt x="16909" y="6209"/>
                  <a:pt x="16909" y="6271"/>
                </a:cubicBezTo>
                <a:cubicBezTo>
                  <a:pt x="16909" y="6334"/>
                  <a:pt x="16933" y="6384"/>
                  <a:pt x="16963" y="6384"/>
                </a:cubicBezTo>
                <a:cubicBezTo>
                  <a:pt x="16993" y="6384"/>
                  <a:pt x="17017" y="6334"/>
                  <a:pt x="17017" y="6271"/>
                </a:cubicBezTo>
                <a:cubicBezTo>
                  <a:pt x="17017" y="6209"/>
                  <a:pt x="16993" y="6158"/>
                  <a:pt x="16963" y="6158"/>
                </a:cubicBezTo>
                <a:close/>
                <a:moveTo>
                  <a:pt x="16808" y="6158"/>
                </a:moveTo>
                <a:cubicBezTo>
                  <a:pt x="16778" y="6158"/>
                  <a:pt x="16754" y="6209"/>
                  <a:pt x="16754" y="6271"/>
                </a:cubicBezTo>
                <a:cubicBezTo>
                  <a:pt x="16754" y="6334"/>
                  <a:pt x="16778" y="6384"/>
                  <a:pt x="16808" y="6384"/>
                </a:cubicBezTo>
                <a:cubicBezTo>
                  <a:pt x="16838" y="6384"/>
                  <a:pt x="16862" y="6334"/>
                  <a:pt x="16862" y="6271"/>
                </a:cubicBezTo>
                <a:cubicBezTo>
                  <a:pt x="16862" y="6209"/>
                  <a:pt x="16838" y="6158"/>
                  <a:pt x="16808" y="6158"/>
                </a:cubicBezTo>
                <a:close/>
                <a:moveTo>
                  <a:pt x="16350" y="6158"/>
                </a:moveTo>
                <a:cubicBezTo>
                  <a:pt x="16320" y="6158"/>
                  <a:pt x="16296" y="6209"/>
                  <a:pt x="16296" y="6271"/>
                </a:cubicBezTo>
                <a:cubicBezTo>
                  <a:pt x="16296" y="6334"/>
                  <a:pt x="16320" y="6384"/>
                  <a:pt x="16350" y="6384"/>
                </a:cubicBezTo>
                <a:cubicBezTo>
                  <a:pt x="16379" y="6384"/>
                  <a:pt x="16403" y="6334"/>
                  <a:pt x="16403" y="6271"/>
                </a:cubicBezTo>
                <a:cubicBezTo>
                  <a:pt x="16403" y="6209"/>
                  <a:pt x="16379" y="6158"/>
                  <a:pt x="16350" y="6158"/>
                </a:cubicBezTo>
                <a:close/>
                <a:moveTo>
                  <a:pt x="16350" y="6484"/>
                </a:moveTo>
                <a:cubicBezTo>
                  <a:pt x="16320" y="6484"/>
                  <a:pt x="16296" y="6535"/>
                  <a:pt x="16296" y="6598"/>
                </a:cubicBezTo>
                <a:cubicBezTo>
                  <a:pt x="16296" y="6660"/>
                  <a:pt x="16320" y="6711"/>
                  <a:pt x="16350" y="6711"/>
                </a:cubicBezTo>
                <a:cubicBezTo>
                  <a:pt x="16379" y="6711"/>
                  <a:pt x="16403" y="6660"/>
                  <a:pt x="16403" y="6598"/>
                </a:cubicBezTo>
                <a:cubicBezTo>
                  <a:pt x="16403" y="6535"/>
                  <a:pt x="16379" y="6484"/>
                  <a:pt x="16350" y="6484"/>
                </a:cubicBezTo>
                <a:close/>
                <a:moveTo>
                  <a:pt x="16654" y="6158"/>
                </a:moveTo>
                <a:cubicBezTo>
                  <a:pt x="16624" y="6158"/>
                  <a:pt x="16600" y="6209"/>
                  <a:pt x="16600" y="6271"/>
                </a:cubicBezTo>
                <a:cubicBezTo>
                  <a:pt x="16600" y="6334"/>
                  <a:pt x="16624" y="6384"/>
                  <a:pt x="16654" y="6384"/>
                </a:cubicBezTo>
                <a:cubicBezTo>
                  <a:pt x="16684" y="6384"/>
                  <a:pt x="16708" y="6334"/>
                  <a:pt x="16708" y="6271"/>
                </a:cubicBezTo>
                <a:cubicBezTo>
                  <a:pt x="16708" y="6209"/>
                  <a:pt x="16684" y="6158"/>
                  <a:pt x="16654" y="6158"/>
                </a:cubicBezTo>
                <a:close/>
                <a:moveTo>
                  <a:pt x="16501" y="6158"/>
                </a:moveTo>
                <a:cubicBezTo>
                  <a:pt x="16471" y="6158"/>
                  <a:pt x="16447" y="6209"/>
                  <a:pt x="16447" y="6271"/>
                </a:cubicBezTo>
                <a:cubicBezTo>
                  <a:pt x="16447" y="6334"/>
                  <a:pt x="16471" y="6384"/>
                  <a:pt x="16501" y="6384"/>
                </a:cubicBezTo>
                <a:cubicBezTo>
                  <a:pt x="16531" y="6384"/>
                  <a:pt x="16555" y="6334"/>
                  <a:pt x="16555" y="6271"/>
                </a:cubicBezTo>
                <a:cubicBezTo>
                  <a:pt x="16555" y="6209"/>
                  <a:pt x="16531" y="6158"/>
                  <a:pt x="16501" y="6158"/>
                </a:cubicBezTo>
                <a:close/>
                <a:moveTo>
                  <a:pt x="18035" y="7025"/>
                </a:moveTo>
                <a:cubicBezTo>
                  <a:pt x="18065" y="7025"/>
                  <a:pt x="18089" y="6974"/>
                  <a:pt x="18089" y="6912"/>
                </a:cubicBezTo>
                <a:cubicBezTo>
                  <a:pt x="18089" y="6849"/>
                  <a:pt x="18065" y="6799"/>
                  <a:pt x="18035" y="6799"/>
                </a:cubicBezTo>
                <a:cubicBezTo>
                  <a:pt x="18006" y="6799"/>
                  <a:pt x="17982" y="6849"/>
                  <a:pt x="17982" y="6912"/>
                </a:cubicBezTo>
                <a:cubicBezTo>
                  <a:pt x="17982" y="6974"/>
                  <a:pt x="18006" y="7025"/>
                  <a:pt x="18035" y="7025"/>
                </a:cubicBezTo>
                <a:close/>
                <a:moveTo>
                  <a:pt x="18203" y="6799"/>
                </a:moveTo>
                <a:cubicBezTo>
                  <a:pt x="18173" y="6799"/>
                  <a:pt x="18149" y="6849"/>
                  <a:pt x="18149" y="6912"/>
                </a:cubicBezTo>
                <a:cubicBezTo>
                  <a:pt x="18149" y="6974"/>
                  <a:pt x="18173" y="7025"/>
                  <a:pt x="18203" y="7025"/>
                </a:cubicBezTo>
                <a:cubicBezTo>
                  <a:pt x="18233" y="7025"/>
                  <a:pt x="18257" y="6974"/>
                  <a:pt x="18257" y="6912"/>
                </a:cubicBezTo>
                <a:cubicBezTo>
                  <a:pt x="18257" y="6849"/>
                  <a:pt x="18233" y="6799"/>
                  <a:pt x="18203" y="6799"/>
                </a:cubicBezTo>
                <a:close/>
                <a:moveTo>
                  <a:pt x="18341" y="7025"/>
                </a:moveTo>
                <a:cubicBezTo>
                  <a:pt x="18370" y="7025"/>
                  <a:pt x="18395" y="6974"/>
                  <a:pt x="18395" y="6912"/>
                </a:cubicBezTo>
                <a:cubicBezTo>
                  <a:pt x="18395" y="6849"/>
                  <a:pt x="18370" y="6799"/>
                  <a:pt x="18341" y="6799"/>
                </a:cubicBezTo>
                <a:cubicBezTo>
                  <a:pt x="18311" y="6799"/>
                  <a:pt x="18287" y="6849"/>
                  <a:pt x="18287" y="6912"/>
                </a:cubicBezTo>
                <a:cubicBezTo>
                  <a:pt x="18287" y="6974"/>
                  <a:pt x="18311" y="7025"/>
                  <a:pt x="18341" y="7025"/>
                </a:cubicBezTo>
                <a:close/>
                <a:moveTo>
                  <a:pt x="18345" y="6484"/>
                </a:moveTo>
                <a:cubicBezTo>
                  <a:pt x="18316" y="6484"/>
                  <a:pt x="18292" y="6535"/>
                  <a:pt x="18292" y="6598"/>
                </a:cubicBezTo>
                <a:cubicBezTo>
                  <a:pt x="18292" y="6660"/>
                  <a:pt x="18316" y="6711"/>
                  <a:pt x="18345" y="6711"/>
                </a:cubicBezTo>
                <a:cubicBezTo>
                  <a:pt x="18375" y="6711"/>
                  <a:pt x="18399" y="6660"/>
                  <a:pt x="18399" y="6598"/>
                </a:cubicBezTo>
                <a:cubicBezTo>
                  <a:pt x="18399" y="6535"/>
                  <a:pt x="18375" y="6484"/>
                  <a:pt x="18345" y="6484"/>
                </a:cubicBezTo>
                <a:close/>
                <a:moveTo>
                  <a:pt x="18196" y="5732"/>
                </a:moveTo>
                <a:cubicBezTo>
                  <a:pt x="18226" y="5732"/>
                  <a:pt x="18250" y="5681"/>
                  <a:pt x="18250" y="5619"/>
                </a:cubicBezTo>
                <a:cubicBezTo>
                  <a:pt x="18250" y="5556"/>
                  <a:pt x="18226" y="5506"/>
                  <a:pt x="18196" y="5506"/>
                </a:cubicBezTo>
                <a:cubicBezTo>
                  <a:pt x="18167" y="5506"/>
                  <a:pt x="18142" y="5556"/>
                  <a:pt x="18142" y="5619"/>
                </a:cubicBezTo>
                <a:cubicBezTo>
                  <a:pt x="18142" y="5681"/>
                  <a:pt x="18167" y="5732"/>
                  <a:pt x="18196" y="5732"/>
                </a:cubicBezTo>
                <a:close/>
                <a:moveTo>
                  <a:pt x="18345" y="6122"/>
                </a:moveTo>
                <a:cubicBezTo>
                  <a:pt x="18316" y="6122"/>
                  <a:pt x="18292" y="6173"/>
                  <a:pt x="18292" y="6235"/>
                </a:cubicBezTo>
                <a:cubicBezTo>
                  <a:pt x="18292" y="6298"/>
                  <a:pt x="18316" y="6348"/>
                  <a:pt x="18345" y="6348"/>
                </a:cubicBezTo>
                <a:cubicBezTo>
                  <a:pt x="18375" y="6348"/>
                  <a:pt x="18399" y="6298"/>
                  <a:pt x="18399" y="6235"/>
                </a:cubicBezTo>
                <a:cubicBezTo>
                  <a:pt x="18399" y="6173"/>
                  <a:pt x="18375" y="6122"/>
                  <a:pt x="18345" y="6122"/>
                </a:cubicBezTo>
                <a:close/>
                <a:moveTo>
                  <a:pt x="18345" y="5506"/>
                </a:moveTo>
                <a:cubicBezTo>
                  <a:pt x="18316" y="5506"/>
                  <a:pt x="18292" y="5556"/>
                  <a:pt x="18292" y="5619"/>
                </a:cubicBezTo>
                <a:cubicBezTo>
                  <a:pt x="18292" y="5681"/>
                  <a:pt x="18316" y="5732"/>
                  <a:pt x="18345" y="5732"/>
                </a:cubicBezTo>
                <a:cubicBezTo>
                  <a:pt x="18375" y="5732"/>
                  <a:pt x="18399" y="5681"/>
                  <a:pt x="18399" y="5619"/>
                </a:cubicBezTo>
                <a:cubicBezTo>
                  <a:pt x="18399" y="5556"/>
                  <a:pt x="18375" y="5506"/>
                  <a:pt x="18345" y="5506"/>
                </a:cubicBezTo>
                <a:close/>
                <a:moveTo>
                  <a:pt x="17725" y="7025"/>
                </a:moveTo>
                <a:cubicBezTo>
                  <a:pt x="17755" y="7025"/>
                  <a:pt x="17779" y="6974"/>
                  <a:pt x="17779" y="6912"/>
                </a:cubicBezTo>
                <a:cubicBezTo>
                  <a:pt x="17779" y="6849"/>
                  <a:pt x="17755" y="6799"/>
                  <a:pt x="17725" y="6799"/>
                </a:cubicBezTo>
                <a:cubicBezTo>
                  <a:pt x="17696" y="6799"/>
                  <a:pt x="17672" y="6849"/>
                  <a:pt x="17672" y="6912"/>
                </a:cubicBezTo>
                <a:cubicBezTo>
                  <a:pt x="17672" y="6974"/>
                  <a:pt x="17696" y="7025"/>
                  <a:pt x="17725" y="7025"/>
                </a:cubicBezTo>
                <a:close/>
                <a:moveTo>
                  <a:pt x="17571" y="7025"/>
                </a:moveTo>
                <a:cubicBezTo>
                  <a:pt x="17601" y="7025"/>
                  <a:pt x="17625" y="6974"/>
                  <a:pt x="17625" y="6912"/>
                </a:cubicBezTo>
                <a:cubicBezTo>
                  <a:pt x="17625" y="6849"/>
                  <a:pt x="17601" y="6799"/>
                  <a:pt x="17571" y="6799"/>
                </a:cubicBezTo>
                <a:cubicBezTo>
                  <a:pt x="17542" y="6799"/>
                  <a:pt x="17518" y="6849"/>
                  <a:pt x="17518" y="6912"/>
                </a:cubicBezTo>
                <a:cubicBezTo>
                  <a:pt x="17518" y="6974"/>
                  <a:pt x="17542" y="7025"/>
                  <a:pt x="17571" y="7025"/>
                </a:cubicBezTo>
                <a:close/>
                <a:moveTo>
                  <a:pt x="17576" y="6484"/>
                </a:moveTo>
                <a:cubicBezTo>
                  <a:pt x="17546" y="6484"/>
                  <a:pt x="17522" y="6535"/>
                  <a:pt x="17522" y="6598"/>
                </a:cubicBezTo>
                <a:cubicBezTo>
                  <a:pt x="17522" y="6660"/>
                  <a:pt x="17546" y="6711"/>
                  <a:pt x="17576" y="6711"/>
                </a:cubicBezTo>
                <a:cubicBezTo>
                  <a:pt x="17606" y="6711"/>
                  <a:pt x="17630" y="6660"/>
                  <a:pt x="17630" y="6598"/>
                </a:cubicBezTo>
                <a:cubicBezTo>
                  <a:pt x="17630" y="6535"/>
                  <a:pt x="17606" y="6484"/>
                  <a:pt x="17576" y="6484"/>
                </a:cubicBezTo>
                <a:close/>
                <a:moveTo>
                  <a:pt x="17422" y="6711"/>
                </a:moveTo>
                <a:cubicBezTo>
                  <a:pt x="17452" y="6711"/>
                  <a:pt x="17476" y="6660"/>
                  <a:pt x="17476" y="6598"/>
                </a:cubicBezTo>
                <a:cubicBezTo>
                  <a:pt x="17476" y="6535"/>
                  <a:pt x="17452" y="6484"/>
                  <a:pt x="17422" y="6484"/>
                </a:cubicBezTo>
                <a:cubicBezTo>
                  <a:pt x="17392" y="6484"/>
                  <a:pt x="17368" y="6535"/>
                  <a:pt x="17368" y="6598"/>
                </a:cubicBezTo>
                <a:cubicBezTo>
                  <a:pt x="17368" y="6660"/>
                  <a:pt x="17392" y="6711"/>
                  <a:pt x="17422" y="6711"/>
                </a:cubicBezTo>
                <a:close/>
                <a:moveTo>
                  <a:pt x="17116" y="6484"/>
                </a:moveTo>
                <a:cubicBezTo>
                  <a:pt x="17086" y="6484"/>
                  <a:pt x="17062" y="6535"/>
                  <a:pt x="17062" y="6598"/>
                </a:cubicBezTo>
                <a:cubicBezTo>
                  <a:pt x="17062" y="6660"/>
                  <a:pt x="17086" y="6711"/>
                  <a:pt x="17116" y="6711"/>
                </a:cubicBezTo>
                <a:cubicBezTo>
                  <a:pt x="17145" y="6711"/>
                  <a:pt x="17170" y="6660"/>
                  <a:pt x="17170" y="6598"/>
                </a:cubicBezTo>
                <a:cubicBezTo>
                  <a:pt x="17170" y="6535"/>
                  <a:pt x="17145" y="6484"/>
                  <a:pt x="17116" y="6484"/>
                </a:cubicBezTo>
                <a:close/>
                <a:moveTo>
                  <a:pt x="16963" y="6484"/>
                </a:moveTo>
                <a:cubicBezTo>
                  <a:pt x="16933" y="6484"/>
                  <a:pt x="16909" y="6535"/>
                  <a:pt x="16909" y="6598"/>
                </a:cubicBezTo>
                <a:cubicBezTo>
                  <a:pt x="16909" y="6660"/>
                  <a:pt x="16933" y="6711"/>
                  <a:pt x="16963" y="6711"/>
                </a:cubicBezTo>
                <a:cubicBezTo>
                  <a:pt x="16993" y="6711"/>
                  <a:pt x="17017" y="6660"/>
                  <a:pt x="17017" y="6598"/>
                </a:cubicBezTo>
                <a:cubicBezTo>
                  <a:pt x="17017" y="6535"/>
                  <a:pt x="16993" y="6484"/>
                  <a:pt x="16963" y="6484"/>
                </a:cubicBezTo>
                <a:close/>
                <a:moveTo>
                  <a:pt x="16808" y="6484"/>
                </a:moveTo>
                <a:cubicBezTo>
                  <a:pt x="16778" y="6484"/>
                  <a:pt x="16754" y="6535"/>
                  <a:pt x="16754" y="6598"/>
                </a:cubicBezTo>
                <a:cubicBezTo>
                  <a:pt x="16754" y="6660"/>
                  <a:pt x="16778" y="6711"/>
                  <a:pt x="16808" y="6711"/>
                </a:cubicBezTo>
                <a:cubicBezTo>
                  <a:pt x="16838" y="6711"/>
                  <a:pt x="16862" y="6660"/>
                  <a:pt x="16862" y="6598"/>
                </a:cubicBezTo>
                <a:cubicBezTo>
                  <a:pt x="16862" y="6535"/>
                  <a:pt x="16838" y="6484"/>
                  <a:pt x="16808" y="6484"/>
                </a:cubicBezTo>
                <a:close/>
                <a:moveTo>
                  <a:pt x="16654" y="6484"/>
                </a:moveTo>
                <a:cubicBezTo>
                  <a:pt x="16624" y="6484"/>
                  <a:pt x="16600" y="6535"/>
                  <a:pt x="16600" y="6598"/>
                </a:cubicBezTo>
                <a:cubicBezTo>
                  <a:pt x="16600" y="6660"/>
                  <a:pt x="16624" y="6711"/>
                  <a:pt x="16654" y="6711"/>
                </a:cubicBezTo>
                <a:cubicBezTo>
                  <a:pt x="16684" y="6711"/>
                  <a:pt x="16708" y="6660"/>
                  <a:pt x="16708" y="6598"/>
                </a:cubicBezTo>
                <a:cubicBezTo>
                  <a:pt x="16708" y="6535"/>
                  <a:pt x="16684" y="6484"/>
                  <a:pt x="16654" y="6484"/>
                </a:cubicBezTo>
                <a:close/>
                <a:moveTo>
                  <a:pt x="16501" y="6484"/>
                </a:moveTo>
                <a:cubicBezTo>
                  <a:pt x="16471" y="6484"/>
                  <a:pt x="16447" y="6535"/>
                  <a:pt x="16447" y="6598"/>
                </a:cubicBezTo>
                <a:cubicBezTo>
                  <a:pt x="16447" y="6660"/>
                  <a:pt x="16471" y="6711"/>
                  <a:pt x="16501" y="6711"/>
                </a:cubicBezTo>
                <a:cubicBezTo>
                  <a:pt x="16531" y="6711"/>
                  <a:pt x="16555" y="6660"/>
                  <a:pt x="16555" y="6598"/>
                </a:cubicBezTo>
                <a:cubicBezTo>
                  <a:pt x="16555" y="6535"/>
                  <a:pt x="16531" y="6484"/>
                  <a:pt x="16501" y="6484"/>
                </a:cubicBezTo>
                <a:close/>
                <a:moveTo>
                  <a:pt x="16186" y="6384"/>
                </a:moveTo>
                <a:cubicBezTo>
                  <a:pt x="16216" y="6384"/>
                  <a:pt x="16240" y="6334"/>
                  <a:pt x="16240" y="6271"/>
                </a:cubicBezTo>
                <a:cubicBezTo>
                  <a:pt x="16240" y="6209"/>
                  <a:pt x="16216" y="6158"/>
                  <a:pt x="16186" y="6158"/>
                </a:cubicBezTo>
                <a:cubicBezTo>
                  <a:pt x="16157" y="6158"/>
                  <a:pt x="16133" y="6209"/>
                  <a:pt x="16133" y="6271"/>
                </a:cubicBezTo>
                <a:cubicBezTo>
                  <a:pt x="16133" y="6334"/>
                  <a:pt x="16157" y="6384"/>
                  <a:pt x="16186" y="6384"/>
                </a:cubicBezTo>
                <a:close/>
                <a:moveTo>
                  <a:pt x="16032" y="6384"/>
                </a:moveTo>
                <a:cubicBezTo>
                  <a:pt x="16062" y="6384"/>
                  <a:pt x="16086" y="6334"/>
                  <a:pt x="16086" y="6271"/>
                </a:cubicBezTo>
                <a:cubicBezTo>
                  <a:pt x="16086" y="6209"/>
                  <a:pt x="16062" y="6158"/>
                  <a:pt x="16032" y="6158"/>
                </a:cubicBezTo>
                <a:cubicBezTo>
                  <a:pt x="16003" y="6158"/>
                  <a:pt x="15979" y="6209"/>
                  <a:pt x="15979" y="6271"/>
                </a:cubicBezTo>
                <a:cubicBezTo>
                  <a:pt x="15979" y="6334"/>
                  <a:pt x="16003" y="6384"/>
                  <a:pt x="16032" y="6384"/>
                </a:cubicBezTo>
                <a:close/>
                <a:moveTo>
                  <a:pt x="15880" y="6158"/>
                </a:moveTo>
                <a:cubicBezTo>
                  <a:pt x="15850" y="6158"/>
                  <a:pt x="15826" y="6209"/>
                  <a:pt x="15826" y="6271"/>
                </a:cubicBezTo>
                <a:cubicBezTo>
                  <a:pt x="15826" y="6334"/>
                  <a:pt x="15850" y="6384"/>
                  <a:pt x="15880" y="6384"/>
                </a:cubicBezTo>
                <a:cubicBezTo>
                  <a:pt x="15909" y="6384"/>
                  <a:pt x="15934" y="6334"/>
                  <a:pt x="15934" y="6271"/>
                </a:cubicBezTo>
                <a:cubicBezTo>
                  <a:pt x="15934" y="6209"/>
                  <a:pt x="15909" y="6158"/>
                  <a:pt x="15880" y="6158"/>
                </a:cubicBezTo>
                <a:close/>
                <a:moveTo>
                  <a:pt x="16186" y="6711"/>
                </a:moveTo>
                <a:cubicBezTo>
                  <a:pt x="16216" y="6711"/>
                  <a:pt x="16240" y="6660"/>
                  <a:pt x="16240" y="6598"/>
                </a:cubicBezTo>
                <a:cubicBezTo>
                  <a:pt x="16240" y="6535"/>
                  <a:pt x="16216" y="6484"/>
                  <a:pt x="16186" y="6484"/>
                </a:cubicBezTo>
                <a:cubicBezTo>
                  <a:pt x="16157" y="6484"/>
                  <a:pt x="16133" y="6535"/>
                  <a:pt x="16133" y="6598"/>
                </a:cubicBezTo>
                <a:cubicBezTo>
                  <a:pt x="16133" y="6660"/>
                  <a:pt x="16157" y="6711"/>
                  <a:pt x="16186" y="6711"/>
                </a:cubicBezTo>
                <a:close/>
                <a:moveTo>
                  <a:pt x="16032" y="6711"/>
                </a:moveTo>
                <a:cubicBezTo>
                  <a:pt x="16062" y="6711"/>
                  <a:pt x="16086" y="6660"/>
                  <a:pt x="16086" y="6598"/>
                </a:cubicBezTo>
                <a:cubicBezTo>
                  <a:pt x="16086" y="6535"/>
                  <a:pt x="16062" y="6484"/>
                  <a:pt x="16032" y="6484"/>
                </a:cubicBezTo>
                <a:cubicBezTo>
                  <a:pt x="16003" y="6484"/>
                  <a:pt x="15979" y="6535"/>
                  <a:pt x="15979" y="6598"/>
                </a:cubicBezTo>
                <a:cubicBezTo>
                  <a:pt x="15979" y="6660"/>
                  <a:pt x="16003" y="6711"/>
                  <a:pt x="16032" y="6711"/>
                </a:cubicBezTo>
                <a:close/>
                <a:moveTo>
                  <a:pt x="15880" y="6484"/>
                </a:moveTo>
                <a:cubicBezTo>
                  <a:pt x="15850" y="6484"/>
                  <a:pt x="15826" y="6535"/>
                  <a:pt x="15826" y="6598"/>
                </a:cubicBezTo>
                <a:cubicBezTo>
                  <a:pt x="15826" y="6660"/>
                  <a:pt x="15850" y="6711"/>
                  <a:pt x="15880" y="6711"/>
                </a:cubicBezTo>
                <a:cubicBezTo>
                  <a:pt x="15909" y="6711"/>
                  <a:pt x="15934" y="6660"/>
                  <a:pt x="15934" y="6598"/>
                </a:cubicBezTo>
                <a:cubicBezTo>
                  <a:pt x="15934" y="6535"/>
                  <a:pt x="15909" y="6484"/>
                  <a:pt x="15880" y="6484"/>
                </a:cubicBezTo>
                <a:close/>
                <a:moveTo>
                  <a:pt x="17725" y="5732"/>
                </a:moveTo>
                <a:cubicBezTo>
                  <a:pt x="17755" y="5732"/>
                  <a:pt x="17779" y="5681"/>
                  <a:pt x="17779" y="5619"/>
                </a:cubicBezTo>
                <a:cubicBezTo>
                  <a:pt x="17779" y="5556"/>
                  <a:pt x="17755" y="5506"/>
                  <a:pt x="17725" y="5506"/>
                </a:cubicBezTo>
                <a:cubicBezTo>
                  <a:pt x="17696" y="5506"/>
                  <a:pt x="17672" y="5556"/>
                  <a:pt x="17672" y="5619"/>
                </a:cubicBezTo>
                <a:cubicBezTo>
                  <a:pt x="17672" y="5681"/>
                  <a:pt x="17696" y="5732"/>
                  <a:pt x="17725" y="5732"/>
                </a:cubicBezTo>
                <a:close/>
                <a:moveTo>
                  <a:pt x="17880" y="4838"/>
                </a:moveTo>
                <a:cubicBezTo>
                  <a:pt x="17851" y="4838"/>
                  <a:pt x="17827" y="4888"/>
                  <a:pt x="17827" y="4951"/>
                </a:cubicBezTo>
                <a:cubicBezTo>
                  <a:pt x="17827" y="5013"/>
                  <a:pt x="17851" y="5064"/>
                  <a:pt x="17880" y="5064"/>
                </a:cubicBezTo>
                <a:cubicBezTo>
                  <a:pt x="17910" y="5064"/>
                  <a:pt x="17934" y="5013"/>
                  <a:pt x="17934" y="4951"/>
                </a:cubicBezTo>
                <a:cubicBezTo>
                  <a:pt x="17934" y="4888"/>
                  <a:pt x="17910" y="4838"/>
                  <a:pt x="17880" y="4838"/>
                </a:cubicBezTo>
                <a:close/>
                <a:moveTo>
                  <a:pt x="17873" y="4443"/>
                </a:moveTo>
                <a:cubicBezTo>
                  <a:pt x="17903" y="4443"/>
                  <a:pt x="17927" y="4392"/>
                  <a:pt x="17927" y="4330"/>
                </a:cubicBezTo>
                <a:cubicBezTo>
                  <a:pt x="17927" y="4267"/>
                  <a:pt x="17903" y="4217"/>
                  <a:pt x="17873" y="4217"/>
                </a:cubicBezTo>
                <a:cubicBezTo>
                  <a:pt x="17844" y="4217"/>
                  <a:pt x="17820" y="4267"/>
                  <a:pt x="17820" y="4330"/>
                </a:cubicBezTo>
                <a:cubicBezTo>
                  <a:pt x="17820" y="4392"/>
                  <a:pt x="17844" y="4443"/>
                  <a:pt x="17873" y="4443"/>
                </a:cubicBezTo>
                <a:close/>
                <a:moveTo>
                  <a:pt x="18035" y="5064"/>
                </a:moveTo>
                <a:cubicBezTo>
                  <a:pt x="18065" y="5064"/>
                  <a:pt x="18089" y="5013"/>
                  <a:pt x="18089" y="4951"/>
                </a:cubicBezTo>
                <a:cubicBezTo>
                  <a:pt x="18089" y="4888"/>
                  <a:pt x="18065" y="4838"/>
                  <a:pt x="18035" y="4838"/>
                </a:cubicBezTo>
                <a:cubicBezTo>
                  <a:pt x="18006" y="4838"/>
                  <a:pt x="17982" y="4888"/>
                  <a:pt x="17982" y="4951"/>
                </a:cubicBezTo>
                <a:cubicBezTo>
                  <a:pt x="17982" y="5013"/>
                  <a:pt x="18006" y="5064"/>
                  <a:pt x="18035" y="5064"/>
                </a:cubicBezTo>
                <a:close/>
                <a:moveTo>
                  <a:pt x="18035" y="4738"/>
                </a:moveTo>
                <a:cubicBezTo>
                  <a:pt x="18065" y="4738"/>
                  <a:pt x="18089" y="4687"/>
                  <a:pt x="18089" y="4624"/>
                </a:cubicBezTo>
                <a:cubicBezTo>
                  <a:pt x="18089" y="4562"/>
                  <a:pt x="18065" y="4511"/>
                  <a:pt x="18035" y="4511"/>
                </a:cubicBezTo>
                <a:cubicBezTo>
                  <a:pt x="18006" y="4511"/>
                  <a:pt x="17982" y="4562"/>
                  <a:pt x="17982" y="4624"/>
                </a:cubicBezTo>
                <a:cubicBezTo>
                  <a:pt x="17982" y="4687"/>
                  <a:pt x="18006" y="4738"/>
                  <a:pt x="18035" y="4738"/>
                </a:cubicBezTo>
                <a:close/>
                <a:moveTo>
                  <a:pt x="17725" y="5064"/>
                </a:moveTo>
                <a:cubicBezTo>
                  <a:pt x="17755" y="5064"/>
                  <a:pt x="17779" y="5013"/>
                  <a:pt x="17779" y="4951"/>
                </a:cubicBezTo>
                <a:cubicBezTo>
                  <a:pt x="17779" y="4888"/>
                  <a:pt x="17755" y="4838"/>
                  <a:pt x="17725" y="4838"/>
                </a:cubicBezTo>
                <a:cubicBezTo>
                  <a:pt x="17696" y="4838"/>
                  <a:pt x="17672" y="4888"/>
                  <a:pt x="17672" y="4951"/>
                </a:cubicBezTo>
                <a:cubicBezTo>
                  <a:pt x="17672" y="5013"/>
                  <a:pt x="17696" y="5064"/>
                  <a:pt x="17725" y="5064"/>
                </a:cubicBezTo>
                <a:close/>
                <a:moveTo>
                  <a:pt x="17725" y="5390"/>
                </a:moveTo>
                <a:cubicBezTo>
                  <a:pt x="17755" y="5390"/>
                  <a:pt x="17779" y="5339"/>
                  <a:pt x="17779" y="5277"/>
                </a:cubicBezTo>
                <a:cubicBezTo>
                  <a:pt x="17779" y="5215"/>
                  <a:pt x="17755" y="5164"/>
                  <a:pt x="17725" y="5164"/>
                </a:cubicBezTo>
                <a:cubicBezTo>
                  <a:pt x="17696" y="5164"/>
                  <a:pt x="17672" y="5215"/>
                  <a:pt x="17672" y="5277"/>
                </a:cubicBezTo>
                <a:cubicBezTo>
                  <a:pt x="17672" y="5339"/>
                  <a:pt x="17696" y="5390"/>
                  <a:pt x="17725" y="5390"/>
                </a:cubicBezTo>
                <a:close/>
                <a:moveTo>
                  <a:pt x="17725" y="4738"/>
                </a:moveTo>
                <a:cubicBezTo>
                  <a:pt x="17755" y="4738"/>
                  <a:pt x="17779" y="4687"/>
                  <a:pt x="17779" y="4624"/>
                </a:cubicBezTo>
                <a:cubicBezTo>
                  <a:pt x="17779" y="4562"/>
                  <a:pt x="17755" y="4511"/>
                  <a:pt x="17725" y="4511"/>
                </a:cubicBezTo>
                <a:cubicBezTo>
                  <a:pt x="17696" y="4511"/>
                  <a:pt x="17672" y="4562"/>
                  <a:pt x="17672" y="4624"/>
                </a:cubicBezTo>
                <a:cubicBezTo>
                  <a:pt x="17672" y="4687"/>
                  <a:pt x="17696" y="4738"/>
                  <a:pt x="17725" y="4738"/>
                </a:cubicBezTo>
                <a:close/>
                <a:moveTo>
                  <a:pt x="17725" y="4435"/>
                </a:moveTo>
                <a:cubicBezTo>
                  <a:pt x="17755" y="4435"/>
                  <a:pt x="17779" y="4385"/>
                  <a:pt x="17779" y="4322"/>
                </a:cubicBezTo>
                <a:cubicBezTo>
                  <a:pt x="17779" y="4260"/>
                  <a:pt x="17755" y="4209"/>
                  <a:pt x="17725" y="4209"/>
                </a:cubicBezTo>
                <a:cubicBezTo>
                  <a:pt x="17696" y="4209"/>
                  <a:pt x="17672" y="4260"/>
                  <a:pt x="17672" y="4322"/>
                </a:cubicBezTo>
                <a:cubicBezTo>
                  <a:pt x="17672" y="4385"/>
                  <a:pt x="17696" y="4435"/>
                  <a:pt x="17725" y="4435"/>
                </a:cubicBezTo>
                <a:close/>
                <a:moveTo>
                  <a:pt x="17576" y="5506"/>
                </a:moveTo>
                <a:cubicBezTo>
                  <a:pt x="17546" y="5506"/>
                  <a:pt x="17522" y="5556"/>
                  <a:pt x="17522" y="5619"/>
                </a:cubicBezTo>
                <a:cubicBezTo>
                  <a:pt x="17522" y="5681"/>
                  <a:pt x="17546" y="5732"/>
                  <a:pt x="17576" y="5732"/>
                </a:cubicBezTo>
                <a:cubicBezTo>
                  <a:pt x="17606" y="5732"/>
                  <a:pt x="17630" y="5681"/>
                  <a:pt x="17630" y="5619"/>
                </a:cubicBezTo>
                <a:cubicBezTo>
                  <a:pt x="17630" y="5556"/>
                  <a:pt x="17606" y="5506"/>
                  <a:pt x="17576" y="5506"/>
                </a:cubicBezTo>
                <a:close/>
                <a:moveTo>
                  <a:pt x="17422" y="5732"/>
                </a:moveTo>
                <a:cubicBezTo>
                  <a:pt x="17452" y="5732"/>
                  <a:pt x="17476" y="5681"/>
                  <a:pt x="17476" y="5619"/>
                </a:cubicBezTo>
                <a:cubicBezTo>
                  <a:pt x="17476" y="5556"/>
                  <a:pt x="17452" y="5506"/>
                  <a:pt x="17422" y="5506"/>
                </a:cubicBezTo>
                <a:cubicBezTo>
                  <a:pt x="17392" y="5506"/>
                  <a:pt x="17368" y="5556"/>
                  <a:pt x="17368" y="5619"/>
                </a:cubicBezTo>
                <a:cubicBezTo>
                  <a:pt x="17368" y="5681"/>
                  <a:pt x="17392" y="5732"/>
                  <a:pt x="17422" y="5732"/>
                </a:cubicBezTo>
                <a:close/>
                <a:moveTo>
                  <a:pt x="17269" y="5506"/>
                </a:moveTo>
                <a:cubicBezTo>
                  <a:pt x="17240" y="5506"/>
                  <a:pt x="17216" y="5556"/>
                  <a:pt x="17216" y="5619"/>
                </a:cubicBezTo>
                <a:cubicBezTo>
                  <a:pt x="17216" y="5681"/>
                  <a:pt x="17240" y="5732"/>
                  <a:pt x="17269" y="5732"/>
                </a:cubicBezTo>
                <a:cubicBezTo>
                  <a:pt x="17299" y="5732"/>
                  <a:pt x="17323" y="5681"/>
                  <a:pt x="17323" y="5619"/>
                </a:cubicBezTo>
                <a:cubicBezTo>
                  <a:pt x="17323" y="5556"/>
                  <a:pt x="17299" y="5506"/>
                  <a:pt x="17269" y="5506"/>
                </a:cubicBezTo>
                <a:close/>
                <a:moveTo>
                  <a:pt x="17116" y="5506"/>
                </a:moveTo>
                <a:cubicBezTo>
                  <a:pt x="17086" y="5506"/>
                  <a:pt x="17062" y="5556"/>
                  <a:pt x="17062" y="5619"/>
                </a:cubicBezTo>
                <a:cubicBezTo>
                  <a:pt x="17062" y="5681"/>
                  <a:pt x="17086" y="5732"/>
                  <a:pt x="17116" y="5732"/>
                </a:cubicBezTo>
                <a:cubicBezTo>
                  <a:pt x="17145" y="5732"/>
                  <a:pt x="17170" y="5681"/>
                  <a:pt x="17170" y="5619"/>
                </a:cubicBezTo>
                <a:cubicBezTo>
                  <a:pt x="17170" y="5556"/>
                  <a:pt x="17145" y="5506"/>
                  <a:pt x="17116" y="5506"/>
                </a:cubicBezTo>
                <a:close/>
                <a:moveTo>
                  <a:pt x="16963" y="5506"/>
                </a:moveTo>
                <a:cubicBezTo>
                  <a:pt x="16933" y="5506"/>
                  <a:pt x="16909" y="5556"/>
                  <a:pt x="16909" y="5619"/>
                </a:cubicBezTo>
                <a:cubicBezTo>
                  <a:pt x="16909" y="5681"/>
                  <a:pt x="16933" y="5732"/>
                  <a:pt x="16963" y="5732"/>
                </a:cubicBezTo>
                <a:cubicBezTo>
                  <a:pt x="16993" y="5732"/>
                  <a:pt x="17017" y="5681"/>
                  <a:pt x="17017" y="5619"/>
                </a:cubicBezTo>
                <a:cubicBezTo>
                  <a:pt x="17017" y="5556"/>
                  <a:pt x="16993" y="5506"/>
                  <a:pt x="16963" y="5506"/>
                </a:cubicBezTo>
                <a:close/>
                <a:moveTo>
                  <a:pt x="16808" y="5506"/>
                </a:moveTo>
                <a:cubicBezTo>
                  <a:pt x="16778" y="5506"/>
                  <a:pt x="16754" y="5556"/>
                  <a:pt x="16754" y="5619"/>
                </a:cubicBezTo>
                <a:cubicBezTo>
                  <a:pt x="16754" y="5681"/>
                  <a:pt x="16778" y="5732"/>
                  <a:pt x="16808" y="5732"/>
                </a:cubicBezTo>
                <a:cubicBezTo>
                  <a:pt x="16838" y="5732"/>
                  <a:pt x="16862" y="5681"/>
                  <a:pt x="16862" y="5619"/>
                </a:cubicBezTo>
                <a:cubicBezTo>
                  <a:pt x="16862" y="5556"/>
                  <a:pt x="16838" y="5506"/>
                  <a:pt x="16808" y="5506"/>
                </a:cubicBezTo>
                <a:close/>
                <a:moveTo>
                  <a:pt x="16350" y="5506"/>
                </a:moveTo>
                <a:cubicBezTo>
                  <a:pt x="16320" y="5506"/>
                  <a:pt x="16296" y="5556"/>
                  <a:pt x="16296" y="5619"/>
                </a:cubicBezTo>
                <a:cubicBezTo>
                  <a:pt x="16296" y="5681"/>
                  <a:pt x="16320" y="5732"/>
                  <a:pt x="16350" y="5732"/>
                </a:cubicBezTo>
                <a:cubicBezTo>
                  <a:pt x="16379" y="5732"/>
                  <a:pt x="16403" y="5681"/>
                  <a:pt x="16403" y="5619"/>
                </a:cubicBezTo>
                <a:cubicBezTo>
                  <a:pt x="16403" y="5556"/>
                  <a:pt x="16379" y="5506"/>
                  <a:pt x="16350" y="5506"/>
                </a:cubicBezTo>
                <a:close/>
                <a:moveTo>
                  <a:pt x="16350" y="5832"/>
                </a:moveTo>
                <a:cubicBezTo>
                  <a:pt x="16320" y="5832"/>
                  <a:pt x="16296" y="5883"/>
                  <a:pt x="16296" y="5945"/>
                </a:cubicBezTo>
                <a:cubicBezTo>
                  <a:pt x="16296" y="6008"/>
                  <a:pt x="16320" y="6058"/>
                  <a:pt x="16350" y="6058"/>
                </a:cubicBezTo>
                <a:cubicBezTo>
                  <a:pt x="16379" y="6058"/>
                  <a:pt x="16403" y="6008"/>
                  <a:pt x="16403" y="5945"/>
                </a:cubicBezTo>
                <a:cubicBezTo>
                  <a:pt x="16403" y="5883"/>
                  <a:pt x="16379" y="5832"/>
                  <a:pt x="16350" y="5832"/>
                </a:cubicBezTo>
                <a:close/>
                <a:moveTo>
                  <a:pt x="16654" y="5506"/>
                </a:moveTo>
                <a:cubicBezTo>
                  <a:pt x="16624" y="5506"/>
                  <a:pt x="16600" y="5556"/>
                  <a:pt x="16600" y="5619"/>
                </a:cubicBezTo>
                <a:cubicBezTo>
                  <a:pt x="16600" y="5681"/>
                  <a:pt x="16624" y="5732"/>
                  <a:pt x="16654" y="5732"/>
                </a:cubicBezTo>
                <a:cubicBezTo>
                  <a:pt x="16684" y="5732"/>
                  <a:pt x="16708" y="5681"/>
                  <a:pt x="16708" y="5619"/>
                </a:cubicBezTo>
                <a:cubicBezTo>
                  <a:pt x="16708" y="5556"/>
                  <a:pt x="16684" y="5506"/>
                  <a:pt x="16654" y="5506"/>
                </a:cubicBezTo>
                <a:close/>
                <a:moveTo>
                  <a:pt x="16501" y="5506"/>
                </a:moveTo>
                <a:cubicBezTo>
                  <a:pt x="16471" y="5506"/>
                  <a:pt x="16447" y="5556"/>
                  <a:pt x="16447" y="5619"/>
                </a:cubicBezTo>
                <a:cubicBezTo>
                  <a:pt x="16447" y="5681"/>
                  <a:pt x="16471" y="5732"/>
                  <a:pt x="16501" y="5732"/>
                </a:cubicBezTo>
                <a:cubicBezTo>
                  <a:pt x="16531" y="5732"/>
                  <a:pt x="16555" y="5681"/>
                  <a:pt x="16555" y="5619"/>
                </a:cubicBezTo>
                <a:cubicBezTo>
                  <a:pt x="16555" y="5556"/>
                  <a:pt x="16531" y="5506"/>
                  <a:pt x="16501" y="5506"/>
                </a:cubicBezTo>
                <a:close/>
                <a:moveTo>
                  <a:pt x="17576" y="5832"/>
                </a:moveTo>
                <a:cubicBezTo>
                  <a:pt x="17546" y="5832"/>
                  <a:pt x="17522" y="5883"/>
                  <a:pt x="17522" y="5945"/>
                </a:cubicBezTo>
                <a:cubicBezTo>
                  <a:pt x="17522" y="6008"/>
                  <a:pt x="17546" y="6058"/>
                  <a:pt x="17576" y="6058"/>
                </a:cubicBezTo>
                <a:cubicBezTo>
                  <a:pt x="17606" y="6058"/>
                  <a:pt x="17630" y="6008"/>
                  <a:pt x="17630" y="5945"/>
                </a:cubicBezTo>
                <a:cubicBezTo>
                  <a:pt x="17630" y="5883"/>
                  <a:pt x="17606" y="5832"/>
                  <a:pt x="17576" y="5832"/>
                </a:cubicBezTo>
                <a:close/>
                <a:moveTo>
                  <a:pt x="17422" y="6058"/>
                </a:moveTo>
                <a:cubicBezTo>
                  <a:pt x="17452" y="6058"/>
                  <a:pt x="17476" y="6008"/>
                  <a:pt x="17476" y="5945"/>
                </a:cubicBezTo>
                <a:cubicBezTo>
                  <a:pt x="17476" y="5883"/>
                  <a:pt x="17452" y="5832"/>
                  <a:pt x="17422" y="5832"/>
                </a:cubicBezTo>
                <a:cubicBezTo>
                  <a:pt x="17392" y="5832"/>
                  <a:pt x="17368" y="5883"/>
                  <a:pt x="17368" y="5945"/>
                </a:cubicBezTo>
                <a:cubicBezTo>
                  <a:pt x="17368" y="6008"/>
                  <a:pt x="17392" y="6058"/>
                  <a:pt x="17422" y="6058"/>
                </a:cubicBezTo>
                <a:close/>
                <a:moveTo>
                  <a:pt x="17269" y="5832"/>
                </a:moveTo>
                <a:cubicBezTo>
                  <a:pt x="17240" y="5832"/>
                  <a:pt x="17216" y="5883"/>
                  <a:pt x="17216" y="5945"/>
                </a:cubicBezTo>
                <a:cubicBezTo>
                  <a:pt x="17216" y="6008"/>
                  <a:pt x="17240" y="6058"/>
                  <a:pt x="17269" y="6058"/>
                </a:cubicBezTo>
                <a:cubicBezTo>
                  <a:pt x="17299" y="6058"/>
                  <a:pt x="17323" y="6008"/>
                  <a:pt x="17323" y="5945"/>
                </a:cubicBezTo>
                <a:cubicBezTo>
                  <a:pt x="17323" y="5883"/>
                  <a:pt x="17299" y="5832"/>
                  <a:pt x="17269" y="5832"/>
                </a:cubicBezTo>
                <a:close/>
                <a:moveTo>
                  <a:pt x="17116" y="5832"/>
                </a:moveTo>
                <a:cubicBezTo>
                  <a:pt x="17086" y="5832"/>
                  <a:pt x="17062" y="5883"/>
                  <a:pt x="17062" y="5945"/>
                </a:cubicBezTo>
                <a:cubicBezTo>
                  <a:pt x="17062" y="6008"/>
                  <a:pt x="17086" y="6058"/>
                  <a:pt x="17116" y="6058"/>
                </a:cubicBezTo>
                <a:cubicBezTo>
                  <a:pt x="17145" y="6058"/>
                  <a:pt x="17170" y="6008"/>
                  <a:pt x="17170" y="5945"/>
                </a:cubicBezTo>
                <a:cubicBezTo>
                  <a:pt x="17170" y="5883"/>
                  <a:pt x="17145" y="5832"/>
                  <a:pt x="17116" y="5832"/>
                </a:cubicBezTo>
                <a:close/>
                <a:moveTo>
                  <a:pt x="16963" y="5832"/>
                </a:moveTo>
                <a:cubicBezTo>
                  <a:pt x="16933" y="5832"/>
                  <a:pt x="16909" y="5883"/>
                  <a:pt x="16909" y="5945"/>
                </a:cubicBezTo>
                <a:cubicBezTo>
                  <a:pt x="16909" y="6008"/>
                  <a:pt x="16933" y="6058"/>
                  <a:pt x="16963" y="6058"/>
                </a:cubicBezTo>
                <a:cubicBezTo>
                  <a:pt x="16993" y="6058"/>
                  <a:pt x="17017" y="6008"/>
                  <a:pt x="17017" y="5945"/>
                </a:cubicBezTo>
                <a:cubicBezTo>
                  <a:pt x="17017" y="5883"/>
                  <a:pt x="16993" y="5832"/>
                  <a:pt x="16963" y="5832"/>
                </a:cubicBezTo>
                <a:close/>
                <a:moveTo>
                  <a:pt x="16808" y="5832"/>
                </a:moveTo>
                <a:cubicBezTo>
                  <a:pt x="16778" y="5832"/>
                  <a:pt x="16754" y="5883"/>
                  <a:pt x="16754" y="5945"/>
                </a:cubicBezTo>
                <a:cubicBezTo>
                  <a:pt x="16754" y="6008"/>
                  <a:pt x="16778" y="6058"/>
                  <a:pt x="16808" y="6058"/>
                </a:cubicBezTo>
                <a:cubicBezTo>
                  <a:pt x="16838" y="6058"/>
                  <a:pt x="16862" y="6008"/>
                  <a:pt x="16862" y="5945"/>
                </a:cubicBezTo>
                <a:cubicBezTo>
                  <a:pt x="16862" y="5883"/>
                  <a:pt x="16838" y="5832"/>
                  <a:pt x="16808" y="5832"/>
                </a:cubicBezTo>
                <a:close/>
                <a:moveTo>
                  <a:pt x="16654" y="5832"/>
                </a:moveTo>
                <a:cubicBezTo>
                  <a:pt x="16624" y="5832"/>
                  <a:pt x="16600" y="5883"/>
                  <a:pt x="16600" y="5945"/>
                </a:cubicBezTo>
                <a:cubicBezTo>
                  <a:pt x="16600" y="6008"/>
                  <a:pt x="16624" y="6058"/>
                  <a:pt x="16654" y="6058"/>
                </a:cubicBezTo>
                <a:cubicBezTo>
                  <a:pt x="16684" y="6058"/>
                  <a:pt x="16708" y="6008"/>
                  <a:pt x="16708" y="5945"/>
                </a:cubicBezTo>
                <a:cubicBezTo>
                  <a:pt x="16708" y="5883"/>
                  <a:pt x="16684" y="5832"/>
                  <a:pt x="16654" y="5832"/>
                </a:cubicBezTo>
                <a:close/>
                <a:moveTo>
                  <a:pt x="16501" y="5832"/>
                </a:moveTo>
                <a:cubicBezTo>
                  <a:pt x="16471" y="5832"/>
                  <a:pt x="16447" y="5883"/>
                  <a:pt x="16447" y="5945"/>
                </a:cubicBezTo>
                <a:cubicBezTo>
                  <a:pt x="16447" y="6008"/>
                  <a:pt x="16471" y="6058"/>
                  <a:pt x="16501" y="6058"/>
                </a:cubicBezTo>
                <a:cubicBezTo>
                  <a:pt x="16531" y="6058"/>
                  <a:pt x="16555" y="6008"/>
                  <a:pt x="16555" y="5945"/>
                </a:cubicBezTo>
                <a:cubicBezTo>
                  <a:pt x="16555" y="5883"/>
                  <a:pt x="16531" y="5832"/>
                  <a:pt x="16501" y="5832"/>
                </a:cubicBezTo>
                <a:close/>
                <a:moveTo>
                  <a:pt x="16186" y="5732"/>
                </a:moveTo>
                <a:cubicBezTo>
                  <a:pt x="16216" y="5732"/>
                  <a:pt x="16240" y="5681"/>
                  <a:pt x="16240" y="5619"/>
                </a:cubicBezTo>
                <a:cubicBezTo>
                  <a:pt x="16240" y="5556"/>
                  <a:pt x="16216" y="5506"/>
                  <a:pt x="16186" y="5506"/>
                </a:cubicBezTo>
                <a:cubicBezTo>
                  <a:pt x="16157" y="5506"/>
                  <a:pt x="16133" y="5556"/>
                  <a:pt x="16133" y="5619"/>
                </a:cubicBezTo>
                <a:cubicBezTo>
                  <a:pt x="16133" y="5681"/>
                  <a:pt x="16157" y="5732"/>
                  <a:pt x="16186" y="5732"/>
                </a:cubicBezTo>
                <a:close/>
                <a:moveTo>
                  <a:pt x="16032" y="5732"/>
                </a:moveTo>
                <a:cubicBezTo>
                  <a:pt x="16062" y="5732"/>
                  <a:pt x="16086" y="5681"/>
                  <a:pt x="16086" y="5619"/>
                </a:cubicBezTo>
                <a:cubicBezTo>
                  <a:pt x="16086" y="5556"/>
                  <a:pt x="16062" y="5506"/>
                  <a:pt x="16032" y="5506"/>
                </a:cubicBezTo>
                <a:cubicBezTo>
                  <a:pt x="16003" y="5506"/>
                  <a:pt x="15979" y="5556"/>
                  <a:pt x="15979" y="5619"/>
                </a:cubicBezTo>
                <a:cubicBezTo>
                  <a:pt x="15979" y="5681"/>
                  <a:pt x="16003" y="5732"/>
                  <a:pt x="16032" y="5732"/>
                </a:cubicBezTo>
                <a:close/>
                <a:moveTo>
                  <a:pt x="15880" y="5506"/>
                </a:moveTo>
                <a:cubicBezTo>
                  <a:pt x="15850" y="5506"/>
                  <a:pt x="15826" y="5556"/>
                  <a:pt x="15826" y="5619"/>
                </a:cubicBezTo>
                <a:cubicBezTo>
                  <a:pt x="15826" y="5681"/>
                  <a:pt x="15850" y="5732"/>
                  <a:pt x="15880" y="5732"/>
                </a:cubicBezTo>
                <a:cubicBezTo>
                  <a:pt x="15909" y="5732"/>
                  <a:pt x="15934" y="5681"/>
                  <a:pt x="15934" y="5619"/>
                </a:cubicBezTo>
                <a:cubicBezTo>
                  <a:pt x="15934" y="5556"/>
                  <a:pt x="15909" y="5506"/>
                  <a:pt x="15880" y="5506"/>
                </a:cubicBezTo>
                <a:close/>
                <a:moveTo>
                  <a:pt x="16186" y="6058"/>
                </a:moveTo>
                <a:cubicBezTo>
                  <a:pt x="16216" y="6058"/>
                  <a:pt x="16240" y="6008"/>
                  <a:pt x="16240" y="5945"/>
                </a:cubicBezTo>
                <a:cubicBezTo>
                  <a:pt x="16240" y="5883"/>
                  <a:pt x="16216" y="5832"/>
                  <a:pt x="16186" y="5832"/>
                </a:cubicBezTo>
                <a:cubicBezTo>
                  <a:pt x="16157" y="5832"/>
                  <a:pt x="16133" y="5883"/>
                  <a:pt x="16133" y="5945"/>
                </a:cubicBezTo>
                <a:cubicBezTo>
                  <a:pt x="16133" y="6008"/>
                  <a:pt x="16157" y="6058"/>
                  <a:pt x="16186" y="6058"/>
                </a:cubicBezTo>
                <a:close/>
                <a:moveTo>
                  <a:pt x="16032" y="6058"/>
                </a:moveTo>
                <a:cubicBezTo>
                  <a:pt x="16062" y="6058"/>
                  <a:pt x="16086" y="6008"/>
                  <a:pt x="16086" y="5945"/>
                </a:cubicBezTo>
                <a:cubicBezTo>
                  <a:pt x="16086" y="5883"/>
                  <a:pt x="16062" y="5832"/>
                  <a:pt x="16032" y="5832"/>
                </a:cubicBezTo>
                <a:cubicBezTo>
                  <a:pt x="16003" y="5832"/>
                  <a:pt x="15979" y="5883"/>
                  <a:pt x="15979" y="5945"/>
                </a:cubicBezTo>
                <a:cubicBezTo>
                  <a:pt x="15979" y="6008"/>
                  <a:pt x="16003" y="6058"/>
                  <a:pt x="16032" y="6058"/>
                </a:cubicBezTo>
                <a:close/>
                <a:moveTo>
                  <a:pt x="15880" y="5832"/>
                </a:moveTo>
                <a:cubicBezTo>
                  <a:pt x="15850" y="5832"/>
                  <a:pt x="15826" y="5883"/>
                  <a:pt x="15826" y="5945"/>
                </a:cubicBezTo>
                <a:cubicBezTo>
                  <a:pt x="15826" y="6008"/>
                  <a:pt x="15850" y="6058"/>
                  <a:pt x="15880" y="6058"/>
                </a:cubicBezTo>
                <a:cubicBezTo>
                  <a:pt x="15909" y="6058"/>
                  <a:pt x="15934" y="6008"/>
                  <a:pt x="15934" y="5945"/>
                </a:cubicBezTo>
                <a:cubicBezTo>
                  <a:pt x="15934" y="5883"/>
                  <a:pt x="15909" y="5832"/>
                  <a:pt x="15880" y="5832"/>
                </a:cubicBezTo>
                <a:close/>
                <a:moveTo>
                  <a:pt x="17576" y="4838"/>
                </a:moveTo>
                <a:cubicBezTo>
                  <a:pt x="17546" y="4838"/>
                  <a:pt x="17522" y="4888"/>
                  <a:pt x="17522" y="4951"/>
                </a:cubicBezTo>
                <a:cubicBezTo>
                  <a:pt x="17522" y="5013"/>
                  <a:pt x="17546" y="5064"/>
                  <a:pt x="17576" y="5064"/>
                </a:cubicBezTo>
                <a:cubicBezTo>
                  <a:pt x="17606" y="5064"/>
                  <a:pt x="17630" y="5013"/>
                  <a:pt x="17630" y="4951"/>
                </a:cubicBezTo>
                <a:cubicBezTo>
                  <a:pt x="17630" y="4888"/>
                  <a:pt x="17606" y="4838"/>
                  <a:pt x="17576" y="4838"/>
                </a:cubicBezTo>
                <a:close/>
                <a:moveTo>
                  <a:pt x="17422" y="5064"/>
                </a:moveTo>
                <a:cubicBezTo>
                  <a:pt x="17452" y="5064"/>
                  <a:pt x="17476" y="5013"/>
                  <a:pt x="17476" y="4951"/>
                </a:cubicBezTo>
                <a:cubicBezTo>
                  <a:pt x="17476" y="4888"/>
                  <a:pt x="17452" y="4838"/>
                  <a:pt x="17422" y="4838"/>
                </a:cubicBezTo>
                <a:cubicBezTo>
                  <a:pt x="17392" y="4838"/>
                  <a:pt x="17368" y="4888"/>
                  <a:pt x="17368" y="4951"/>
                </a:cubicBezTo>
                <a:cubicBezTo>
                  <a:pt x="17368" y="5013"/>
                  <a:pt x="17392" y="5064"/>
                  <a:pt x="17422" y="5064"/>
                </a:cubicBezTo>
                <a:close/>
                <a:moveTo>
                  <a:pt x="17269" y="4838"/>
                </a:moveTo>
                <a:cubicBezTo>
                  <a:pt x="17240" y="4838"/>
                  <a:pt x="17216" y="4888"/>
                  <a:pt x="17216" y="4951"/>
                </a:cubicBezTo>
                <a:cubicBezTo>
                  <a:pt x="17216" y="5013"/>
                  <a:pt x="17240" y="5064"/>
                  <a:pt x="17269" y="5064"/>
                </a:cubicBezTo>
                <a:cubicBezTo>
                  <a:pt x="17299" y="5064"/>
                  <a:pt x="17323" y="5013"/>
                  <a:pt x="17323" y="4951"/>
                </a:cubicBezTo>
                <a:cubicBezTo>
                  <a:pt x="17323" y="4888"/>
                  <a:pt x="17299" y="4838"/>
                  <a:pt x="17269" y="4838"/>
                </a:cubicBezTo>
                <a:close/>
                <a:moveTo>
                  <a:pt x="17116" y="4838"/>
                </a:moveTo>
                <a:cubicBezTo>
                  <a:pt x="17086" y="4838"/>
                  <a:pt x="17062" y="4888"/>
                  <a:pt x="17062" y="4951"/>
                </a:cubicBezTo>
                <a:cubicBezTo>
                  <a:pt x="17062" y="5013"/>
                  <a:pt x="17086" y="5064"/>
                  <a:pt x="17116" y="5064"/>
                </a:cubicBezTo>
                <a:cubicBezTo>
                  <a:pt x="17145" y="5064"/>
                  <a:pt x="17170" y="5013"/>
                  <a:pt x="17170" y="4951"/>
                </a:cubicBezTo>
                <a:cubicBezTo>
                  <a:pt x="17170" y="4888"/>
                  <a:pt x="17145" y="4838"/>
                  <a:pt x="17116" y="4838"/>
                </a:cubicBezTo>
                <a:close/>
                <a:moveTo>
                  <a:pt x="16963" y="4838"/>
                </a:moveTo>
                <a:cubicBezTo>
                  <a:pt x="16933" y="4838"/>
                  <a:pt x="16909" y="4888"/>
                  <a:pt x="16909" y="4951"/>
                </a:cubicBezTo>
                <a:cubicBezTo>
                  <a:pt x="16909" y="5013"/>
                  <a:pt x="16933" y="5064"/>
                  <a:pt x="16963" y="5064"/>
                </a:cubicBezTo>
                <a:cubicBezTo>
                  <a:pt x="16993" y="5064"/>
                  <a:pt x="17017" y="5013"/>
                  <a:pt x="17017" y="4951"/>
                </a:cubicBezTo>
                <a:cubicBezTo>
                  <a:pt x="17017" y="4888"/>
                  <a:pt x="16993" y="4838"/>
                  <a:pt x="16963" y="4838"/>
                </a:cubicBezTo>
                <a:close/>
                <a:moveTo>
                  <a:pt x="16808" y="4838"/>
                </a:moveTo>
                <a:cubicBezTo>
                  <a:pt x="16778" y="4838"/>
                  <a:pt x="16754" y="4888"/>
                  <a:pt x="16754" y="4951"/>
                </a:cubicBezTo>
                <a:cubicBezTo>
                  <a:pt x="16754" y="5013"/>
                  <a:pt x="16778" y="5064"/>
                  <a:pt x="16808" y="5064"/>
                </a:cubicBezTo>
                <a:cubicBezTo>
                  <a:pt x="16838" y="5064"/>
                  <a:pt x="16862" y="5013"/>
                  <a:pt x="16862" y="4951"/>
                </a:cubicBezTo>
                <a:cubicBezTo>
                  <a:pt x="16862" y="4888"/>
                  <a:pt x="16838" y="4838"/>
                  <a:pt x="16808" y="4838"/>
                </a:cubicBezTo>
                <a:close/>
                <a:moveTo>
                  <a:pt x="16350" y="4838"/>
                </a:moveTo>
                <a:cubicBezTo>
                  <a:pt x="16320" y="4838"/>
                  <a:pt x="16296" y="4888"/>
                  <a:pt x="16296" y="4951"/>
                </a:cubicBezTo>
                <a:cubicBezTo>
                  <a:pt x="16296" y="5013"/>
                  <a:pt x="16320" y="5064"/>
                  <a:pt x="16350" y="5064"/>
                </a:cubicBezTo>
                <a:cubicBezTo>
                  <a:pt x="16379" y="5064"/>
                  <a:pt x="16403" y="5013"/>
                  <a:pt x="16403" y="4951"/>
                </a:cubicBezTo>
                <a:cubicBezTo>
                  <a:pt x="16403" y="4888"/>
                  <a:pt x="16379" y="4838"/>
                  <a:pt x="16350" y="4838"/>
                </a:cubicBezTo>
                <a:close/>
                <a:moveTo>
                  <a:pt x="16350" y="5164"/>
                </a:moveTo>
                <a:cubicBezTo>
                  <a:pt x="16320" y="5164"/>
                  <a:pt x="16296" y="5215"/>
                  <a:pt x="16296" y="5277"/>
                </a:cubicBezTo>
                <a:cubicBezTo>
                  <a:pt x="16296" y="5339"/>
                  <a:pt x="16320" y="5390"/>
                  <a:pt x="16350" y="5390"/>
                </a:cubicBezTo>
                <a:cubicBezTo>
                  <a:pt x="16379" y="5390"/>
                  <a:pt x="16403" y="5339"/>
                  <a:pt x="16403" y="5277"/>
                </a:cubicBezTo>
                <a:cubicBezTo>
                  <a:pt x="16403" y="5215"/>
                  <a:pt x="16379" y="5164"/>
                  <a:pt x="16350" y="5164"/>
                </a:cubicBezTo>
                <a:close/>
                <a:moveTo>
                  <a:pt x="16654" y="4838"/>
                </a:moveTo>
                <a:cubicBezTo>
                  <a:pt x="16624" y="4838"/>
                  <a:pt x="16600" y="4888"/>
                  <a:pt x="16600" y="4951"/>
                </a:cubicBezTo>
                <a:cubicBezTo>
                  <a:pt x="16600" y="5013"/>
                  <a:pt x="16624" y="5064"/>
                  <a:pt x="16654" y="5064"/>
                </a:cubicBezTo>
                <a:cubicBezTo>
                  <a:pt x="16684" y="5064"/>
                  <a:pt x="16708" y="5013"/>
                  <a:pt x="16708" y="4951"/>
                </a:cubicBezTo>
                <a:cubicBezTo>
                  <a:pt x="16708" y="4888"/>
                  <a:pt x="16684" y="4838"/>
                  <a:pt x="16654" y="4838"/>
                </a:cubicBezTo>
                <a:close/>
                <a:moveTo>
                  <a:pt x="16501" y="4838"/>
                </a:moveTo>
                <a:cubicBezTo>
                  <a:pt x="16471" y="4838"/>
                  <a:pt x="16447" y="4888"/>
                  <a:pt x="16447" y="4951"/>
                </a:cubicBezTo>
                <a:cubicBezTo>
                  <a:pt x="16447" y="5013"/>
                  <a:pt x="16471" y="5064"/>
                  <a:pt x="16501" y="5064"/>
                </a:cubicBezTo>
                <a:cubicBezTo>
                  <a:pt x="16531" y="5064"/>
                  <a:pt x="16555" y="5013"/>
                  <a:pt x="16555" y="4951"/>
                </a:cubicBezTo>
                <a:cubicBezTo>
                  <a:pt x="16555" y="4888"/>
                  <a:pt x="16531" y="4838"/>
                  <a:pt x="16501" y="4838"/>
                </a:cubicBezTo>
                <a:close/>
                <a:moveTo>
                  <a:pt x="17576" y="5164"/>
                </a:moveTo>
                <a:cubicBezTo>
                  <a:pt x="17546" y="5164"/>
                  <a:pt x="17522" y="5215"/>
                  <a:pt x="17522" y="5277"/>
                </a:cubicBezTo>
                <a:cubicBezTo>
                  <a:pt x="17522" y="5339"/>
                  <a:pt x="17546" y="5390"/>
                  <a:pt x="17576" y="5390"/>
                </a:cubicBezTo>
                <a:cubicBezTo>
                  <a:pt x="17606" y="5390"/>
                  <a:pt x="17630" y="5339"/>
                  <a:pt x="17630" y="5277"/>
                </a:cubicBezTo>
                <a:cubicBezTo>
                  <a:pt x="17630" y="5215"/>
                  <a:pt x="17606" y="5164"/>
                  <a:pt x="17576" y="5164"/>
                </a:cubicBezTo>
                <a:close/>
                <a:moveTo>
                  <a:pt x="17422" y="5390"/>
                </a:moveTo>
                <a:cubicBezTo>
                  <a:pt x="17452" y="5390"/>
                  <a:pt x="17476" y="5339"/>
                  <a:pt x="17476" y="5277"/>
                </a:cubicBezTo>
                <a:cubicBezTo>
                  <a:pt x="17476" y="5215"/>
                  <a:pt x="17452" y="5164"/>
                  <a:pt x="17422" y="5164"/>
                </a:cubicBezTo>
                <a:cubicBezTo>
                  <a:pt x="17392" y="5164"/>
                  <a:pt x="17368" y="5215"/>
                  <a:pt x="17368" y="5277"/>
                </a:cubicBezTo>
                <a:cubicBezTo>
                  <a:pt x="17368" y="5339"/>
                  <a:pt x="17392" y="5390"/>
                  <a:pt x="17422" y="5390"/>
                </a:cubicBezTo>
                <a:close/>
                <a:moveTo>
                  <a:pt x="17269" y="5164"/>
                </a:moveTo>
                <a:cubicBezTo>
                  <a:pt x="17240" y="5164"/>
                  <a:pt x="17216" y="5215"/>
                  <a:pt x="17216" y="5277"/>
                </a:cubicBezTo>
                <a:cubicBezTo>
                  <a:pt x="17216" y="5339"/>
                  <a:pt x="17240" y="5390"/>
                  <a:pt x="17269" y="5390"/>
                </a:cubicBezTo>
                <a:cubicBezTo>
                  <a:pt x="17299" y="5390"/>
                  <a:pt x="17323" y="5339"/>
                  <a:pt x="17323" y="5277"/>
                </a:cubicBezTo>
                <a:cubicBezTo>
                  <a:pt x="17323" y="5215"/>
                  <a:pt x="17299" y="5164"/>
                  <a:pt x="17269" y="5164"/>
                </a:cubicBezTo>
                <a:close/>
                <a:moveTo>
                  <a:pt x="17116" y="5164"/>
                </a:moveTo>
                <a:cubicBezTo>
                  <a:pt x="17086" y="5164"/>
                  <a:pt x="17062" y="5215"/>
                  <a:pt x="17062" y="5277"/>
                </a:cubicBezTo>
                <a:cubicBezTo>
                  <a:pt x="17062" y="5339"/>
                  <a:pt x="17086" y="5390"/>
                  <a:pt x="17116" y="5390"/>
                </a:cubicBezTo>
                <a:cubicBezTo>
                  <a:pt x="17145" y="5390"/>
                  <a:pt x="17170" y="5339"/>
                  <a:pt x="17170" y="5277"/>
                </a:cubicBezTo>
                <a:cubicBezTo>
                  <a:pt x="17170" y="5215"/>
                  <a:pt x="17145" y="5164"/>
                  <a:pt x="17116" y="5164"/>
                </a:cubicBezTo>
                <a:close/>
                <a:moveTo>
                  <a:pt x="16963" y="5164"/>
                </a:moveTo>
                <a:cubicBezTo>
                  <a:pt x="16933" y="5164"/>
                  <a:pt x="16909" y="5215"/>
                  <a:pt x="16909" y="5277"/>
                </a:cubicBezTo>
                <a:cubicBezTo>
                  <a:pt x="16909" y="5339"/>
                  <a:pt x="16933" y="5390"/>
                  <a:pt x="16963" y="5390"/>
                </a:cubicBezTo>
                <a:cubicBezTo>
                  <a:pt x="16993" y="5390"/>
                  <a:pt x="17017" y="5339"/>
                  <a:pt x="17017" y="5277"/>
                </a:cubicBezTo>
                <a:cubicBezTo>
                  <a:pt x="17017" y="5215"/>
                  <a:pt x="16993" y="5164"/>
                  <a:pt x="16963" y="5164"/>
                </a:cubicBezTo>
                <a:close/>
                <a:moveTo>
                  <a:pt x="16808" y="5164"/>
                </a:moveTo>
                <a:cubicBezTo>
                  <a:pt x="16778" y="5164"/>
                  <a:pt x="16754" y="5215"/>
                  <a:pt x="16754" y="5277"/>
                </a:cubicBezTo>
                <a:cubicBezTo>
                  <a:pt x="16754" y="5339"/>
                  <a:pt x="16778" y="5390"/>
                  <a:pt x="16808" y="5390"/>
                </a:cubicBezTo>
                <a:cubicBezTo>
                  <a:pt x="16838" y="5390"/>
                  <a:pt x="16862" y="5339"/>
                  <a:pt x="16862" y="5277"/>
                </a:cubicBezTo>
                <a:cubicBezTo>
                  <a:pt x="16862" y="5215"/>
                  <a:pt x="16838" y="5164"/>
                  <a:pt x="16808" y="5164"/>
                </a:cubicBezTo>
                <a:close/>
                <a:moveTo>
                  <a:pt x="16654" y="5164"/>
                </a:moveTo>
                <a:cubicBezTo>
                  <a:pt x="16624" y="5164"/>
                  <a:pt x="16600" y="5215"/>
                  <a:pt x="16600" y="5277"/>
                </a:cubicBezTo>
                <a:cubicBezTo>
                  <a:pt x="16600" y="5339"/>
                  <a:pt x="16624" y="5390"/>
                  <a:pt x="16654" y="5390"/>
                </a:cubicBezTo>
                <a:cubicBezTo>
                  <a:pt x="16684" y="5390"/>
                  <a:pt x="16708" y="5339"/>
                  <a:pt x="16708" y="5277"/>
                </a:cubicBezTo>
                <a:cubicBezTo>
                  <a:pt x="16708" y="5215"/>
                  <a:pt x="16684" y="5164"/>
                  <a:pt x="16654" y="5164"/>
                </a:cubicBezTo>
                <a:close/>
                <a:moveTo>
                  <a:pt x="16501" y="5164"/>
                </a:moveTo>
                <a:cubicBezTo>
                  <a:pt x="16471" y="5164"/>
                  <a:pt x="16447" y="5215"/>
                  <a:pt x="16447" y="5277"/>
                </a:cubicBezTo>
                <a:cubicBezTo>
                  <a:pt x="16447" y="5339"/>
                  <a:pt x="16471" y="5390"/>
                  <a:pt x="16501" y="5390"/>
                </a:cubicBezTo>
                <a:cubicBezTo>
                  <a:pt x="16531" y="5390"/>
                  <a:pt x="16555" y="5339"/>
                  <a:pt x="16555" y="5277"/>
                </a:cubicBezTo>
                <a:cubicBezTo>
                  <a:pt x="16555" y="5215"/>
                  <a:pt x="16531" y="5164"/>
                  <a:pt x="16501" y="5164"/>
                </a:cubicBezTo>
                <a:close/>
                <a:moveTo>
                  <a:pt x="15881" y="4526"/>
                </a:moveTo>
                <a:cubicBezTo>
                  <a:pt x="15852" y="4526"/>
                  <a:pt x="15828" y="4577"/>
                  <a:pt x="15828" y="4639"/>
                </a:cubicBezTo>
                <a:cubicBezTo>
                  <a:pt x="15828" y="4702"/>
                  <a:pt x="15852" y="4753"/>
                  <a:pt x="15881" y="4753"/>
                </a:cubicBezTo>
                <a:cubicBezTo>
                  <a:pt x="15911" y="4753"/>
                  <a:pt x="15935" y="4702"/>
                  <a:pt x="15935" y="4639"/>
                </a:cubicBezTo>
                <a:cubicBezTo>
                  <a:pt x="15935" y="4577"/>
                  <a:pt x="15911" y="4526"/>
                  <a:pt x="15881" y="4526"/>
                </a:cubicBezTo>
                <a:close/>
                <a:moveTo>
                  <a:pt x="16188" y="4526"/>
                </a:moveTo>
                <a:cubicBezTo>
                  <a:pt x="16158" y="4526"/>
                  <a:pt x="16134" y="4577"/>
                  <a:pt x="16134" y="4639"/>
                </a:cubicBezTo>
                <a:cubicBezTo>
                  <a:pt x="16134" y="4702"/>
                  <a:pt x="16158" y="4753"/>
                  <a:pt x="16188" y="4753"/>
                </a:cubicBezTo>
                <a:cubicBezTo>
                  <a:pt x="16217" y="4753"/>
                  <a:pt x="16241" y="4702"/>
                  <a:pt x="16241" y="4639"/>
                </a:cubicBezTo>
                <a:cubicBezTo>
                  <a:pt x="16241" y="4577"/>
                  <a:pt x="16217" y="4526"/>
                  <a:pt x="16188" y="4526"/>
                </a:cubicBezTo>
                <a:close/>
                <a:moveTo>
                  <a:pt x="16035" y="4526"/>
                </a:moveTo>
                <a:cubicBezTo>
                  <a:pt x="16005" y="4526"/>
                  <a:pt x="15981" y="4577"/>
                  <a:pt x="15981" y="4639"/>
                </a:cubicBezTo>
                <a:cubicBezTo>
                  <a:pt x="15981" y="4702"/>
                  <a:pt x="16005" y="4753"/>
                  <a:pt x="16035" y="4753"/>
                </a:cubicBezTo>
                <a:cubicBezTo>
                  <a:pt x="16065" y="4753"/>
                  <a:pt x="16089" y="4702"/>
                  <a:pt x="16089" y="4639"/>
                </a:cubicBezTo>
                <a:cubicBezTo>
                  <a:pt x="16089" y="4577"/>
                  <a:pt x="16065" y="4526"/>
                  <a:pt x="16035" y="4526"/>
                </a:cubicBezTo>
                <a:close/>
                <a:moveTo>
                  <a:pt x="16186" y="5064"/>
                </a:moveTo>
                <a:cubicBezTo>
                  <a:pt x="16216" y="5064"/>
                  <a:pt x="16240" y="5013"/>
                  <a:pt x="16240" y="4951"/>
                </a:cubicBezTo>
                <a:cubicBezTo>
                  <a:pt x="16240" y="4888"/>
                  <a:pt x="16216" y="4838"/>
                  <a:pt x="16186" y="4838"/>
                </a:cubicBezTo>
                <a:cubicBezTo>
                  <a:pt x="16157" y="4838"/>
                  <a:pt x="16133" y="4888"/>
                  <a:pt x="16133" y="4951"/>
                </a:cubicBezTo>
                <a:cubicBezTo>
                  <a:pt x="16133" y="5013"/>
                  <a:pt x="16157" y="5064"/>
                  <a:pt x="16186" y="5064"/>
                </a:cubicBezTo>
                <a:close/>
                <a:moveTo>
                  <a:pt x="16032" y="5064"/>
                </a:moveTo>
                <a:cubicBezTo>
                  <a:pt x="16062" y="5064"/>
                  <a:pt x="16086" y="5013"/>
                  <a:pt x="16086" y="4951"/>
                </a:cubicBezTo>
                <a:cubicBezTo>
                  <a:pt x="16086" y="4888"/>
                  <a:pt x="16062" y="4838"/>
                  <a:pt x="16032" y="4838"/>
                </a:cubicBezTo>
                <a:cubicBezTo>
                  <a:pt x="16003" y="4838"/>
                  <a:pt x="15979" y="4888"/>
                  <a:pt x="15979" y="4951"/>
                </a:cubicBezTo>
                <a:cubicBezTo>
                  <a:pt x="15979" y="5013"/>
                  <a:pt x="16003" y="5064"/>
                  <a:pt x="16032" y="5064"/>
                </a:cubicBezTo>
                <a:close/>
                <a:moveTo>
                  <a:pt x="15880" y="4838"/>
                </a:moveTo>
                <a:cubicBezTo>
                  <a:pt x="15850" y="4838"/>
                  <a:pt x="15826" y="4888"/>
                  <a:pt x="15826" y="4951"/>
                </a:cubicBezTo>
                <a:cubicBezTo>
                  <a:pt x="15826" y="5013"/>
                  <a:pt x="15850" y="5064"/>
                  <a:pt x="15880" y="5064"/>
                </a:cubicBezTo>
                <a:cubicBezTo>
                  <a:pt x="15909" y="5064"/>
                  <a:pt x="15934" y="5013"/>
                  <a:pt x="15934" y="4951"/>
                </a:cubicBezTo>
                <a:cubicBezTo>
                  <a:pt x="15934" y="4888"/>
                  <a:pt x="15909" y="4838"/>
                  <a:pt x="15880" y="4838"/>
                </a:cubicBezTo>
                <a:close/>
                <a:moveTo>
                  <a:pt x="16186" y="5390"/>
                </a:moveTo>
                <a:cubicBezTo>
                  <a:pt x="16216" y="5390"/>
                  <a:pt x="16240" y="5339"/>
                  <a:pt x="16240" y="5277"/>
                </a:cubicBezTo>
                <a:cubicBezTo>
                  <a:pt x="16240" y="5215"/>
                  <a:pt x="16216" y="5164"/>
                  <a:pt x="16186" y="5164"/>
                </a:cubicBezTo>
                <a:cubicBezTo>
                  <a:pt x="16157" y="5164"/>
                  <a:pt x="16133" y="5215"/>
                  <a:pt x="16133" y="5277"/>
                </a:cubicBezTo>
                <a:cubicBezTo>
                  <a:pt x="16133" y="5339"/>
                  <a:pt x="16157" y="5390"/>
                  <a:pt x="16186" y="5390"/>
                </a:cubicBezTo>
                <a:close/>
                <a:moveTo>
                  <a:pt x="16032" y="5390"/>
                </a:moveTo>
                <a:cubicBezTo>
                  <a:pt x="16062" y="5390"/>
                  <a:pt x="16086" y="5339"/>
                  <a:pt x="16086" y="5277"/>
                </a:cubicBezTo>
                <a:cubicBezTo>
                  <a:pt x="16086" y="5215"/>
                  <a:pt x="16062" y="5164"/>
                  <a:pt x="16032" y="5164"/>
                </a:cubicBezTo>
                <a:cubicBezTo>
                  <a:pt x="16003" y="5164"/>
                  <a:pt x="15979" y="5215"/>
                  <a:pt x="15979" y="5277"/>
                </a:cubicBezTo>
                <a:cubicBezTo>
                  <a:pt x="15979" y="5339"/>
                  <a:pt x="16003" y="5390"/>
                  <a:pt x="16032" y="5390"/>
                </a:cubicBezTo>
                <a:close/>
                <a:moveTo>
                  <a:pt x="15880" y="5164"/>
                </a:moveTo>
                <a:cubicBezTo>
                  <a:pt x="15850" y="5164"/>
                  <a:pt x="15826" y="5215"/>
                  <a:pt x="15826" y="5277"/>
                </a:cubicBezTo>
                <a:cubicBezTo>
                  <a:pt x="15826" y="5339"/>
                  <a:pt x="15850" y="5390"/>
                  <a:pt x="15880" y="5390"/>
                </a:cubicBezTo>
                <a:cubicBezTo>
                  <a:pt x="15909" y="5390"/>
                  <a:pt x="15934" y="5339"/>
                  <a:pt x="15934" y="5277"/>
                </a:cubicBezTo>
                <a:cubicBezTo>
                  <a:pt x="15934" y="5215"/>
                  <a:pt x="15909" y="5164"/>
                  <a:pt x="15880" y="5164"/>
                </a:cubicBezTo>
                <a:close/>
                <a:moveTo>
                  <a:pt x="16498" y="3798"/>
                </a:moveTo>
                <a:cubicBezTo>
                  <a:pt x="16528" y="3798"/>
                  <a:pt x="16552" y="3747"/>
                  <a:pt x="16552" y="3685"/>
                </a:cubicBezTo>
                <a:cubicBezTo>
                  <a:pt x="16552" y="3622"/>
                  <a:pt x="16528" y="3572"/>
                  <a:pt x="16498" y="3572"/>
                </a:cubicBezTo>
                <a:cubicBezTo>
                  <a:pt x="16468" y="3572"/>
                  <a:pt x="16444" y="3622"/>
                  <a:pt x="16444" y="3685"/>
                </a:cubicBezTo>
                <a:cubicBezTo>
                  <a:pt x="16444" y="3747"/>
                  <a:pt x="16468" y="3798"/>
                  <a:pt x="16498" y="3798"/>
                </a:cubicBezTo>
                <a:close/>
                <a:moveTo>
                  <a:pt x="16498" y="3471"/>
                </a:moveTo>
                <a:cubicBezTo>
                  <a:pt x="16528" y="3471"/>
                  <a:pt x="16552" y="3420"/>
                  <a:pt x="16552" y="3358"/>
                </a:cubicBezTo>
                <a:cubicBezTo>
                  <a:pt x="16552" y="3295"/>
                  <a:pt x="16528" y="3245"/>
                  <a:pt x="16498" y="3245"/>
                </a:cubicBezTo>
                <a:cubicBezTo>
                  <a:pt x="16468" y="3245"/>
                  <a:pt x="16444" y="3295"/>
                  <a:pt x="16444" y="3358"/>
                </a:cubicBezTo>
                <a:cubicBezTo>
                  <a:pt x="16444" y="3420"/>
                  <a:pt x="16468" y="3471"/>
                  <a:pt x="16498" y="3471"/>
                </a:cubicBezTo>
                <a:close/>
                <a:moveTo>
                  <a:pt x="16344" y="3798"/>
                </a:moveTo>
                <a:cubicBezTo>
                  <a:pt x="16374" y="3798"/>
                  <a:pt x="16398" y="3747"/>
                  <a:pt x="16398" y="3685"/>
                </a:cubicBezTo>
                <a:cubicBezTo>
                  <a:pt x="16398" y="3622"/>
                  <a:pt x="16374" y="3572"/>
                  <a:pt x="16344" y="3572"/>
                </a:cubicBezTo>
                <a:cubicBezTo>
                  <a:pt x="16314" y="3572"/>
                  <a:pt x="16290" y="3622"/>
                  <a:pt x="16290" y="3685"/>
                </a:cubicBezTo>
                <a:cubicBezTo>
                  <a:pt x="16290" y="3747"/>
                  <a:pt x="16314" y="3798"/>
                  <a:pt x="16344" y="3798"/>
                </a:cubicBezTo>
                <a:close/>
                <a:moveTo>
                  <a:pt x="16344" y="3471"/>
                </a:moveTo>
                <a:cubicBezTo>
                  <a:pt x="16374" y="3471"/>
                  <a:pt x="16398" y="3420"/>
                  <a:pt x="16398" y="3358"/>
                </a:cubicBezTo>
                <a:cubicBezTo>
                  <a:pt x="16398" y="3295"/>
                  <a:pt x="16374" y="3245"/>
                  <a:pt x="16344" y="3245"/>
                </a:cubicBezTo>
                <a:cubicBezTo>
                  <a:pt x="16314" y="3245"/>
                  <a:pt x="16290" y="3295"/>
                  <a:pt x="16290" y="3358"/>
                </a:cubicBezTo>
                <a:cubicBezTo>
                  <a:pt x="16290" y="3420"/>
                  <a:pt x="16314" y="3471"/>
                  <a:pt x="16344" y="3471"/>
                </a:cubicBezTo>
                <a:close/>
                <a:moveTo>
                  <a:pt x="17271" y="3572"/>
                </a:moveTo>
                <a:cubicBezTo>
                  <a:pt x="17241" y="3572"/>
                  <a:pt x="17217" y="3622"/>
                  <a:pt x="17217" y="3685"/>
                </a:cubicBezTo>
                <a:cubicBezTo>
                  <a:pt x="17217" y="3747"/>
                  <a:pt x="17241" y="3798"/>
                  <a:pt x="17271" y="3798"/>
                </a:cubicBezTo>
                <a:cubicBezTo>
                  <a:pt x="17301" y="3798"/>
                  <a:pt x="17325" y="3747"/>
                  <a:pt x="17325" y="3685"/>
                </a:cubicBezTo>
                <a:cubicBezTo>
                  <a:pt x="17325" y="3622"/>
                  <a:pt x="17301" y="3572"/>
                  <a:pt x="17271" y="3572"/>
                </a:cubicBezTo>
                <a:close/>
                <a:moveTo>
                  <a:pt x="17271" y="3245"/>
                </a:moveTo>
                <a:cubicBezTo>
                  <a:pt x="17241" y="3245"/>
                  <a:pt x="17217" y="3295"/>
                  <a:pt x="17217" y="3358"/>
                </a:cubicBezTo>
                <a:cubicBezTo>
                  <a:pt x="17217" y="3420"/>
                  <a:pt x="17241" y="3471"/>
                  <a:pt x="17271" y="3471"/>
                </a:cubicBezTo>
                <a:cubicBezTo>
                  <a:pt x="17301" y="3471"/>
                  <a:pt x="17325" y="3420"/>
                  <a:pt x="17325" y="3358"/>
                </a:cubicBezTo>
                <a:cubicBezTo>
                  <a:pt x="17325" y="3295"/>
                  <a:pt x="17301" y="3245"/>
                  <a:pt x="17271" y="3245"/>
                </a:cubicBezTo>
                <a:close/>
                <a:moveTo>
                  <a:pt x="17118" y="3572"/>
                </a:moveTo>
                <a:cubicBezTo>
                  <a:pt x="17089" y="3572"/>
                  <a:pt x="17065" y="3622"/>
                  <a:pt x="17065" y="3685"/>
                </a:cubicBezTo>
                <a:cubicBezTo>
                  <a:pt x="17065" y="3747"/>
                  <a:pt x="17089" y="3798"/>
                  <a:pt x="17118" y="3798"/>
                </a:cubicBezTo>
                <a:cubicBezTo>
                  <a:pt x="17148" y="3798"/>
                  <a:pt x="17172" y="3747"/>
                  <a:pt x="17172" y="3685"/>
                </a:cubicBezTo>
                <a:cubicBezTo>
                  <a:pt x="17172" y="3622"/>
                  <a:pt x="17148" y="3572"/>
                  <a:pt x="17118" y="3572"/>
                </a:cubicBezTo>
                <a:close/>
                <a:moveTo>
                  <a:pt x="17118" y="3245"/>
                </a:moveTo>
                <a:cubicBezTo>
                  <a:pt x="17089" y="3245"/>
                  <a:pt x="17065" y="3295"/>
                  <a:pt x="17065" y="3358"/>
                </a:cubicBezTo>
                <a:cubicBezTo>
                  <a:pt x="17065" y="3420"/>
                  <a:pt x="17089" y="3471"/>
                  <a:pt x="17118" y="3471"/>
                </a:cubicBezTo>
                <a:cubicBezTo>
                  <a:pt x="17148" y="3471"/>
                  <a:pt x="17172" y="3420"/>
                  <a:pt x="17172" y="3358"/>
                </a:cubicBezTo>
                <a:cubicBezTo>
                  <a:pt x="17172" y="3295"/>
                  <a:pt x="17148" y="3245"/>
                  <a:pt x="17118" y="3245"/>
                </a:cubicBezTo>
                <a:close/>
                <a:moveTo>
                  <a:pt x="16963" y="3798"/>
                </a:moveTo>
                <a:cubicBezTo>
                  <a:pt x="16993" y="3798"/>
                  <a:pt x="17017" y="3747"/>
                  <a:pt x="17017" y="3685"/>
                </a:cubicBezTo>
                <a:cubicBezTo>
                  <a:pt x="17017" y="3622"/>
                  <a:pt x="16993" y="3572"/>
                  <a:pt x="16963" y="3572"/>
                </a:cubicBezTo>
                <a:cubicBezTo>
                  <a:pt x="16933" y="3572"/>
                  <a:pt x="16909" y="3622"/>
                  <a:pt x="16909" y="3685"/>
                </a:cubicBezTo>
                <a:cubicBezTo>
                  <a:pt x="16909" y="3747"/>
                  <a:pt x="16933" y="3798"/>
                  <a:pt x="16963" y="3798"/>
                </a:cubicBezTo>
                <a:close/>
                <a:moveTo>
                  <a:pt x="16963" y="3471"/>
                </a:moveTo>
                <a:cubicBezTo>
                  <a:pt x="16993" y="3471"/>
                  <a:pt x="17017" y="3420"/>
                  <a:pt x="17017" y="3358"/>
                </a:cubicBezTo>
                <a:cubicBezTo>
                  <a:pt x="17017" y="3295"/>
                  <a:pt x="16993" y="3245"/>
                  <a:pt x="16963" y="3245"/>
                </a:cubicBezTo>
                <a:cubicBezTo>
                  <a:pt x="16933" y="3245"/>
                  <a:pt x="16909" y="3295"/>
                  <a:pt x="16909" y="3358"/>
                </a:cubicBezTo>
                <a:cubicBezTo>
                  <a:pt x="16909" y="3420"/>
                  <a:pt x="16933" y="3471"/>
                  <a:pt x="16963" y="3471"/>
                </a:cubicBezTo>
                <a:close/>
                <a:moveTo>
                  <a:pt x="16809" y="3572"/>
                </a:moveTo>
                <a:cubicBezTo>
                  <a:pt x="16779" y="3572"/>
                  <a:pt x="16755" y="3622"/>
                  <a:pt x="16755" y="3685"/>
                </a:cubicBezTo>
                <a:cubicBezTo>
                  <a:pt x="16755" y="3747"/>
                  <a:pt x="16779" y="3798"/>
                  <a:pt x="16809" y="3798"/>
                </a:cubicBezTo>
                <a:cubicBezTo>
                  <a:pt x="16839" y="3798"/>
                  <a:pt x="16863" y="3747"/>
                  <a:pt x="16863" y="3685"/>
                </a:cubicBezTo>
                <a:cubicBezTo>
                  <a:pt x="16863" y="3622"/>
                  <a:pt x="16839" y="3572"/>
                  <a:pt x="16809" y="3572"/>
                </a:cubicBezTo>
                <a:close/>
                <a:moveTo>
                  <a:pt x="16809" y="3245"/>
                </a:moveTo>
                <a:cubicBezTo>
                  <a:pt x="16779" y="3245"/>
                  <a:pt x="16755" y="3295"/>
                  <a:pt x="16755" y="3358"/>
                </a:cubicBezTo>
                <a:cubicBezTo>
                  <a:pt x="16755" y="3420"/>
                  <a:pt x="16779" y="3471"/>
                  <a:pt x="16809" y="3471"/>
                </a:cubicBezTo>
                <a:cubicBezTo>
                  <a:pt x="16839" y="3471"/>
                  <a:pt x="16863" y="3420"/>
                  <a:pt x="16863" y="3358"/>
                </a:cubicBezTo>
                <a:cubicBezTo>
                  <a:pt x="16863" y="3295"/>
                  <a:pt x="16839" y="3245"/>
                  <a:pt x="16809" y="3245"/>
                </a:cubicBezTo>
                <a:close/>
                <a:moveTo>
                  <a:pt x="16656" y="3572"/>
                </a:moveTo>
                <a:cubicBezTo>
                  <a:pt x="16627" y="3572"/>
                  <a:pt x="16603" y="3622"/>
                  <a:pt x="16603" y="3685"/>
                </a:cubicBezTo>
                <a:cubicBezTo>
                  <a:pt x="16603" y="3747"/>
                  <a:pt x="16627" y="3798"/>
                  <a:pt x="16656" y="3798"/>
                </a:cubicBezTo>
                <a:cubicBezTo>
                  <a:pt x="16686" y="3798"/>
                  <a:pt x="16710" y="3747"/>
                  <a:pt x="16710" y="3685"/>
                </a:cubicBezTo>
                <a:cubicBezTo>
                  <a:pt x="16710" y="3622"/>
                  <a:pt x="16686" y="3572"/>
                  <a:pt x="16656" y="3572"/>
                </a:cubicBezTo>
                <a:close/>
                <a:moveTo>
                  <a:pt x="16656" y="3245"/>
                </a:moveTo>
                <a:cubicBezTo>
                  <a:pt x="16627" y="3245"/>
                  <a:pt x="16603" y="3295"/>
                  <a:pt x="16603" y="3358"/>
                </a:cubicBezTo>
                <a:cubicBezTo>
                  <a:pt x="16603" y="3420"/>
                  <a:pt x="16627" y="3471"/>
                  <a:pt x="16656" y="3471"/>
                </a:cubicBezTo>
                <a:cubicBezTo>
                  <a:pt x="16686" y="3471"/>
                  <a:pt x="16710" y="3420"/>
                  <a:pt x="16710" y="3358"/>
                </a:cubicBezTo>
                <a:cubicBezTo>
                  <a:pt x="16710" y="3295"/>
                  <a:pt x="16686" y="3245"/>
                  <a:pt x="16656" y="3245"/>
                </a:cubicBezTo>
                <a:close/>
                <a:moveTo>
                  <a:pt x="16350" y="914"/>
                </a:moveTo>
                <a:cubicBezTo>
                  <a:pt x="16320" y="914"/>
                  <a:pt x="16296" y="964"/>
                  <a:pt x="16296" y="1027"/>
                </a:cubicBezTo>
                <a:cubicBezTo>
                  <a:pt x="16296" y="1089"/>
                  <a:pt x="16320" y="1140"/>
                  <a:pt x="16350" y="1140"/>
                </a:cubicBezTo>
                <a:cubicBezTo>
                  <a:pt x="16379" y="1140"/>
                  <a:pt x="16403" y="1089"/>
                  <a:pt x="16403" y="1027"/>
                </a:cubicBezTo>
                <a:cubicBezTo>
                  <a:pt x="16403" y="964"/>
                  <a:pt x="16379" y="914"/>
                  <a:pt x="16350" y="914"/>
                </a:cubicBezTo>
                <a:close/>
                <a:moveTo>
                  <a:pt x="16350" y="1300"/>
                </a:moveTo>
                <a:cubicBezTo>
                  <a:pt x="16320" y="1300"/>
                  <a:pt x="16296" y="1351"/>
                  <a:pt x="16296" y="1413"/>
                </a:cubicBezTo>
                <a:cubicBezTo>
                  <a:pt x="16296" y="1476"/>
                  <a:pt x="16320" y="1527"/>
                  <a:pt x="16350" y="1527"/>
                </a:cubicBezTo>
                <a:cubicBezTo>
                  <a:pt x="16379" y="1527"/>
                  <a:pt x="16403" y="1476"/>
                  <a:pt x="16403" y="1413"/>
                </a:cubicBezTo>
                <a:cubicBezTo>
                  <a:pt x="16403" y="1351"/>
                  <a:pt x="16379" y="1300"/>
                  <a:pt x="16350" y="1300"/>
                </a:cubicBezTo>
                <a:close/>
                <a:moveTo>
                  <a:pt x="16654" y="1527"/>
                </a:moveTo>
                <a:cubicBezTo>
                  <a:pt x="16684" y="1527"/>
                  <a:pt x="16708" y="1476"/>
                  <a:pt x="16708" y="1413"/>
                </a:cubicBezTo>
                <a:cubicBezTo>
                  <a:pt x="16708" y="1351"/>
                  <a:pt x="16684" y="1300"/>
                  <a:pt x="16654" y="1300"/>
                </a:cubicBezTo>
                <a:cubicBezTo>
                  <a:pt x="16624" y="1300"/>
                  <a:pt x="16600" y="1351"/>
                  <a:pt x="16600" y="1413"/>
                </a:cubicBezTo>
                <a:cubicBezTo>
                  <a:pt x="16600" y="1476"/>
                  <a:pt x="16624" y="1527"/>
                  <a:pt x="16654" y="1527"/>
                </a:cubicBezTo>
                <a:close/>
                <a:moveTo>
                  <a:pt x="16501" y="1300"/>
                </a:moveTo>
                <a:cubicBezTo>
                  <a:pt x="16471" y="1300"/>
                  <a:pt x="16447" y="1351"/>
                  <a:pt x="16447" y="1413"/>
                </a:cubicBezTo>
                <a:cubicBezTo>
                  <a:pt x="16447" y="1476"/>
                  <a:pt x="16471" y="1527"/>
                  <a:pt x="16501" y="1527"/>
                </a:cubicBezTo>
                <a:cubicBezTo>
                  <a:pt x="16531" y="1527"/>
                  <a:pt x="16555" y="1476"/>
                  <a:pt x="16555" y="1413"/>
                </a:cubicBezTo>
                <a:cubicBezTo>
                  <a:pt x="16555" y="1351"/>
                  <a:pt x="16531" y="1300"/>
                  <a:pt x="16501" y="1300"/>
                </a:cubicBezTo>
                <a:close/>
                <a:moveTo>
                  <a:pt x="16350" y="1617"/>
                </a:moveTo>
                <a:cubicBezTo>
                  <a:pt x="16320" y="1617"/>
                  <a:pt x="16296" y="1667"/>
                  <a:pt x="16296" y="1730"/>
                </a:cubicBezTo>
                <a:cubicBezTo>
                  <a:pt x="16296" y="1792"/>
                  <a:pt x="16320" y="1843"/>
                  <a:pt x="16350" y="1843"/>
                </a:cubicBezTo>
                <a:cubicBezTo>
                  <a:pt x="16379" y="1843"/>
                  <a:pt x="16403" y="1792"/>
                  <a:pt x="16403" y="1730"/>
                </a:cubicBezTo>
                <a:cubicBezTo>
                  <a:pt x="16403" y="1667"/>
                  <a:pt x="16379" y="1617"/>
                  <a:pt x="16350" y="1617"/>
                </a:cubicBezTo>
                <a:close/>
                <a:moveTo>
                  <a:pt x="17576" y="1843"/>
                </a:moveTo>
                <a:cubicBezTo>
                  <a:pt x="17606" y="1843"/>
                  <a:pt x="17630" y="1792"/>
                  <a:pt x="17630" y="1730"/>
                </a:cubicBezTo>
                <a:cubicBezTo>
                  <a:pt x="17630" y="1667"/>
                  <a:pt x="17606" y="1617"/>
                  <a:pt x="17576" y="1617"/>
                </a:cubicBezTo>
                <a:cubicBezTo>
                  <a:pt x="17546" y="1617"/>
                  <a:pt x="17522" y="1667"/>
                  <a:pt x="17522" y="1730"/>
                </a:cubicBezTo>
                <a:cubicBezTo>
                  <a:pt x="17522" y="1792"/>
                  <a:pt x="17546" y="1843"/>
                  <a:pt x="17576" y="1843"/>
                </a:cubicBezTo>
                <a:close/>
                <a:moveTo>
                  <a:pt x="17422" y="1843"/>
                </a:moveTo>
                <a:cubicBezTo>
                  <a:pt x="17452" y="1843"/>
                  <a:pt x="17476" y="1792"/>
                  <a:pt x="17476" y="1730"/>
                </a:cubicBezTo>
                <a:cubicBezTo>
                  <a:pt x="17476" y="1667"/>
                  <a:pt x="17452" y="1617"/>
                  <a:pt x="17422" y="1617"/>
                </a:cubicBezTo>
                <a:cubicBezTo>
                  <a:pt x="17392" y="1617"/>
                  <a:pt x="17368" y="1667"/>
                  <a:pt x="17368" y="1730"/>
                </a:cubicBezTo>
                <a:cubicBezTo>
                  <a:pt x="17368" y="1792"/>
                  <a:pt x="17392" y="1843"/>
                  <a:pt x="17422" y="1843"/>
                </a:cubicBezTo>
                <a:close/>
                <a:moveTo>
                  <a:pt x="17269" y="1843"/>
                </a:moveTo>
                <a:cubicBezTo>
                  <a:pt x="17299" y="1843"/>
                  <a:pt x="17323" y="1792"/>
                  <a:pt x="17323" y="1730"/>
                </a:cubicBezTo>
                <a:cubicBezTo>
                  <a:pt x="17323" y="1667"/>
                  <a:pt x="17299" y="1617"/>
                  <a:pt x="17269" y="1617"/>
                </a:cubicBezTo>
                <a:cubicBezTo>
                  <a:pt x="17240" y="1617"/>
                  <a:pt x="17216" y="1667"/>
                  <a:pt x="17216" y="1730"/>
                </a:cubicBezTo>
                <a:cubicBezTo>
                  <a:pt x="17216" y="1792"/>
                  <a:pt x="17240" y="1843"/>
                  <a:pt x="17269" y="1843"/>
                </a:cubicBezTo>
                <a:close/>
                <a:moveTo>
                  <a:pt x="17116" y="1843"/>
                </a:moveTo>
                <a:cubicBezTo>
                  <a:pt x="17145" y="1843"/>
                  <a:pt x="17170" y="1792"/>
                  <a:pt x="17170" y="1730"/>
                </a:cubicBezTo>
                <a:cubicBezTo>
                  <a:pt x="17170" y="1667"/>
                  <a:pt x="17145" y="1617"/>
                  <a:pt x="17116" y="1617"/>
                </a:cubicBezTo>
                <a:cubicBezTo>
                  <a:pt x="17086" y="1617"/>
                  <a:pt x="17062" y="1667"/>
                  <a:pt x="17062" y="1730"/>
                </a:cubicBezTo>
                <a:cubicBezTo>
                  <a:pt x="17062" y="1792"/>
                  <a:pt x="17086" y="1843"/>
                  <a:pt x="17116" y="1843"/>
                </a:cubicBezTo>
                <a:close/>
                <a:moveTo>
                  <a:pt x="16963" y="1617"/>
                </a:moveTo>
                <a:cubicBezTo>
                  <a:pt x="16933" y="1617"/>
                  <a:pt x="16909" y="1667"/>
                  <a:pt x="16909" y="1730"/>
                </a:cubicBezTo>
                <a:cubicBezTo>
                  <a:pt x="16909" y="1792"/>
                  <a:pt x="16933" y="1843"/>
                  <a:pt x="16963" y="1843"/>
                </a:cubicBezTo>
                <a:cubicBezTo>
                  <a:pt x="16993" y="1843"/>
                  <a:pt x="17017" y="1792"/>
                  <a:pt x="17017" y="1730"/>
                </a:cubicBezTo>
                <a:cubicBezTo>
                  <a:pt x="17017" y="1667"/>
                  <a:pt x="16993" y="1617"/>
                  <a:pt x="16963" y="1617"/>
                </a:cubicBezTo>
                <a:close/>
                <a:moveTo>
                  <a:pt x="16808" y="1843"/>
                </a:moveTo>
                <a:cubicBezTo>
                  <a:pt x="16838" y="1843"/>
                  <a:pt x="16862" y="1792"/>
                  <a:pt x="16862" y="1730"/>
                </a:cubicBezTo>
                <a:cubicBezTo>
                  <a:pt x="16862" y="1667"/>
                  <a:pt x="16838" y="1617"/>
                  <a:pt x="16808" y="1617"/>
                </a:cubicBezTo>
                <a:cubicBezTo>
                  <a:pt x="16778" y="1617"/>
                  <a:pt x="16754" y="1667"/>
                  <a:pt x="16754" y="1730"/>
                </a:cubicBezTo>
                <a:cubicBezTo>
                  <a:pt x="16754" y="1792"/>
                  <a:pt x="16778" y="1843"/>
                  <a:pt x="16808" y="1843"/>
                </a:cubicBezTo>
                <a:close/>
                <a:moveTo>
                  <a:pt x="16654" y="1843"/>
                </a:moveTo>
                <a:cubicBezTo>
                  <a:pt x="16684" y="1843"/>
                  <a:pt x="16708" y="1792"/>
                  <a:pt x="16708" y="1730"/>
                </a:cubicBezTo>
                <a:cubicBezTo>
                  <a:pt x="16708" y="1667"/>
                  <a:pt x="16684" y="1617"/>
                  <a:pt x="16654" y="1617"/>
                </a:cubicBezTo>
                <a:cubicBezTo>
                  <a:pt x="16624" y="1617"/>
                  <a:pt x="16600" y="1667"/>
                  <a:pt x="16600" y="1730"/>
                </a:cubicBezTo>
                <a:cubicBezTo>
                  <a:pt x="16600" y="1792"/>
                  <a:pt x="16624" y="1843"/>
                  <a:pt x="16654" y="1843"/>
                </a:cubicBezTo>
                <a:close/>
                <a:moveTo>
                  <a:pt x="16501" y="1617"/>
                </a:moveTo>
                <a:cubicBezTo>
                  <a:pt x="16471" y="1617"/>
                  <a:pt x="16447" y="1667"/>
                  <a:pt x="16447" y="1730"/>
                </a:cubicBezTo>
                <a:cubicBezTo>
                  <a:pt x="16447" y="1792"/>
                  <a:pt x="16471" y="1843"/>
                  <a:pt x="16501" y="1843"/>
                </a:cubicBezTo>
                <a:cubicBezTo>
                  <a:pt x="16531" y="1843"/>
                  <a:pt x="16555" y="1792"/>
                  <a:pt x="16555" y="1730"/>
                </a:cubicBezTo>
                <a:cubicBezTo>
                  <a:pt x="16555" y="1667"/>
                  <a:pt x="16531" y="1617"/>
                  <a:pt x="16501" y="1617"/>
                </a:cubicBezTo>
                <a:close/>
                <a:moveTo>
                  <a:pt x="17576" y="3883"/>
                </a:moveTo>
                <a:cubicBezTo>
                  <a:pt x="17546" y="3883"/>
                  <a:pt x="17522" y="3934"/>
                  <a:pt x="17522" y="3996"/>
                </a:cubicBezTo>
                <a:cubicBezTo>
                  <a:pt x="17522" y="4059"/>
                  <a:pt x="17546" y="4109"/>
                  <a:pt x="17576" y="4109"/>
                </a:cubicBezTo>
                <a:cubicBezTo>
                  <a:pt x="17606" y="4109"/>
                  <a:pt x="17630" y="4059"/>
                  <a:pt x="17630" y="3996"/>
                </a:cubicBezTo>
                <a:cubicBezTo>
                  <a:pt x="17630" y="3934"/>
                  <a:pt x="17606" y="3883"/>
                  <a:pt x="17576" y="3883"/>
                </a:cubicBezTo>
                <a:close/>
                <a:moveTo>
                  <a:pt x="17422" y="4109"/>
                </a:moveTo>
                <a:cubicBezTo>
                  <a:pt x="17452" y="4109"/>
                  <a:pt x="17476" y="4059"/>
                  <a:pt x="17476" y="3996"/>
                </a:cubicBezTo>
                <a:cubicBezTo>
                  <a:pt x="17476" y="3934"/>
                  <a:pt x="17452" y="3883"/>
                  <a:pt x="17422" y="3883"/>
                </a:cubicBezTo>
                <a:cubicBezTo>
                  <a:pt x="17392" y="3883"/>
                  <a:pt x="17368" y="3934"/>
                  <a:pt x="17368" y="3996"/>
                </a:cubicBezTo>
                <a:cubicBezTo>
                  <a:pt x="17368" y="4059"/>
                  <a:pt x="17392" y="4109"/>
                  <a:pt x="17422" y="4109"/>
                </a:cubicBezTo>
                <a:close/>
                <a:moveTo>
                  <a:pt x="17269" y="4109"/>
                </a:moveTo>
                <a:cubicBezTo>
                  <a:pt x="17299" y="4109"/>
                  <a:pt x="17323" y="4059"/>
                  <a:pt x="17323" y="3996"/>
                </a:cubicBezTo>
                <a:cubicBezTo>
                  <a:pt x="17323" y="3934"/>
                  <a:pt x="17299" y="3883"/>
                  <a:pt x="17269" y="3883"/>
                </a:cubicBezTo>
                <a:cubicBezTo>
                  <a:pt x="17240" y="3883"/>
                  <a:pt x="17216" y="3934"/>
                  <a:pt x="17216" y="3996"/>
                </a:cubicBezTo>
                <a:cubicBezTo>
                  <a:pt x="17216" y="4059"/>
                  <a:pt x="17240" y="4109"/>
                  <a:pt x="17269" y="4109"/>
                </a:cubicBezTo>
                <a:close/>
                <a:moveTo>
                  <a:pt x="17116" y="4109"/>
                </a:moveTo>
                <a:cubicBezTo>
                  <a:pt x="17145" y="4109"/>
                  <a:pt x="17170" y="4059"/>
                  <a:pt x="17170" y="3996"/>
                </a:cubicBezTo>
                <a:cubicBezTo>
                  <a:pt x="17170" y="3934"/>
                  <a:pt x="17145" y="3883"/>
                  <a:pt x="17116" y="3883"/>
                </a:cubicBezTo>
                <a:cubicBezTo>
                  <a:pt x="17086" y="3883"/>
                  <a:pt x="17062" y="3934"/>
                  <a:pt x="17062" y="3996"/>
                </a:cubicBezTo>
                <a:cubicBezTo>
                  <a:pt x="17062" y="4059"/>
                  <a:pt x="17086" y="4109"/>
                  <a:pt x="17116" y="4109"/>
                </a:cubicBezTo>
                <a:close/>
                <a:moveTo>
                  <a:pt x="16963" y="3883"/>
                </a:moveTo>
                <a:cubicBezTo>
                  <a:pt x="16933" y="3883"/>
                  <a:pt x="16909" y="3934"/>
                  <a:pt x="16909" y="3996"/>
                </a:cubicBezTo>
                <a:cubicBezTo>
                  <a:pt x="16909" y="4059"/>
                  <a:pt x="16933" y="4109"/>
                  <a:pt x="16963" y="4109"/>
                </a:cubicBezTo>
                <a:cubicBezTo>
                  <a:pt x="16993" y="4109"/>
                  <a:pt x="17017" y="4059"/>
                  <a:pt x="17017" y="3996"/>
                </a:cubicBezTo>
                <a:cubicBezTo>
                  <a:pt x="17017" y="3934"/>
                  <a:pt x="16993" y="3883"/>
                  <a:pt x="16963" y="3883"/>
                </a:cubicBezTo>
                <a:close/>
                <a:moveTo>
                  <a:pt x="16808" y="4109"/>
                </a:moveTo>
                <a:cubicBezTo>
                  <a:pt x="16838" y="4109"/>
                  <a:pt x="16862" y="4059"/>
                  <a:pt x="16862" y="3996"/>
                </a:cubicBezTo>
                <a:cubicBezTo>
                  <a:pt x="16862" y="3934"/>
                  <a:pt x="16838" y="3883"/>
                  <a:pt x="16808" y="3883"/>
                </a:cubicBezTo>
                <a:cubicBezTo>
                  <a:pt x="16778" y="3883"/>
                  <a:pt x="16754" y="3934"/>
                  <a:pt x="16754" y="3996"/>
                </a:cubicBezTo>
                <a:cubicBezTo>
                  <a:pt x="16754" y="4059"/>
                  <a:pt x="16778" y="4109"/>
                  <a:pt x="16808" y="4109"/>
                </a:cubicBezTo>
                <a:close/>
                <a:moveTo>
                  <a:pt x="16350" y="3883"/>
                </a:moveTo>
                <a:cubicBezTo>
                  <a:pt x="16320" y="3883"/>
                  <a:pt x="16296" y="3934"/>
                  <a:pt x="16296" y="3996"/>
                </a:cubicBezTo>
                <a:cubicBezTo>
                  <a:pt x="16296" y="4059"/>
                  <a:pt x="16320" y="4109"/>
                  <a:pt x="16350" y="4109"/>
                </a:cubicBezTo>
                <a:cubicBezTo>
                  <a:pt x="16379" y="4109"/>
                  <a:pt x="16403" y="4059"/>
                  <a:pt x="16403" y="3996"/>
                </a:cubicBezTo>
                <a:cubicBezTo>
                  <a:pt x="16403" y="3934"/>
                  <a:pt x="16379" y="3883"/>
                  <a:pt x="16350" y="3883"/>
                </a:cubicBezTo>
                <a:close/>
                <a:moveTo>
                  <a:pt x="16350" y="4209"/>
                </a:moveTo>
                <a:cubicBezTo>
                  <a:pt x="16320" y="4209"/>
                  <a:pt x="16296" y="4260"/>
                  <a:pt x="16296" y="4322"/>
                </a:cubicBezTo>
                <a:cubicBezTo>
                  <a:pt x="16296" y="4385"/>
                  <a:pt x="16320" y="4435"/>
                  <a:pt x="16350" y="4435"/>
                </a:cubicBezTo>
                <a:cubicBezTo>
                  <a:pt x="16379" y="4435"/>
                  <a:pt x="16403" y="4385"/>
                  <a:pt x="16403" y="4322"/>
                </a:cubicBezTo>
                <a:cubicBezTo>
                  <a:pt x="16403" y="4260"/>
                  <a:pt x="16379" y="4209"/>
                  <a:pt x="16350" y="4209"/>
                </a:cubicBezTo>
                <a:close/>
                <a:moveTo>
                  <a:pt x="16654" y="4109"/>
                </a:moveTo>
                <a:cubicBezTo>
                  <a:pt x="16684" y="4109"/>
                  <a:pt x="16708" y="4059"/>
                  <a:pt x="16708" y="3996"/>
                </a:cubicBezTo>
                <a:cubicBezTo>
                  <a:pt x="16708" y="3934"/>
                  <a:pt x="16684" y="3883"/>
                  <a:pt x="16654" y="3883"/>
                </a:cubicBezTo>
                <a:cubicBezTo>
                  <a:pt x="16624" y="3883"/>
                  <a:pt x="16600" y="3934"/>
                  <a:pt x="16600" y="3996"/>
                </a:cubicBezTo>
                <a:cubicBezTo>
                  <a:pt x="16600" y="4059"/>
                  <a:pt x="16624" y="4109"/>
                  <a:pt x="16654" y="4109"/>
                </a:cubicBezTo>
                <a:close/>
                <a:moveTo>
                  <a:pt x="16501" y="3883"/>
                </a:moveTo>
                <a:cubicBezTo>
                  <a:pt x="16471" y="3883"/>
                  <a:pt x="16447" y="3934"/>
                  <a:pt x="16447" y="3996"/>
                </a:cubicBezTo>
                <a:cubicBezTo>
                  <a:pt x="16447" y="4059"/>
                  <a:pt x="16471" y="4109"/>
                  <a:pt x="16501" y="4109"/>
                </a:cubicBezTo>
                <a:cubicBezTo>
                  <a:pt x="16531" y="4109"/>
                  <a:pt x="16555" y="4059"/>
                  <a:pt x="16555" y="3996"/>
                </a:cubicBezTo>
                <a:cubicBezTo>
                  <a:pt x="16555" y="3934"/>
                  <a:pt x="16531" y="3883"/>
                  <a:pt x="16501" y="3883"/>
                </a:cubicBezTo>
                <a:close/>
                <a:moveTo>
                  <a:pt x="17576" y="4511"/>
                </a:moveTo>
                <a:cubicBezTo>
                  <a:pt x="17546" y="4511"/>
                  <a:pt x="17522" y="4562"/>
                  <a:pt x="17522" y="4624"/>
                </a:cubicBezTo>
                <a:cubicBezTo>
                  <a:pt x="17522" y="4687"/>
                  <a:pt x="17546" y="4738"/>
                  <a:pt x="17576" y="4738"/>
                </a:cubicBezTo>
                <a:cubicBezTo>
                  <a:pt x="17606" y="4738"/>
                  <a:pt x="17630" y="4687"/>
                  <a:pt x="17630" y="4624"/>
                </a:cubicBezTo>
                <a:cubicBezTo>
                  <a:pt x="17630" y="4562"/>
                  <a:pt x="17606" y="4511"/>
                  <a:pt x="17576" y="4511"/>
                </a:cubicBezTo>
                <a:close/>
                <a:moveTo>
                  <a:pt x="17422" y="4738"/>
                </a:moveTo>
                <a:cubicBezTo>
                  <a:pt x="17452" y="4738"/>
                  <a:pt x="17476" y="4687"/>
                  <a:pt x="17476" y="4624"/>
                </a:cubicBezTo>
                <a:cubicBezTo>
                  <a:pt x="17476" y="4562"/>
                  <a:pt x="17452" y="4511"/>
                  <a:pt x="17422" y="4511"/>
                </a:cubicBezTo>
                <a:cubicBezTo>
                  <a:pt x="17392" y="4511"/>
                  <a:pt x="17368" y="4562"/>
                  <a:pt x="17368" y="4624"/>
                </a:cubicBezTo>
                <a:cubicBezTo>
                  <a:pt x="17368" y="4687"/>
                  <a:pt x="17392" y="4738"/>
                  <a:pt x="17422" y="4738"/>
                </a:cubicBezTo>
                <a:close/>
                <a:moveTo>
                  <a:pt x="17576" y="4209"/>
                </a:moveTo>
                <a:cubicBezTo>
                  <a:pt x="17546" y="4209"/>
                  <a:pt x="17522" y="4260"/>
                  <a:pt x="17522" y="4322"/>
                </a:cubicBezTo>
                <a:cubicBezTo>
                  <a:pt x="17522" y="4385"/>
                  <a:pt x="17546" y="4435"/>
                  <a:pt x="17576" y="4435"/>
                </a:cubicBezTo>
                <a:cubicBezTo>
                  <a:pt x="17606" y="4435"/>
                  <a:pt x="17630" y="4385"/>
                  <a:pt x="17630" y="4322"/>
                </a:cubicBezTo>
                <a:cubicBezTo>
                  <a:pt x="17630" y="4260"/>
                  <a:pt x="17606" y="4209"/>
                  <a:pt x="17576" y="4209"/>
                </a:cubicBezTo>
                <a:close/>
                <a:moveTo>
                  <a:pt x="17422" y="4435"/>
                </a:moveTo>
                <a:cubicBezTo>
                  <a:pt x="17452" y="4435"/>
                  <a:pt x="17476" y="4385"/>
                  <a:pt x="17476" y="4322"/>
                </a:cubicBezTo>
                <a:cubicBezTo>
                  <a:pt x="17476" y="4260"/>
                  <a:pt x="17452" y="4209"/>
                  <a:pt x="17422" y="4209"/>
                </a:cubicBezTo>
                <a:cubicBezTo>
                  <a:pt x="17392" y="4209"/>
                  <a:pt x="17368" y="4260"/>
                  <a:pt x="17368" y="4322"/>
                </a:cubicBezTo>
                <a:cubicBezTo>
                  <a:pt x="17368" y="4385"/>
                  <a:pt x="17392" y="4435"/>
                  <a:pt x="17422" y="4435"/>
                </a:cubicBezTo>
                <a:close/>
                <a:moveTo>
                  <a:pt x="17269" y="4435"/>
                </a:moveTo>
                <a:cubicBezTo>
                  <a:pt x="17299" y="4435"/>
                  <a:pt x="17323" y="4385"/>
                  <a:pt x="17323" y="4322"/>
                </a:cubicBezTo>
                <a:cubicBezTo>
                  <a:pt x="17323" y="4260"/>
                  <a:pt x="17299" y="4209"/>
                  <a:pt x="17269" y="4209"/>
                </a:cubicBezTo>
                <a:cubicBezTo>
                  <a:pt x="17240" y="4209"/>
                  <a:pt x="17216" y="4260"/>
                  <a:pt x="17216" y="4322"/>
                </a:cubicBezTo>
                <a:cubicBezTo>
                  <a:pt x="17216" y="4385"/>
                  <a:pt x="17240" y="4435"/>
                  <a:pt x="17269" y="4435"/>
                </a:cubicBezTo>
                <a:close/>
                <a:moveTo>
                  <a:pt x="17116" y="4435"/>
                </a:moveTo>
                <a:cubicBezTo>
                  <a:pt x="17145" y="4435"/>
                  <a:pt x="17170" y="4385"/>
                  <a:pt x="17170" y="4322"/>
                </a:cubicBezTo>
                <a:cubicBezTo>
                  <a:pt x="17170" y="4260"/>
                  <a:pt x="17145" y="4209"/>
                  <a:pt x="17116" y="4209"/>
                </a:cubicBezTo>
                <a:cubicBezTo>
                  <a:pt x="17086" y="4209"/>
                  <a:pt x="17062" y="4260"/>
                  <a:pt x="17062" y="4322"/>
                </a:cubicBezTo>
                <a:cubicBezTo>
                  <a:pt x="17062" y="4385"/>
                  <a:pt x="17086" y="4435"/>
                  <a:pt x="17116" y="4435"/>
                </a:cubicBezTo>
                <a:close/>
                <a:moveTo>
                  <a:pt x="16963" y="4209"/>
                </a:moveTo>
                <a:cubicBezTo>
                  <a:pt x="16933" y="4209"/>
                  <a:pt x="16909" y="4260"/>
                  <a:pt x="16909" y="4322"/>
                </a:cubicBezTo>
                <a:cubicBezTo>
                  <a:pt x="16909" y="4385"/>
                  <a:pt x="16933" y="4435"/>
                  <a:pt x="16963" y="4435"/>
                </a:cubicBezTo>
                <a:cubicBezTo>
                  <a:pt x="16993" y="4435"/>
                  <a:pt x="17017" y="4385"/>
                  <a:pt x="17017" y="4322"/>
                </a:cubicBezTo>
                <a:cubicBezTo>
                  <a:pt x="17017" y="4260"/>
                  <a:pt x="16993" y="4209"/>
                  <a:pt x="16963" y="4209"/>
                </a:cubicBezTo>
                <a:close/>
                <a:moveTo>
                  <a:pt x="16808" y="4435"/>
                </a:moveTo>
                <a:cubicBezTo>
                  <a:pt x="16838" y="4435"/>
                  <a:pt x="16862" y="4385"/>
                  <a:pt x="16862" y="4322"/>
                </a:cubicBezTo>
                <a:cubicBezTo>
                  <a:pt x="16862" y="4260"/>
                  <a:pt x="16838" y="4209"/>
                  <a:pt x="16808" y="4209"/>
                </a:cubicBezTo>
                <a:cubicBezTo>
                  <a:pt x="16778" y="4209"/>
                  <a:pt x="16754" y="4260"/>
                  <a:pt x="16754" y="4322"/>
                </a:cubicBezTo>
                <a:cubicBezTo>
                  <a:pt x="16754" y="4385"/>
                  <a:pt x="16778" y="4435"/>
                  <a:pt x="16808" y="4435"/>
                </a:cubicBezTo>
                <a:close/>
                <a:moveTo>
                  <a:pt x="16654" y="4435"/>
                </a:moveTo>
                <a:cubicBezTo>
                  <a:pt x="16684" y="4435"/>
                  <a:pt x="16708" y="4385"/>
                  <a:pt x="16708" y="4322"/>
                </a:cubicBezTo>
                <a:cubicBezTo>
                  <a:pt x="16708" y="4260"/>
                  <a:pt x="16684" y="4209"/>
                  <a:pt x="16654" y="4209"/>
                </a:cubicBezTo>
                <a:cubicBezTo>
                  <a:pt x="16624" y="4209"/>
                  <a:pt x="16600" y="4260"/>
                  <a:pt x="16600" y="4322"/>
                </a:cubicBezTo>
                <a:cubicBezTo>
                  <a:pt x="16600" y="4385"/>
                  <a:pt x="16624" y="4435"/>
                  <a:pt x="16654" y="4435"/>
                </a:cubicBezTo>
                <a:close/>
                <a:moveTo>
                  <a:pt x="16501" y="4209"/>
                </a:moveTo>
                <a:cubicBezTo>
                  <a:pt x="16471" y="4209"/>
                  <a:pt x="16447" y="4260"/>
                  <a:pt x="16447" y="4322"/>
                </a:cubicBezTo>
                <a:cubicBezTo>
                  <a:pt x="16447" y="4385"/>
                  <a:pt x="16471" y="4435"/>
                  <a:pt x="16501" y="4435"/>
                </a:cubicBezTo>
                <a:cubicBezTo>
                  <a:pt x="16531" y="4435"/>
                  <a:pt x="16555" y="4385"/>
                  <a:pt x="16555" y="4322"/>
                </a:cubicBezTo>
                <a:cubicBezTo>
                  <a:pt x="16555" y="4260"/>
                  <a:pt x="16531" y="4209"/>
                  <a:pt x="16501" y="4209"/>
                </a:cubicBezTo>
                <a:close/>
                <a:moveTo>
                  <a:pt x="15108" y="2493"/>
                </a:moveTo>
                <a:cubicBezTo>
                  <a:pt x="15138" y="2493"/>
                  <a:pt x="15162" y="2442"/>
                  <a:pt x="15162" y="2380"/>
                </a:cubicBezTo>
                <a:cubicBezTo>
                  <a:pt x="15162" y="2317"/>
                  <a:pt x="15138" y="2266"/>
                  <a:pt x="15108" y="2266"/>
                </a:cubicBezTo>
                <a:cubicBezTo>
                  <a:pt x="15079" y="2266"/>
                  <a:pt x="15055" y="2317"/>
                  <a:pt x="15055" y="2380"/>
                </a:cubicBezTo>
                <a:cubicBezTo>
                  <a:pt x="15055" y="2442"/>
                  <a:pt x="15079" y="2493"/>
                  <a:pt x="15108" y="2493"/>
                </a:cubicBezTo>
                <a:close/>
                <a:moveTo>
                  <a:pt x="15108" y="2166"/>
                </a:moveTo>
                <a:cubicBezTo>
                  <a:pt x="15138" y="2166"/>
                  <a:pt x="15162" y="2115"/>
                  <a:pt x="15162" y="2053"/>
                </a:cubicBezTo>
                <a:cubicBezTo>
                  <a:pt x="15162" y="1990"/>
                  <a:pt x="15138" y="1940"/>
                  <a:pt x="15108" y="1940"/>
                </a:cubicBezTo>
                <a:cubicBezTo>
                  <a:pt x="15079" y="1940"/>
                  <a:pt x="15055" y="1990"/>
                  <a:pt x="15055" y="2053"/>
                </a:cubicBezTo>
                <a:cubicBezTo>
                  <a:pt x="15055" y="2115"/>
                  <a:pt x="15079" y="2166"/>
                  <a:pt x="15108" y="2166"/>
                </a:cubicBezTo>
                <a:close/>
                <a:moveTo>
                  <a:pt x="14954" y="2493"/>
                </a:moveTo>
                <a:cubicBezTo>
                  <a:pt x="14984" y="2493"/>
                  <a:pt x="15008" y="2442"/>
                  <a:pt x="15008" y="2380"/>
                </a:cubicBezTo>
                <a:cubicBezTo>
                  <a:pt x="15008" y="2317"/>
                  <a:pt x="14984" y="2266"/>
                  <a:pt x="14954" y="2266"/>
                </a:cubicBezTo>
                <a:cubicBezTo>
                  <a:pt x="14925" y="2266"/>
                  <a:pt x="14901" y="2317"/>
                  <a:pt x="14901" y="2380"/>
                </a:cubicBezTo>
                <a:cubicBezTo>
                  <a:pt x="14901" y="2442"/>
                  <a:pt x="14925" y="2493"/>
                  <a:pt x="14954" y="2493"/>
                </a:cubicBezTo>
                <a:close/>
                <a:moveTo>
                  <a:pt x="14954" y="2166"/>
                </a:moveTo>
                <a:cubicBezTo>
                  <a:pt x="14984" y="2166"/>
                  <a:pt x="15008" y="2115"/>
                  <a:pt x="15008" y="2053"/>
                </a:cubicBezTo>
                <a:cubicBezTo>
                  <a:pt x="15008" y="1990"/>
                  <a:pt x="14984" y="1940"/>
                  <a:pt x="14954" y="1940"/>
                </a:cubicBezTo>
                <a:cubicBezTo>
                  <a:pt x="14925" y="1940"/>
                  <a:pt x="14901" y="1990"/>
                  <a:pt x="14901" y="2053"/>
                </a:cubicBezTo>
                <a:cubicBezTo>
                  <a:pt x="14901" y="2115"/>
                  <a:pt x="14925" y="2166"/>
                  <a:pt x="14954" y="2166"/>
                </a:cubicBezTo>
                <a:close/>
                <a:moveTo>
                  <a:pt x="14802" y="2493"/>
                </a:moveTo>
                <a:cubicBezTo>
                  <a:pt x="14831" y="2493"/>
                  <a:pt x="14855" y="2442"/>
                  <a:pt x="14855" y="2380"/>
                </a:cubicBezTo>
                <a:cubicBezTo>
                  <a:pt x="14855" y="2317"/>
                  <a:pt x="14831" y="2266"/>
                  <a:pt x="14802" y="2266"/>
                </a:cubicBezTo>
                <a:cubicBezTo>
                  <a:pt x="14772" y="2266"/>
                  <a:pt x="14748" y="2317"/>
                  <a:pt x="14748" y="2380"/>
                </a:cubicBezTo>
                <a:cubicBezTo>
                  <a:pt x="14748" y="2442"/>
                  <a:pt x="14772" y="2493"/>
                  <a:pt x="14802" y="2493"/>
                </a:cubicBezTo>
                <a:close/>
                <a:moveTo>
                  <a:pt x="14802" y="2166"/>
                </a:moveTo>
                <a:cubicBezTo>
                  <a:pt x="14831" y="2166"/>
                  <a:pt x="14855" y="2115"/>
                  <a:pt x="14855" y="2053"/>
                </a:cubicBezTo>
                <a:cubicBezTo>
                  <a:pt x="14855" y="1990"/>
                  <a:pt x="14831" y="1940"/>
                  <a:pt x="14802" y="1940"/>
                </a:cubicBezTo>
                <a:cubicBezTo>
                  <a:pt x="14772" y="1940"/>
                  <a:pt x="14748" y="1990"/>
                  <a:pt x="14748" y="2053"/>
                </a:cubicBezTo>
                <a:cubicBezTo>
                  <a:pt x="14748" y="2115"/>
                  <a:pt x="14772" y="2166"/>
                  <a:pt x="14802" y="2166"/>
                </a:cubicBezTo>
                <a:close/>
                <a:moveTo>
                  <a:pt x="15881" y="2266"/>
                </a:moveTo>
                <a:cubicBezTo>
                  <a:pt x="15852" y="2266"/>
                  <a:pt x="15828" y="2317"/>
                  <a:pt x="15828" y="2380"/>
                </a:cubicBezTo>
                <a:cubicBezTo>
                  <a:pt x="15828" y="2442"/>
                  <a:pt x="15852" y="2493"/>
                  <a:pt x="15881" y="2493"/>
                </a:cubicBezTo>
                <a:cubicBezTo>
                  <a:pt x="15911" y="2493"/>
                  <a:pt x="15935" y="2442"/>
                  <a:pt x="15935" y="2380"/>
                </a:cubicBezTo>
                <a:cubicBezTo>
                  <a:pt x="15935" y="2317"/>
                  <a:pt x="15911" y="2266"/>
                  <a:pt x="15881" y="2266"/>
                </a:cubicBezTo>
                <a:close/>
                <a:moveTo>
                  <a:pt x="15881" y="1940"/>
                </a:moveTo>
                <a:cubicBezTo>
                  <a:pt x="15852" y="1940"/>
                  <a:pt x="15828" y="1990"/>
                  <a:pt x="15828" y="2053"/>
                </a:cubicBezTo>
                <a:cubicBezTo>
                  <a:pt x="15828" y="2115"/>
                  <a:pt x="15852" y="2166"/>
                  <a:pt x="15881" y="2166"/>
                </a:cubicBezTo>
                <a:cubicBezTo>
                  <a:pt x="15911" y="2166"/>
                  <a:pt x="15935" y="2115"/>
                  <a:pt x="15935" y="2053"/>
                </a:cubicBezTo>
                <a:cubicBezTo>
                  <a:pt x="15935" y="1990"/>
                  <a:pt x="15911" y="1940"/>
                  <a:pt x="15881" y="1940"/>
                </a:cubicBezTo>
                <a:close/>
                <a:moveTo>
                  <a:pt x="15729" y="2266"/>
                </a:moveTo>
                <a:cubicBezTo>
                  <a:pt x="15699" y="2266"/>
                  <a:pt x="15675" y="2317"/>
                  <a:pt x="15675" y="2380"/>
                </a:cubicBezTo>
                <a:cubicBezTo>
                  <a:pt x="15675" y="2442"/>
                  <a:pt x="15699" y="2493"/>
                  <a:pt x="15729" y="2493"/>
                </a:cubicBezTo>
                <a:cubicBezTo>
                  <a:pt x="15758" y="2493"/>
                  <a:pt x="15783" y="2442"/>
                  <a:pt x="15783" y="2380"/>
                </a:cubicBezTo>
                <a:cubicBezTo>
                  <a:pt x="15783" y="2317"/>
                  <a:pt x="15758" y="2266"/>
                  <a:pt x="15729" y="2266"/>
                </a:cubicBezTo>
                <a:close/>
                <a:moveTo>
                  <a:pt x="15729" y="1940"/>
                </a:moveTo>
                <a:cubicBezTo>
                  <a:pt x="15699" y="1940"/>
                  <a:pt x="15675" y="1990"/>
                  <a:pt x="15675" y="2053"/>
                </a:cubicBezTo>
                <a:cubicBezTo>
                  <a:pt x="15675" y="2115"/>
                  <a:pt x="15699" y="2166"/>
                  <a:pt x="15729" y="2166"/>
                </a:cubicBezTo>
                <a:cubicBezTo>
                  <a:pt x="15758" y="2166"/>
                  <a:pt x="15783" y="2115"/>
                  <a:pt x="15783" y="2053"/>
                </a:cubicBezTo>
                <a:cubicBezTo>
                  <a:pt x="15783" y="1990"/>
                  <a:pt x="15758" y="1940"/>
                  <a:pt x="15729" y="1940"/>
                </a:cubicBezTo>
                <a:close/>
                <a:moveTo>
                  <a:pt x="15573" y="2493"/>
                </a:moveTo>
                <a:cubicBezTo>
                  <a:pt x="15603" y="2493"/>
                  <a:pt x="15627" y="2442"/>
                  <a:pt x="15627" y="2380"/>
                </a:cubicBezTo>
                <a:cubicBezTo>
                  <a:pt x="15627" y="2317"/>
                  <a:pt x="15603" y="2266"/>
                  <a:pt x="15573" y="2266"/>
                </a:cubicBezTo>
                <a:cubicBezTo>
                  <a:pt x="15544" y="2266"/>
                  <a:pt x="15520" y="2317"/>
                  <a:pt x="15520" y="2380"/>
                </a:cubicBezTo>
                <a:cubicBezTo>
                  <a:pt x="15520" y="2442"/>
                  <a:pt x="15544" y="2493"/>
                  <a:pt x="15573" y="2493"/>
                </a:cubicBezTo>
                <a:close/>
                <a:moveTo>
                  <a:pt x="15573" y="2166"/>
                </a:moveTo>
                <a:cubicBezTo>
                  <a:pt x="15603" y="2166"/>
                  <a:pt x="15627" y="2115"/>
                  <a:pt x="15627" y="2053"/>
                </a:cubicBezTo>
                <a:cubicBezTo>
                  <a:pt x="15627" y="1990"/>
                  <a:pt x="15603" y="1940"/>
                  <a:pt x="15573" y="1940"/>
                </a:cubicBezTo>
                <a:cubicBezTo>
                  <a:pt x="15544" y="1940"/>
                  <a:pt x="15520" y="1990"/>
                  <a:pt x="15520" y="2053"/>
                </a:cubicBezTo>
                <a:cubicBezTo>
                  <a:pt x="15520" y="2115"/>
                  <a:pt x="15544" y="2166"/>
                  <a:pt x="15573" y="2166"/>
                </a:cubicBezTo>
                <a:close/>
                <a:moveTo>
                  <a:pt x="15419" y="2266"/>
                </a:moveTo>
                <a:cubicBezTo>
                  <a:pt x="15390" y="2266"/>
                  <a:pt x="15366" y="2317"/>
                  <a:pt x="15366" y="2380"/>
                </a:cubicBezTo>
                <a:cubicBezTo>
                  <a:pt x="15366" y="2442"/>
                  <a:pt x="15390" y="2493"/>
                  <a:pt x="15419" y="2493"/>
                </a:cubicBezTo>
                <a:cubicBezTo>
                  <a:pt x="15449" y="2493"/>
                  <a:pt x="15473" y="2442"/>
                  <a:pt x="15473" y="2380"/>
                </a:cubicBezTo>
                <a:cubicBezTo>
                  <a:pt x="15473" y="2317"/>
                  <a:pt x="15449" y="2266"/>
                  <a:pt x="15419" y="2266"/>
                </a:cubicBezTo>
                <a:close/>
                <a:moveTo>
                  <a:pt x="15419" y="1940"/>
                </a:moveTo>
                <a:cubicBezTo>
                  <a:pt x="15390" y="1940"/>
                  <a:pt x="15366" y="1990"/>
                  <a:pt x="15366" y="2053"/>
                </a:cubicBezTo>
                <a:cubicBezTo>
                  <a:pt x="15366" y="2115"/>
                  <a:pt x="15390" y="2166"/>
                  <a:pt x="15419" y="2166"/>
                </a:cubicBezTo>
                <a:cubicBezTo>
                  <a:pt x="15449" y="2166"/>
                  <a:pt x="15473" y="2115"/>
                  <a:pt x="15473" y="2053"/>
                </a:cubicBezTo>
                <a:cubicBezTo>
                  <a:pt x="15473" y="1990"/>
                  <a:pt x="15449" y="1940"/>
                  <a:pt x="15419" y="1940"/>
                </a:cubicBezTo>
                <a:close/>
                <a:moveTo>
                  <a:pt x="15267" y="2266"/>
                </a:moveTo>
                <a:cubicBezTo>
                  <a:pt x="15237" y="2266"/>
                  <a:pt x="15213" y="2317"/>
                  <a:pt x="15213" y="2380"/>
                </a:cubicBezTo>
                <a:cubicBezTo>
                  <a:pt x="15213" y="2442"/>
                  <a:pt x="15237" y="2493"/>
                  <a:pt x="15267" y="2493"/>
                </a:cubicBezTo>
                <a:cubicBezTo>
                  <a:pt x="15296" y="2493"/>
                  <a:pt x="15321" y="2442"/>
                  <a:pt x="15321" y="2380"/>
                </a:cubicBezTo>
                <a:cubicBezTo>
                  <a:pt x="15321" y="2317"/>
                  <a:pt x="15296" y="2266"/>
                  <a:pt x="15267" y="2266"/>
                </a:cubicBezTo>
                <a:close/>
                <a:moveTo>
                  <a:pt x="15267" y="1940"/>
                </a:moveTo>
                <a:cubicBezTo>
                  <a:pt x="15237" y="1940"/>
                  <a:pt x="15213" y="1990"/>
                  <a:pt x="15213" y="2053"/>
                </a:cubicBezTo>
                <a:cubicBezTo>
                  <a:pt x="15213" y="2115"/>
                  <a:pt x="15237" y="2166"/>
                  <a:pt x="15267" y="2166"/>
                </a:cubicBezTo>
                <a:cubicBezTo>
                  <a:pt x="15296" y="2166"/>
                  <a:pt x="15321" y="2115"/>
                  <a:pt x="15321" y="2053"/>
                </a:cubicBezTo>
                <a:cubicBezTo>
                  <a:pt x="15321" y="1990"/>
                  <a:pt x="15296" y="1940"/>
                  <a:pt x="15267" y="1940"/>
                </a:cubicBezTo>
                <a:close/>
                <a:moveTo>
                  <a:pt x="16188" y="2266"/>
                </a:moveTo>
                <a:cubicBezTo>
                  <a:pt x="16158" y="2266"/>
                  <a:pt x="16134" y="2317"/>
                  <a:pt x="16134" y="2380"/>
                </a:cubicBezTo>
                <a:cubicBezTo>
                  <a:pt x="16134" y="2442"/>
                  <a:pt x="16158" y="2493"/>
                  <a:pt x="16188" y="2493"/>
                </a:cubicBezTo>
                <a:cubicBezTo>
                  <a:pt x="16217" y="2493"/>
                  <a:pt x="16241" y="2442"/>
                  <a:pt x="16241" y="2380"/>
                </a:cubicBezTo>
                <a:cubicBezTo>
                  <a:pt x="16241" y="2317"/>
                  <a:pt x="16217" y="2266"/>
                  <a:pt x="16188" y="2266"/>
                </a:cubicBezTo>
                <a:close/>
                <a:moveTo>
                  <a:pt x="16188" y="1940"/>
                </a:moveTo>
                <a:cubicBezTo>
                  <a:pt x="16158" y="1940"/>
                  <a:pt x="16134" y="1990"/>
                  <a:pt x="16134" y="2053"/>
                </a:cubicBezTo>
                <a:cubicBezTo>
                  <a:pt x="16134" y="2115"/>
                  <a:pt x="16158" y="2166"/>
                  <a:pt x="16188" y="2166"/>
                </a:cubicBezTo>
                <a:cubicBezTo>
                  <a:pt x="16217" y="2166"/>
                  <a:pt x="16241" y="2115"/>
                  <a:pt x="16241" y="2053"/>
                </a:cubicBezTo>
                <a:cubicBezTo>
                  <a:pt x="16241" y="1990"/>
                  <a:pt x="16217" y="1940"/>
                  <a:pt x="16188" y="1940"/>
                </a:cubicBezTo>
                <a:close/>
                <a:moveTo>
                  <a:pt x="16035" y="2266"/>
                </a:moveTo>
                <a:cubicBezTo>
                  <a:pt x="16005" y="2266"/>
                  <a:pt x="15981" y="2317"/>
                  <a:pt x="15981" y="2380"/>
                </a:cubicBezTo>
                <a:cubicBezTo>
                  <a:pt x="15981" y="2442"/>
                  <a:pt x="16005" y="2493"/>
                  <a:pt x="16035" y="2493"/>
                </a:cubicBezTo>
                <a:cubicBezTo>
                  <a:pt x="16065" y="2493"/>
                  <a:pt x="16089" y="2442"/>
                  <a:pt x="16089" y="2380"/>
                </a:cubicBezTo>
                <a:cubicBezTo>
                  <a:pt x="16089" y="2317"/>
                  <a:pt x="16065" y="2266"/>
                  <a:pt x="16035" y="2266"/>
                </a:cubicBezTo>
                <a:close/>
                <a:moveTo>
                  <a:pt x="16035" y="1940"/>
                </a:moveTo>
                <a:cubicBezTo>
                  <a:pt x="16005" y="1940"/>
                  <a:pt x="15981" y="1990"/>
                  <a:pt x="15981" y="2053"/>
                </a:cubicBezTo>
                <a:cubicBezTo>
                  <a:pt x="15981" y="2115"/>
                  <a:pt x="16005" y="2166"/>
                  <a:pt x="16035" y="2166"/>
                </a:cubicBezTo>
                <a:cubicBezTo>
                  <a:pt x="16065" y="2166"/>
                  <a:pt x="16089" y="2115"/>
                  <a:pt x="16089" y="2053"/>
                </a:cubicBezTo>
                <a:cubicBezTo>
                  <a:pt x="16089" y="1990"/>
                  <a:pt x="16065" y="1940"/>
                  <a:pt x="16035" y="1940"/>
                </a:cubicBezTo>
                <a:close/>
                <a:moveTo>
                  <a:pt x="15108" y="3160"/>
                </a:moveTo>
                <a:cubicBezTo>
                  <a:pt x="15138" y="3160"/>
                  <a:pt x="15162" y="3109"/>
                  <a:pt x="15162" y="3047"/>
                </a:cubicBezTo>
                <a:cubicBezTo>
                  <a:pt x="15162" y="2984"/>
                  <a:pt x="15138" y="2934"/>
                  <a:pt x="15108" y="2934"/>
                </a:cubicBezTo>
                <a:cubicBezTo>
                  <a:pt x="15079" y="2934"/>
                  <a:pt x="15055" y="2984"/>
                  <a:pt x="15055" y="3047"/>
                </a:cubicBezTo>
                <a:cubicBezTo>
                  <a:pt x="15055" y="3109"/>
                  <a:pt x="15079" y="3160"/>
                  <a:pt x="15108" y="3160"/>
                </a:cubicBezTo>
                <a:close/>
                <a:moveTo>
                  <a:pt x="15108" y="2833"/>
                </a:moveTo>
                <a:cubicBezTo>
                  <a:pt x="15138" y="2833"/>
                  <a:pt x="15162" y="2783"/>
                  <a:pt x="15162" y="2720"/>
                </a:cubicBezTo>
                <a:cubicBezTo>
                  <a:pt x="15162" y="2658"/>
                  <a:pt x="15138" y="2607"/>
                  <a:pt x="15108" y="2607"/>
                </a:cubicBezTo>
                <a:cubicBezTo>
                  <a:pt x="15079" y="2607"/>
                  <a:pt x="15055" y="2658"/>
                  <a:pt x="15055" y="2720"/>
                </a:cubicBezTo>
                <a:cubicBezTo>
                  <a:pt x="15055" y="2783"/>
                  <a:pt x="15079" y="2833"/>
                  <a:pt x="15108" y="2833"/>
                </a:cubicBezTo>
                <a:close/>
                <a:moveTo>
                  <a:pt x="14954" y="3160"/>
                </a:moveTo>
                <a:cubicBezTo>
                  <a:pt x="14984" y="3160"/>
                  <a:pt x="15008" y="3109"/>
                  <a:pt x="15008" y="3047"/>
                </a:cubicBezTo>
                <a:cubicBezTo>
                  <a:pt x="15008" y="2984"/>
                  <a:pt x="14984" y="2934"/>
                  <a:pt x="14954" y="2934"/>
                </a:cubicBezTo>
                <a:cubicBezTo>
                  <a:pt x="14925" y="2934"/>
                  <a:pt x="14901" y="2984"/>
                  <a:pt x="14901" y="3047"/>
                </a:cubicBezTo>
                <a:cubicBezTo>
                  <a:pt x="14901" y="3109"/>
                  <a:pt x="14925" y="3160"/>
                  <a:pt x="14954" y="3160"/>
                </a:cubicBezTo>
                <a:close/>
                <a:moveTo>
                  <a:pt x="14954" y="2833"/>
                </a:moveTo>
                <a:cubicBezTo>
                  <a:pt x="14984" y="2833"/>
                  <a:pt x="15008" y="2783"/>
                  <a:pt x="15008" y="2720"/>
                </a:cubicBezTo>
                <a:cubicBezTo>
                  <a:pt x="15008" y="2658"/>
                  <a:pt x="14984" y="2607"/>
                  <a:pt x="14954" y="2607"/>
                </a:cubicBezTo>
                <a:cubicBezTo>
                  <a:pt x="14925" y="2607"/>
                  <a:pt x="14901" y="2658"/>
                  <a:pt x="14901" y="2720"/>
                </a:cubicBezTo>
                <a:cubicBezTo>
                  <a:pt x="14901" y="2783"/>
                  <a:pt x="14925" y="2833"/>
                  <a:pt x="14954" y="2833"/>
                </a:cubicBezTo>
                <a:close/>
                <a:moveTo>
                  <a:pt x="14802" y="3160"/>
                </a:moveTo>
                <a:cubicBezTo>
                  <a:pt x="14831" y="3160"/>
                  <a:pt x="14855" y="3109"/>
                  <a:pt x="14855" y="3047"/>
                </a:cubicBezTo>
                <a:cubicBezTo>
                  <a:pt x="14855" y="2984"/>
                  <a:pt x="14831" y="2934"/>
                  <a:pt x="14802" y="2934"/>
                </a:cubicBezTo>
                <a:cubicBezTo>
                  <a:pt x="14772" y="2934"/>
                  <a:pt x="14748" y="2984"/>
                  <a:pt x="14748" y="3047"/>
                </a:cubicBezTo>
                <a:cubicBezTo>
                  <a:pt x="14748" y="3109"/>
                  <a:pt x="14772" y="3160"/>
                  <a:pt x="14802" y="3160"/>
                </a:cubicBezTo>
                <a:close/>
                <a:moveTo>
                  <a:pt x="14802" y="2833"/>
                </a:moveTo>
                <a:cubicBezTo>
                  <a:pt x="14831" y="2833"/>
                  <a:pt x="14855" y="2783"/>
                  <a:pt x="14855" y="2720"/>
                </a:cubicBezTo>
                <a:cubicBezTo>
                  <a:pt x="14855" y="2658"/>
                  <a:pt x="14831" y="2607"/>
                  <a:pt x="14802" y="2607"/>
                </a:cubicBezTo>
                <a:cubicBezTo>
                  <a:pt x="14772" y="2607"/>
                  <a:pt x="14748" y="2658"/>
                  <a:pt x="14748" y="2720"/>
                </a:cubicBezTo>
                <a:cubicBezTo>
                  <a:pt x="14748" y="2783"/>
                  <a:pt x="14772" y="2833"/>
                  <a:pt x="14802" y="2833"/>
                </a:cubicBezTo>
                <a:close/>
                <a:moveTo>
                  <a:pt x="15881" y="2934"/>
                </a:moveTo>
                <a:cubicBezTo>
                  <a:pt x="15852" y="2934"/>
                  <a:pt x="15828" y="2984"/>
                  <a:pt x="15828" y="3047"/>
                </a:cubicBezTo>
                <a:cubicBezTo>
                  <a:pt x="15828" y="3109"/>
                  <a:pt x="15852" y="3160"/>
                  <a:pt x="15881" y="3160"/>
                </a:cubicBezTo>
                <a:cubicBezTo>
                  <a:pt x="15911" y="3160"/>
                  <a:pt x="15935" y="3109"/>
                  <a:pt x="15935" y="3047"/>
                </a:cubicBezTo>
                <a:cubicBezTo>
                  <a:pt x="15935" y="2984"/>
                  <a:pt x="15911" y="2934"/>
                  <a:pt x="15881" y="2934"/>
                </a:cubicBezTo>
                <a:close/>
                <a:moveTo>
                  <a:pt x="15881" y="2607"/>
                </a:moveTo>
                <a:cubicBezTo>
                  <a:pt x="15852" y="2607"/>
                  <a:pt x="15828" y="2658"/>
                  <a:pt x="15828" y="2720"/>
                </a:cubicBezTo>
                <a:cubicBezTo>
                  <a:pt x="15828" y="2783"/>
                  <a:pt x="15852" y="2833"/>
                  <a:pt x="15881" y="2833"/>
                </a:cubicBezTo>
                <a:cubicBezTo>
                  <a:pt x="15911" y="2833"/>
                  <a:pt x="15935" y="2783"/>
                  <a:pt x="15935" y="2720"/>
                </a:cubicBezTo>
                <a:cubicBezTo>
                  <a:pt x="15935" y="2658"/>
                  <a:pt x="15911" y="2607"/>
                  <a:pt x="15881" y="2607"/>
                </a:cubicBezTo>
                <a:close/>
                <a:moveTo>
                  <a:pt x="15729" y="2934"/>
                </a:moveTo>
                <a:cubicBezTo>
                  <a:pt x="15699" y="2934"/>
                  <a:pt x="15675" y="2984"/>
                  <a:pt x="15675" y="3047"/>
                </a:cubicBezTo>
                <a:cubicBezTo>
                  <a:pt x="15675" y="3109"/>
                  <a:pt x="15699" y="3160"/>
                  <a:pt x="15729" y="3160"/>
                </a:cubicBezTo>
                <a:cubicBezTo>
                  <a:pt x="15758" y="3160"/>
                  <a:pt x="15783" y="3109"/>
                  <a:pt x="15783" y="3047"/>
                </a:cubicBezTo>
                <a:cubicBezTo>
                  <a:pt x="15783" y="2984"/>
                  <a:pt x="15758" y="2934"/>
                  <a:pt x="15729" y="2934"/>
                </a:cubicBezTo>
                <a:close/>
                <a:moveTo>
                  <a:pt x="15729" y="2607"/>
                </a:moveTo>
                <a:cubicBezTo>
                  <a:pt x="15699" y="2607"/>
                  <a:pt x="15675" y="2658"/>
                  <a:pt x="15675" y="2720"/>
                </a:cubicBezTo>
                <a:cubicBezTo>
                  <a:pt x="15675" y="2783"/>
                  <a:pt x="15699" y="2833"/>
                  <a:pt x="15729" y="2833"/>
                </a:cubicBezTo>
                <a:cubicBezTo>
                  <a:pt x="15758" y="2833"/>
                  <a:pt x="15783" y="2783"/>
                  <a:pt x="15783" y="2720"/>
                </a:cubicBezTo>
                <a:cubicBezTo>
                  <a:pt x="15783" y="2658"/>
                  <a:pt x="15758" y="2607"/>
                  <a:pt x="15729" y="2607"/>
                </a:cubicBezTo>
                <a:close/>
                <a:moveTo>
                  <a:pt x="15573" y="3160"/>
                </a:moveTo>
                <a:cubicBezTo>
                  <a:pt x="15603" y="3160"/>
                  <a:pt x="15627" y="3109"/>
                  <a:pt x="15627" y="3047"/>
                </a:cubicBezTo>
                <a:cubicBezTo>
                  <a:pt x="15627" y="2984"/>
                  <a:pt x="15603" y="2934"/>
                  <a:pt x="15573" y="2934"/>
                </a:cubicBezTo>
                <a:cubicBezTo>
                  <a:pt x="15544" y="2934"/>
                  <a:pt x="15520" y="2984"/>
                  <a:pt x="15520" y="3047"/>
                </a:cubicBezTo>
                <a:cubicBezTo>
                  <a:pt x="15520" y="3109"/>
                  <a:pt x="15544" y="3160"/>
                  <a:pt x="15573" y="3160"/>
                </a:cubicBezTo>
                <a:close/>
                <a:moveTo>
                  <a:pt x="15573" y="2833"/>
                </a:moveTo>
                <a:cubicBezTo>
                  <a:pt x="15603" y="2833"/>
                  <a:pt x="15627" y="2783"/>
                  <a:pt x="15627" y="2720"/>
                </a:cubicBezTo>
                <a:cubicBezTo>
                  <a:pt x="15627" y="2658"/>
                  <a:pt x="15603" y="2607"/>
                  <a:pt x="15573" y="2607"/>
                </a:cubicBezTo>
                <a:cubicBezTo>
                  <a:pt x="15544" y="2607"/>
                  <a:pt x="15520" y="2658"/>
                  <a:pt x="15520" y="2720"/>
                </a:cubicBezTo>
                <a:cubicBezTo>
                  <a:pt x="15520" y="2783"/>
                  <a:pt x="15544" y="2833"/>
                  <a:pt x="15573" y="2833"/>
                </a:cubicBezTo>
                <a:close/>
                <a:moveTo>
                  <a:pt x="15419" y="2934"/>
                </a:moveTo>
                <a:cubicBezTo>
                  <a:pt x="15390" y="2934"/>
                  <a:pt x="15366" y="2984"/>
                  <a:pt x="15366" y="3047"/>
                </a:cubicBezTo>
                <a:cubicBezTo>
                  <a:pt x="15366" y="3109"/>
                  <a:pt x="15390" y="3160"/>
                  <a:pt x="15419" y="3160"/>
                </a:cubicBezTo>
                <a:cubicBezTo>
                  <a:pt x="15449" y="3160"/>
                  <a:pt x="15473" y="3109"/>
                  <a:pt x="15473" y="3047"/>
                </a:cubicBezTo>
                <a:cubicBezTo>
                  <a:pt x="15473" y="2984"/>
                  <a:pt x="15449" y="2934"/>
                  <a:pt x="15419" y="2934"/>
                </a:cubicBezTo>
                <a:close/>
                <a:moveTo>
                  <a:pt x="15419" y="2607"/>
                </a:moveTo>
                <a:cubicBezTo>
                  <a:pt x="15390" y="2607"/>
                  <a:pt x="15366" y="2658"/>
                  <a:pt x="15366" y="2720"/>
                </a:cubicBezTo>
                <a:cubicBezTo>
                  <a:pt x="15366" y="2783"/>
                  <a:pt x="15390" y="2833"/>
                  <a:pt x="15419" y="2833"/>
                </a:cubicBezTo>
                <a:cubicBezTo>
                  <a:pt x="15449" y="2833"/>
                  <a:pt x="15473" y="2783"/>
                  <a:pt x="15473" y="2720"/>
                </a:cubicBezTo>
                <a:cubicBezTo>
                  <a:pt x="15473" y="2658"/>
                  <a:pt x="15449" y="2607"/>
                  <a:pt x="15419" y="2607"/>
                </a:cubicBezTo>
                <a:close/>
                <a:moveTo>
                  <a:pt x="15267" y="2934"/>
                </a:moveTo>
                <a:cubicBezTo>
                  <a:pt x="15237" y="2934"/>
                  <a:pt x="15213" y="2984"/>
                  <a:pt x="15213" y="3047"/>
                </a:cubicBezTo>
                <a:cubicBezTo>
                  <a:pt x="15213" y="3109"/>
                  <a:pt x="15237" y="3160"/>
                  <a:pt x="15267" y="3160"/>
                </a:cubicBezTo>
                <a:cubicBezTo>
                  <a:pt x="15296" y="3160"/>
                  <a:pt x="15321" y="3109"/>
                  <a:pt x="15321" y="3047"/>
                </a:cubicBezTo>
                <a:cubicBezTo>
                  <a:pt x="15321" y="2984"/>
                  <a:pt x="15296" y="2934"/>
                  <a:pt x="15267" y="2934"/>
                </a:cubicBezTo>
                <a:close/>
                <a:moveTo>
                  <a:pt x="15267" y="2607"/>
                </a:moveTo>
                <a:cubicBezTo>
                  <a:pt x="15237" y="2607"/>
                  <a:pt x="15213" y="2658"/>
                  <a:pt x="15213" y="2720"/>
                </a:cubicBezTo>
                <a:cubicBezTo>
                  <a:pt x="15213" y="2783"/>
                  <a:pt x="15237" y="2833"/>
                  <a:pt x="15267" y="2833"/>
                </a:cubicBezTo>
                <a:cubicBezTo>
                  <a:pt x="15296" y="2833"/>
                  <a:pt x="15321" y="2783"/>
                  <a:pt x="15321" y="2720"/>
                </a:cubicBezTo>
                <a:cubicBezTo>
                  <a:pt x="15321" y="2658"/>
                  <a:pt x="15296" y="2607"/>
                  <a:pt x="15267" y="2607"/>
                </a:cubicBezTo>
                <a:close/>
                <a:moveTo>
                  <a:pt x="16188" y="2934"/>
                </a:moveTo>
                <a:cubicBezTo>
                  <a:pt x="16158" y="2934"/>
                  <a:pt x="16134" y="2984"/>
                  <a:pt x="16134" y="3047"/>
                </a:cubicBezTo>
                <a:cubicBezTo>
                  <a:pt x="16134" y="3109"/>
                  <a:pt x="16158" y="3160"/>
                  <a:pt x="16188" y="3160"/>
                </a:cubicBezTo>
                <a:cubicBezTo>
                  <a:pt x="16217" y="3160"/>
                  <a:pt x="16241" y="3109"/>
                  <a:pt x="16241" y="3047"/>
                </a:cubicBezTo>
                <a:cubicBezTo>
                  <a:pt x="16241" y="2984"/>
                  <a:pt x="16217" y="2934"/>
                  <a:pt x="16188" y="2934"/>
                </a:cubicBezTo>
                <a:close/>
                <a:moveTo>
                  <a:pt x="16188" y="2607"/>
                </a:moveTo>
                <a:cubicBezTo>
                  <a:pt x="16158" y="2607"/>
                  <a:pt x="16134" y="2658"/>
                  <a:pt x="16134" y="2720"/>
                </a:cubicBezTo>
                <a:cubicBezTo>
                  <a:pt x="16134" y="2783"/>
                  <a:pt x="16158" y="2833"/>
                  <a:pt x="16188" y="2833"/>
                </a:cubicBezTo>
                <a:cubicBezTo>
                  <a:pt x="16217" y="2833"/>
                  <a:pt x="16241" y="2783"/>
                  <a:pt x="16241" y="2720"/>
                </a:cubicBezTo>
                <a:cubicBezTo>
                  <a:pt x="16241" y="2658"/>
                  <a:pt x="16217" y="2607"/>
                  <a:pt x="16188" y="2607"/>
                </a:cubicBezTo>
                <a:close/>
                <a:moveTo>
                  <a:pt x="16035" y="2934"/>
                </a:moveTo>
                <a:cubicBezTo>
                  <a:pt x="16005" y="2934"/>
                  <a:pt x="15981" y="2984"/>
                  <a:pt x="15981" y="3047"/>
                </a:cubicBezTo>
                <a:cubicBezTo>
                  <a:pt x="15981" y="3109"/>
                  <a:pt x="16005" y="3160"/>
                  <a:pt x="16035" y="3160"/>
                </a:cubicBezTo>
                <a:cubicBezTo>
                  <a:pt x="16065" y="3160"/>
                  <a:pt x="16089" y="3109"/>
                  <a:pt x="16089" y="3047"/>
                </a:cubicBezTo>
                <a:cubicBezTo>
                  <a:pt x="16089" y="2984"/>
                  <a:pt x="16065" y="2934"/>
                  <a:pt x="16035" y="2934"/>
                </a:cubicBezTo>
                <a:close/>
                <a:moveTo>
                  <a:pt x="16035" y="2607"/>
                </a:moveTo>
                <a:cubicBezTo>
                  <a:pt x="16005" y="2607"/>
                  <a:pt x="15981" y="2658"/>
                  <a:pt x="15981" y="2720"/>
                </a:cubicBezTo>
                <a:cubicBezTo>
                  <a:pt x="15981" y="2783"/>
                  <a:pt x="16005" y="2833"/>
                  <a:pt x="16035" y="2833"/>
                </a:cubicBezTo>
                <a:cubicBezTo>
                  <a:pt x="16065" y="2833"/>
                  <a:pt x="16089" y="2783"/>
                  <a:pt x="16089" y="2720"/>
                </a:cubicBezTo>
                <a:cubicBezTo>
                  <a:pt x="16089" y="2658"/>
                  <a:pt x="16065" y="2607"/>
                  <a:pt x="16035" y="2607"/>
                </a:cubicBezTo>
                <a:close/>
                <a:moveTo>
                  <a:pt x="15108" y="3798"/>
                </a:moveTo>
                <a:cubicBezTo>
                  <a:pt x="15138" y="3798"/>
                  <a:pt x="15162" y="3747"/>
                  <a:pt x="15162" y="3685"/>
                </a:cubicBezTo>
                <a:cubicBezTo>
                  <a:pt x="15162" y="3622"/>
                  <a:pt x="15138" y="3572"/>
                  <a:pt x="15108" y="3572"/>
                </a:cubicBezTo>
                <a:cubicBezTo>
                  <a:pt x="15079" y="3572"/>
                  <a:pt x="15055" y="3622"/>
                  <a:pt x="15055" y="3685"/>
                </a:cubicBezTo>
                <a:cubicBezTo>
                  <a:pt x="15055" y="3747"/>
                  <a:pt x="15079" y="3798"/>
                  <a:pt x="15108" y="3798"/>
                </a:cubicBezTo>
                <a:close/>
                <a:moveTo>
                  <a:pt x="15108" y="3471"/>
                </a:moveTo>
                <a:cubicBezTo>
                  <a:pt x="15138" y="3471"/>
                  <a:pt x="15162" y="3420"/>
                  <a:pt x="15162" y="3358"/>
                </a:cubicBezTo>
                <a:cubicBezTo>
                  <a:pt x="15162" y="3295"/>
                  <a:pt x="15138" y="3245"/>
                  <a:pt x="15108" y="3245"/>
                </a:cubicBezTo>
                <a:cubicBezTo>
                  <a:pt x="15079" y="3245"/>
                  <a:pt x="15055" y="3295"/>
                  <a:pt x="15055" y="3358"/>
                </a:cubicBezTo>
                <a:cubicBezTo>
                  <a:pt x="15055" y="3420"/>
                  <a:pt x="15079" y="3471"/>
                  <a:pt x="15108" y="3471"/>
                </a:cubicBezTo>
                <a:close/>
                <a:moveTo>
                  <a:pt x="14954" y="3798"/>
                </a:moveTo>
                <a:cubicBezTo>
                  <a:pt x="14984" y="3798"/>
                  <a:pt x="15008" y="3747"/>
                  <a:pt x="15008" y="3685"/>
                </a:cubicBezTo>
                <a:cubicBezTo>
                  <a:pt x="15008" y="3622"/>
                  <a:pt x="14984" y="3572"/>
                  <a:pt x="14954" y="3572"/>
                </a:cubicBezTo>
                <a:cubicBezTo>
                  <a:pt x="14925" y="3572"/>
                  <a:pt x="14901" y="3622"/>
                  <a:pt x="14901" y="3685"/>
                </a:cubicBezTo>
                <a:cubicBezTo>
                  <a:pt x="14901" y="3747"/>
                  <a:pt x="14925" y="3798"/>
                  <a:pt x="14954" y="3798"/>
                </a:cubicBezTo>
                <a:close/>
                <a:moveTo>
                  <a:pt x="14954" y="3471"/>
                </a:moveTo>
                <a:cubicBezTo>
                  <a:pt x="14984" y="3471"/>
                  <a:pt x="15008" y="3420"/>
                  <a:pt x="15008" y="3358"/>
                </a:cubicBezTo>
                <a:cubicBezTo>
                  <a:pt x="15008" y="3295"/>
                  <a:pt x="14984" y="3245"/>
                  <a:pt x="14954" y="3245"/>
                </a:cubicBezTo>
                <a:cubicBezTo>
                  <a:pt x="14925" y="3245"/>
                  <a:pt x="14901" y="3295"/>
                  <a:pt x="14901" y="3358"/>
                </a:cubicBezTo>
                <a:cubicBezTo>
                  <a:pt x="14901" y="3420"/>
                  <a:pt x="14925" y="3471"/>
                  <a:pt x="14954" y="3471"/>
                </a:cubicBezTo>
                <a:close/>
                <a:moveTo>
                  <a:pt x="14802" y="3798"/>
                </a:moveTo>
                <a:cubicBezTo>
                  <a:pt x="14831" y="3798"/>
                  <a:pt x="14855" y="3747"/>
                  <a:pt x="14855" y="3685"/>
                </a:cubicBezTo>
                <a:cubicBezTo>
                  <a:pt x="14855" y="3622"/>
                  <a:pt x="14831" y="3572"/>
                  <a:pt x="14802" y="3572"/>
                </a:cubicBezTo>
                <a:cubicBezTo>
                  <a:pt x="14772" y="3572"/>
                  <a:pt x="14748" y="3622"/>
                  <a:pt x="14748" y="3685"/>
                </a:cubicBezTo>
                <a:cubicBezTo>
                  <a:pt x="14748" y="3747"/>
                  <a:pt x="14772" y="3798"/>
                  <a:pt x="14802" y="3798"/>
                </a:cubicBezTo>
                <a:close/>
                <a:moveTo>
                  <a:pt x="14802" y="3471"/>
                </a:moveTo>
                <a:cubicBezTo>
                  <a:pt x="14831" y="3471"/>
                  <a:pt x="14855" y="3420"/>
                  <a:pt x="14855" y="3358"/>
                </a:cubicBezTo>
                <a:cubicBezTo>
                  <a:pt x="14855" y="3295"/>
                  <a:pt x="14831" y="3245"/>
                  <a:pt x="14802" y="3245"/>
                </a:cubicBezTo>
                <a:cubicBezTo>
                  <a:pt x="14772" y="3245"/>
                  <a:pt x="14748" y="3295"/>
                  <a:pt x="14748" y="3358"/>
                </a:cubicBezTo>
                <a:cubicBezTo>
                  <a:pt x="14748" y="3420"/>
                  <a:pt x="14772" y="3471"/>
                  <a:pt x="14802" y="3471"/>
                </a:cubicBezTo>
                <a:close/>
                <a:moveTo>
                  <a:pt x="15881" y="3572"/>
                </a:moveTo>
                <a:cubicBezTo>
                  <a:pt x="15852" y="3572"/>
                  <a:pt x="15828" y="3622"/>
                  <a:pt x="15828" y="3685"/>
                </a:cubicBezTo>
                <a:cubicBezTo>
                  <a:pt x="15828" y="3747"/>
                  <a:pt x="15852" y="3798"/>
                  <a:pt x="15881" y="3798"/>
                </a:cubicBezTo>
                <a:cubicBezTo>
                  <a:pt x="15911" y="3798"/>
                  <a:pt x="15935" y="3747"/>
                  <a:pt x="15935" y="3685"/>
                </a:cubicBezTo>
                <a:cubicBezTo>
                  <a:pt x="15935" y="3622"/>
                  <a:pt x="15911" y="3572"/>
                  <a:pt x="15881" y="3572"/>
                </a:cubicBezTo>
                <a:close/>
                <a:moveTo>
                  <a:pt x="15881" y="3245"/>
                </a:moveTo>
                <a:cubicBezTo>
                  <a:pt x="15852" y="3245"/>
                  <a:pt x="15828" y="3295"/>
                  <a:pt x="15828" y="3358"/>
                </a:cubicBezTo>
                <a:cubicBezTo>
                  <a:pt x="15828" y="3420"/>
                  <a:pt x="15852" y="3471"/>
                  <a:pt x="15881" y="3471"/>
                </a:cubicBezTo>
                <a:cubicBezTo>
                  <a:pt x="15911" y="3471"/>
                  <a:pt x="15935" y="3420"/>
                  <a:pt x="15935" y="3358"/>
                </a:cubicBezTo>
                <a:cubicBezTo>
                  <a:pt x="15935" y="3295"/>
                  <a:pt x="15911" y="3245"/>
                  <a:pt x="15881" y="3245"/>
                </a:cubicBezTo>
                <a:close/>
                <a:moveTo>
                  <a:pt x="15729" y="3572"/>
                </a:moveTo>
                <a:cubicBezTo>
                  <a:pt x="15699" y="3572"/>
                  <a:pt x="15675" y="3622"/>
                  <a:pt x="15675" y="3685"/>
                </a:cubicBezTo>
                <a:cubicBezTo>
                  <a:pt x="15675" y="3747"/>
                  <a:pt x="15699" y="3798"/>
                  <a:pt x="15729" y="3798"/>
                </a:cubicBezTo>
                <a:cubicBezTo>
                  <a:pt x="15758" y="3798"/>
                  <a:pt x="15783" y="3747"/>
                  <a:pt x="15783" y="3685"/>
                </a:cubicBezTo>
                <a:cubicBezTo>
                  <a:pt x="15783" y="3622"/>
                  <a:pt x="15758" y="3572"/>
                  <a:pt x="15729" y="3572"/>
                </a:cubicBezTo>
                <a:close/>
                <a:moveTo>
                  <a:pt x="15729" y="3245"/>
                </a:moveTo>
                <a:cubicBezTo>
                  <a:pt x="15699" y="3245"/>
                  <a:pt x="15675" y="3295"/>
                  <a:pt x="15675" y="3358"/>
                </a:cubicBezTo>
                <a:cubicBezTo>
                  <a:pt x="15675" y="3420"/>
                  <a:pt x="15699" y="3471"/>
                  <a:pt x="15729" y="3471"/>
                </a:cubicBezTo>
                <a:cubicBezTo>
                  <a:pt x="15758" y="3471"/>
                  <a:pt x="15783" y="3420"/>
                  <a:pt x="15783" y="3358"/>
                </a:cubicBezTo>
                <a:cubicBezTo>
                  <a:pt x="15783" y="3295"/>
                  <a:pt x="15758" y="3245"/>
                  <a:pt x="15729" y="3245"/>
                </a:cubicBezTo>
                <a:close/>
                <a:moveTo>
                  <a:pt x="15573" y="3798"/>
                </a:moveTo>
                <a:cubicBezTo>
                  <a:pt x="15603" y="3798"/>
                  <a:pt x="15627" y="3747"/>
                  <a:pt x="15627" y="3685"/>
                </a:cubicBezTo>
                <a:cubicBezTo>
                  <a:pt x="15627" y="3622"/>
                  <a:pt x="15603" y="3572"/>
                  <a:pt x="15573" y="3572"/>
                </a:cubicBezTo>
                <a:cubicBezTo>
                  <a:pt x="15544" y="3572"/>
                  <a:pt x="15520" y="3622"/>
                  <a:pt x="15520" y="3685"/>
                </a:cubicBezTo>
                <a:cubicBezTo>
                  <a:pt x="15520" y="3747"/>
                  <a:pt x="15544" y="3798"/>
                  <a:pt x="15573" y="3798"/>
                </a:cubicBezTo>
                <a:close/>
                <a:moveTo>
                  <a:pt x="15573" y="3471"/>
                </a:moveTo>
                <a:cubicBezTo>
                  <a:pt x="15603" y="3471"/>
                  <a:pt x="15627" y="3420"/>
                  <a:pt x="15627" y="3358"/>
                </a:cubicBezTo>
                <a:cubicBezTo>
                  <a:pt x="15627" y="3295"/>
                  <a:pt x="15603" y="3245"/>
                  <a:pt x="15573" y="3245"/>
                </a:cubicBezTo>
                <a:cubicBezTo>
                  <a:pt x="15544" y="3245"/>
                  <a:pt x="15520" y="3295"/>
                  <a:pt x="15520" y="3358"/>
                </a:cubicBezTo>
                <a:cubicBezTo>
                  <a:pt x="15520" y="3420"/>
                  <a:pt x="15544" y="3471"/>
                  <a:pt x="15573" y="3471"/>
                </a:cubicBezTo>
                <a:close/>
                <a:moveTo>
                  <a:pt x="15419" y="3572"/>
                </a:moveTo>
                <a:cubicBezTo>
                  <a:pt x="15390" y="3572"/>
                  <a:pt x="15366" y="3622"/>
                  <a:pt x="15366" y="3685"/>
                </a:cubicBezTo>
                <a:cubicBezTo>
                  <a:pt x="15366" y="3747"/>
                  <a:pt x="15390" y="3798"/>
                  <a:pt x="15419" y="3798"/>
                </a:cubicBezTo>
                <a:cubicBezTo>
                  <a:pt x="15449" y="3798"/>
                  <a:pt x="15473" y="3747"/>
                  <a:pt x="15473" y="3685"/>
                </a:cubicBezTo>
                <a:cubicBezTo>
                  <a:pt x="15473" y="3622"/>
                  <a:pt x="15449" y="3572"/>
                  <a:pt x="15419" y="3572"/>
                </a:cubicBezTo>
                <a:close/>
                <a:moveTo>
                  <a:pt x="15419" y="3245"/>
                </a:moveTo>
                <a:cubicBezTo>
                  <a:pt x="15390" y="3245"/>
                  <a:pt x="15366" y="3295"/>
                  <a:pt x="15366" y="3358"/>
                </a:cubicBezTo>
                <a:cubicBezTo>
                  <a:pt x="15366" y="3420"/>
                  <a:pt x="15390" y="3471"/>
                  <a:pt x="15419" y="3471"/>
                </a:cubicBezTo>
                <a:cubicBezTo>
                  <a:pt x="15449" y="3471"/>
                  <a:pt x="15473" y="3420"/>
                  <a:pt x="15473" y="3358"/>
                </a:cubicBezTo>
                <a:cubicBezTo>
                  <a:pt x="15473" y="3295"/>
                  <a:pt x="15449" y="3245"/>
                  <a:pt x="15419" y="3245"/>
                </a:cubicBezTo>
                <a:close/>
                <a:moveTo>
                  <a:pt x="15267" y="3572"/>
                </a:moveTo>
                <a:cubicBezTo>
                  <a:pt x="15237" y="3572"/>
                  <a:pt x="15213" y="3622"/>
                  <a:pt x="15213" y="3685"/>
                </a:cubicBezTo>
                <a:cubicBezTo>
                  <a:pt x="15213" y="3747"/>
                  <a:pt x="15237" y="3798"/>
                  <a:pt x="15267" y="3798"/>
                </a:cubicBezTo>
                <a:cubicBezTo>
                  <a:pt x="15296" y="3798"/>
                  <a:pt x="15321" y="3747"/>
                  <a:pt x="15321" y="3685"/>
                </a:cubicBezTo>
                <a:cubicBezTo>
                  <a:pt x="15321" y="3622"/>
                  <a:pt x="15296" y="3572"/>
                  <a:pt x="15267" y="3572"/>
                </a:cubicBezTo>
                <a:close/>
                <a:moveTo>
                  <a:pt x="15267" y="3245"/>
                </a:moveTo>
                <a:cubicBezTo>
                  <a:pt x="15237" y="3245"/>
                  <a:pt x="15213" y="3295"/>
                  <a:pt x="15213" y="3358"/>
                </a:cubicBezTo>
                <a:cubicBezTo>
                  <a:pt x="15213" y="3420"/>
                  <a:pt x="15237" y="3471"/>
                  <a:pt x="15267" y="3471"/>
                </a:cubicBezTo>
                <a:cubicBezTo>
                  <a:pt x="15296" y="3471"/>
                  <a:pt x="15321" y="3420"/>
                  <a:pt x="15321" y="3358"/>
                </a:cubicBezTo>
                <a:cubicBezTo>
                  <a:pt x="15321" y="3295"/>
                  <a:pt x="15296" y="3245"/>
                  <a:pt x="15267" y="3245"/>
                </a:cubicBezTo>
                <a:close/>
                <a:moveTo>
                  <a:pt x="16188" y="3572"/>
                </a:moveTo>
                <a:cubicBezTo>
                  <a:pt x="16158" y="3572"/>
                  <a:pt x="16134" y="3622"/>
                  <a:pt x="16134" y="3685"/>
                </a:cubicBezTo>
                <a:cubicBezTo>
                  <a:pt x="16134" y="3747"/>
                  <a:pt x="16158" y="3798"/>
                  <a:pt x="16188" y="3798"/>
                </a:cubicBezTo>
                <a:cubicBezTo>
                  <a:pt x="16217" y="3798"/>
                  <a:pt x="16241" y="3747"/>
                  <a:pt x="16241" y="3685"/>
                </a:cubicBezTo>
                <a:cubicBezTo>
                  <a:pt x="16241" y="3622"/>
                  <a:pt x="16217" y="3572"/>
                  <a:pt x="16188" y="3572"/>
                </a:cubicBezTo>
                <a:close/>
                <a:moveTo>
                  <a:pt x="16188" y="3245"/>
                </a:moveTo>
                <a:cubicBezTo>
                  <a:pt x="16158" y="3245"/>
                  <a:pt x="16134" y="3295"/>
                  <a:pt x="16134" y="3358"/>
                </a:cubicBezTo>
                <a:cubicBezTo>
                  <a:pt x="16134" y="3420"/>
                  <a:pt x="16158" y="3471"/>
                  <a:pt x="16188" y="3471"/>
                </a:cubicBezTo>
                <a:cubicBezTo>
                  <a:pt x="16217" y="3471"/>
                  <a:pt x="16241" y="3420"/>
                  <a:pt x="16241" y="3358"/>
                </a:cubicBezTo>
                <a:cubicBezTo>
                  <a:pt x="16241" y="3295"/>
                  <a:pt x="16217" y="3245"/>
                  <a:pt x="16188" y="3245"/>
                </a:cubicBezTo>
                <a:close/>
                <a:moveTo>
                  <a:pt x="16035" y="3572"/>
                </a:moveTo>
                <a:cubicBezTo>
                  <a:pt x="16005" y="3572"/>
                  <a:pt x="15981" y="3622"/>
                  <a:pt x="15981" y="3685"/>
                </a:cubicBezTo>
                <a:cubicBezTo>
                  <a:pt x="15981" y="3747"/>
                  <a:pt x="16005" y="3798"/>
                  <a:pt x="16035" y="3798"/>
                </a:cubicBezTo>
                <a:cubicBezTo>
                  <a:pt x="16065" y="3798"/>
                  <a:pt x="16089" y="3747"/>
                  <a:pt x="16089" y="3685"/>
                </a:cubicBezTo>
                <a:cubicBezTo>
                  <a:pt x="16089" y="3622"/>
                  <a:pt x="16065" y="3572"/>
                  <a:pt x="16035" y="3572"/>
                </a:cubicBezTo>
                <a:close/>
                <a:moveTo>
                  <a:pt x="16035" y="3245"/>
                </a:moveTo>
                <a:cubicBezTo>
                  <a:pt x="16005" y="3245"/>
                  <a:pt x="15981" y="3295"/>
                  <a:pt x="15981" y="3358"/>
                </a:cubicBezTo>
                <a:cubicBezTo>
                  <a:pt x="15981" y="3420"/>
                  <a:pt x="16005" y="3471"/>
                  <a:pt x="16035" y="3471"/>
                </a:cubicBezTo>
                <a:cubicBezTo>
                  <a:pt x="16065" y="3471"/>
                  <a:pt x="16089" y="3420"/>
                  <a:pt x="16089" y="3358"/>
                </a:cubicBezTo>
                <a:cubicBezTo>
                  <a:pt x="16089" y="3295"/>
                  <a:pt x="16065" y="3245"/>
                  <a:pt x="16035" y="3245"/>
                </a:cubicBezTo>
                <a:close/>
                <a:moveTo>
                  <a:pt x="14960" y="1309"/>
                </a:moveTo>
                <a:cubicBezTo>
                  <a:pt x="14930" y="1309"/>
                  <a:pt x="14906" y="1360"/>
                  <a:pt x="14906" y="1422"/>
                </a:cubicBezTo>
                <a:cubicBezTo>
                  <a:pt x="14906" y="1485"/>
                  <a:pt x="14930" y="1535"/>
                  <a:pt x="14960" y="1535"/>
                </a:cubicBezTo>
                <a:cubicBezTo>
                  <a:pt x="14990" y="1535"/>
                  <a:pt x="15014" y="1485"/>
                  <a:pt x="15014" y="1422"/>
                </a:cubicBezTo>
                <a:cubicBezTo>
                  <a:pt x="15014" y="1360"/>
                  <a:pt x="14990" y="1309"/>
                  <a:pt x="14960" y="1309"/>
                </a:cubicBezTo>
                <a:close/>
                <a:moveTo>
                  <a:pt x="14807" y="1309"/>
                </a:moveTo>
                <a:cubicBezTo>
                  <a:pt x="14778" y="1309"/>
                  <a:pt x="14754" y="1360"/>
                  <a:pt x="14754" y="1422"/>
                </a:cubicBezTo>
                <a:cubicBezTo>
                  <a:pt x="14754" y="1485"/>
                  <a:pt x="14778" y="1535"/>
                  <a:pt x="14807" y="1535"/>
                </a:cubicBezTo>
                <a:cubicBezTo>
                  <a:pt x="14837" y="1535"/>
                  <a:pt x="14861" y="1485"/>
                  <a:pt x="14861" y="1422"/>
                </a:cubicBezTo>
                <a:cubicBezTo>
                  <a:pt x="14861" y="1360"/>
                  <a:pt x="14837" y="1309"/>
                  <a:pt x="14807" y="1309"/>
                </a:cubicBezTo>
                <a:close/>
                <a:moveTo>
                  <a:pt x="14960" y="1617"/>
                </a:moveTo>
                <a:cubicBezTo>
                  <a:pt x="14930" y="1617"/>
                  <a:pt x="14906" y="1667"/>
                  <a:pt x="14906" y="1730"/>
                </a:cubicBezTo>
                <a:cubicBezTo>
                  <a:pt x="14906" y="1792"/>
                  <a:pt x="14930" y="1843"/>
                  <a:pt x="14960" y="1843"/>
                </a:cubicBezTo>
                <a:cubicBezTo>
                  <a:pt x="14990" y="1843"/>
                  <a:pt x="15014" y="1792"/>
                  <a:pt x="15014" y="1730"/>
                </a:cubicBezTo>
                <a:cubicBezTo>
                  <a:pt x="15014" y="1667"/>
                  <a:pt x="14990" y="1617"/>
                  <a:pt x="14960" y="1617"/>
                </a:cubicBezTo>
                <a:close/>
                <a:moveTo>
                  <a:pt x="14807" y="1617"/>
                </a:moveTo>
                <a:cubicBezTo>
                  <a:pt x="14778" y="1617"/>
                  <a:pt x="14754" y="1667"/>
                  <a:pt x="14754" y="1730"/>
                </a:cubicBezTo>
                <a:cubicBezTo>
                  <a:pt x="14754" y="1792"/>
                  <a:pt x="14778" y="1843"/>
                  <a:pt x="14807" y="1843"/>
                </a:cubicBezTo>
                <a:cubicBezTo>
                  <a:pt x="14837" y="1843"/>
                  <a:pt x="14861" y="1792"/>
                  <a:pt x="14861" y="1730"/>
                </a:cubicBezTo>
                <a:cubicBezTo>
                  <a:pt x="14861" y="1667"/>
                  <a:pt x="14837" y="1617"/>
                  <a:pt x="14807" y="1617"/>
                </a:cubicBezTo>
                <a:close/>
                <a:moveTo>
                  <a:pt x="15726" y="1535"/>
                </a:moveTo>
                <a:cubicBezTo>
                  <a:pt x="15756" y="1535"/>
                  <a:pt x="15780" y="1485"/>
                  <a:pt x="15780" y="1422"/>
                </a:cubicBezTo>
                <a:cubicBezTo>
                  <a:pt x="15780" y="1360"/>
                  <a:pt x="15756" y="1309"/>
                  <a:pt x="15726" y="1309"/>
                </a:cubicBezTo>
                <a:cubicBezTo>
                  <a:pt x="15697" y="1309"/>
                  <a:pt x="15672" y="1360"/>
                  <a:pt x="15672" y="1422"/>
                </a:cubicBezTo>
                <a:cubicBezTo>
                  <a:pt x="15672" y="1485"/>
                  <a:pt x="15697" y="1535"/>
                  <a:pt x="15726" y="1535"/>
                </a:cubicBezTo>
                <a:close/>
                <a:moveTo>
                  <a:pt x="15574" y="1309"/>
                </a:moveTo>
                <a:cubicBezTo>
                  <a:pt x="15544" y="1309"/>
                  <a:pt x="15520" y="1360"/>
                  <a:pt x="15520" y="1422"/>
                </a:cubicBezTo>
                <a:cubicBezTo>
                  <a:pt x="15520" y="1485"/>
                  <a:pt x="15544" y="1535"/>
                  <a:pt x="15574" y="1535"/>
                </a:cubicBezTo>
                <a:cubicBezTo>
                  <a:pt x="15603" y="1535"/>
                  <a:pt x="15627" y="1485"/>
                  <a:pt x="15627" y="1422"/>
                </a:cubicBezTo>
                <a:cubicBezTo>
                  <a:pt x="15627" y="1360"/>
                  <a:pt x="15603" y="1309"/>
                  <a:pt x="15574" y="1309"/>
                </a:cubicBezTo>
                <a:close/>
                <a:moveTo>
                  <a:pt x="15418" y="1535"/>
                </a:moveTo>
                <a:cubicBezTo>
                  <a:pt x="15448" y="1535"/>
                  <a:pt x="15472" y="1485"/>
                  <a:pt x="15472" y="1422"/>
                </a:cubicBezTo>
                <a:cubicBezTo>
                  <a:pt x="15472" y="1360"/>
                  <a:pt x="15448" y="1309"/>
                  <a:pt x="15418" y="1309"/>
                </a:cubicBezTo>
                <a:cubicBezTo>
                  <a:pt x="15389" y="1309"/>
                  <a:pt x="15364" y="1360"/>
                  <a:pt x="15364" y="1422"/>
                </a:cubicBezTo>
                <a:cubicBezTo>
                  <a:pt x="15364" y="1485"/>
                  <a:pt x="15389" y="1535"/>
                  <a:pt x="15418" y="1535"/>
                </a:cubicBezTo>
                <a:close/>
                <a:moveTo>
                  <a:pt x="15264" y="1535"/>
                </a:moveTo>
                <a:cubicBezTo>
                  <a:pt x="15294" y="1535"/>
                  <a:pt x="15318" y="1485"/>
                  <a:pt x="15318" y="1422"/>
                </a:cubicBezTo>
                <a:cubicBezTo>
                  <a:pt x="15318" y="1360"/>
                  <a:pt x="15294" y="1309"/>
                  <a:pt x="15264" y="1309"/>
                </a:cubicBezTo>
                <a:cubicBezTo>
                  <a:pt x="15235" y="1309"/>
                  <a:pt x="15210" y="1360"/>
                  <a:pt x="15210" y="1422"/>
                </a:cubicBezTo>
                <a:cubicBezTo>
                  <a:pt x="15210" y="1485"/>
                  <a:pt x="15235" y="1535"/>
                  <a:pt x="15264" y="1535"/>
                </a:cubicBezTo>
                <a:close/>
                <a:moveTo>
                  <a:pt x="15112" y="1309"/>
                </a:moveTo>
                <a:cubicBezTo>
                  <a:pt x="15082" y="1309"/>
                  <a:pt x="15058" y="1360"/>
                  <a:pt x="15058" y="1422"/>
                </a:cubicBezTo>
                <a:cubicBezTo>
                  <a:pt x="15058" y="1485"/>
                  <a:pt x="15082" y="1535"/>
                  <a:pt x="15112" y="1535"/>
                </a:cubicBezTo>
                <a:cubicBezTo>
                  <a:pt x="15141" y="1535"/>
                  <a:pt x="15165" y="1485"/>
                  <a:pt x="15165" y="1422"/>
                </a:cubicBezTo>
                <a:cubicBezTo>
                  <a:pt x="15165" y="1360"/>
                  <a:pt x="15141" y="1309"/>
                  <a:pt x="15112" y="1309"/>
                </a:cubicBezTo>
                <a:close/>
                <a:moveTo>
                  <a:pt x="16186" y="1843"/>
                </a:moveTo>
                <a:cubicBezTo>
                  <a:pt x="16216" y="1843"/>
                  <a:pt x="16240" y="1792"/>
                  <a:pt x="16240" y="1730"/>
                </a:cubicBezTo>
                <a:cubicBezTo>
                  <a:pt x="16240" y="1667"/>
                  <a:pt x="16216" y="1617"/>
                  <a:pt x="16186" y="1617"/>
                </a:cubicBezTo>
                <a:cubicBezTo>
                  <a:pt x="16157" y="1617"/>
                  <a:pt x="16133" y="1667"/>
                  <a:pt x="16133" y="1730"/>
                </a:cubicBezTo>
                <a:cubicBezTo>
                  <a:pt x="16133" y="1792"/>
                  <a:pt x="16157" y="1843"/>
                  <a:pt x="16186" y="1843"/>
                </a:cubicBezTo>
                <a:close/>
                <a:moveTo>
                  <a:pt x="16032" y="1843"/>
                </a:moveTo>
                <a:cubicBezTo>
                  <a:pt x="16062" y="1843"/>
                  <a:pt x="16086" y="1792"/>
                  <a:pt x="16086" y="1730"/>
                </a:cubicBezTo>
                <a:cubicBezTo>
                  <a:pt x="16086" y="1667"/>
                  <a:pt x="16062" y="1617"/>
                  <a:pt x="16032" y="1617"/>
                </a:cubicBezTo>
                <a:cubicBezTo>
                  <a:pt x="16003" y="1617"/>
                  <a:pt x="15979" y="1667"/>
                  <a:pt x="15979" y="1730"/>
                </a:cubicBezTo>
                <a:cubicBezTo>
                  <a:pt x="15979" y="1792"/>
                  <a:pt x="16003" y="1843"/>
                  <a:pt x="16032" y="1843"/>
                </a:cubicBezTo>
                <a:close/>
                <a:moveTo>
                  <a:pt x="15880" y="1843"/>
                </a:moveTo>
                <a:cubicBezTo>
                  <a:pt x="15909" y="1843"/>
                  <a:pt x="15934" y="1792"/>
                  <a:pt x="15934" y="1730"/>
                </a:cubicBezTo>
                <a:cubicBezTo>
                  <a:pt x="15934" y="1667"/>
                  <a:pt x="15909" y="1617"/>
                  <a:pt x="15880" y="1617"/>
                </a:cubicBezTo>
                <a:cubicBezTo>
                  <a:pt x="15850" y="1617"/>
                  <a:pt x="15826" y="1667"/>
                  <a:pt x="15826" y="1730"/>
                </a:cubicBezTo>
                <a:cubicBezTo>
                  <a:pt x="15826" y="1792"/>
                  <a:pt x="15850" y="1843"/>
                  <a:pt x="15880" y="1843"/>
                </a:cubicBezTo>
                <a:close/>
                <a:moveTo>
                  <a:pt x="15726" y="1843"/>
                </a:moveTo>
                <a:cubicBezTo>
                  <a:pt x="15756" y="1843"/>
                  <a:pt x="15780" y="1792"/>
                  <a:pt x="15780" y="1730"/>
                </a:cubicBezTo>
                <a:cubicBezTo>
                  <a:pt x="15780" y="1667"/>
                  <a:pt x="15756" y="1617"/>
                  <a:pt x="15726" y="1617"/>
                </a:cubicBezTo>
                <a:cubicBezTo>
                  <a:pt x="15697" y="1617"/>
                  <a:pt x="15672" y="1667"/>
                  <a:pt x="15672" y="1730"/>
                </a:cubicBezTo>
                <a:cubicBezTo>
                  <a:pt x="15672" y="1792"/>
                  <a:pt x="15697" y="1843"/>
                  <a:pt x="15726" y="1843"/>
                </a:cubicBezTo>
                <a:close/>
                <a:moveTo>
                  <a:pt x="15574" y="1617"/>
                </a:moveTo>
                <a:cubicBezTo>
                  <a:pt x="15544" y="1617"/>
                  <a:pt x="15520" y="1667"/>
                  <a:pt x="15520" y="1730"/>
                </a:cubicBezTo>
                <a:cubicBezTo>
                  <a:pt x="15520" y="1792"/>
                  <a:pt x="15544" y="1843"/>
                  <a:pt x="15574" y="1843"/>
                </a:cubicBezTo>
                <a:cubicBezTo>
                  <a:pt x="15603" y="1843"/>
                  <a:pt x="15627" y="1792"/>
                  <a:pt x="15627" y="1730"/>
                </a:cubicBezTo>
                <a:cubicBezTo>
                  <a:pt x="15627" y="1667"/>
                  <a:pt x="15603" y="1617"/>
                  <a:pt x="15574" y="1617"/>
                </a:cubicBezTo>
                <a:close/>
                <a:moveTo>
                  <a:pt x="15418" y="1843"/>
                </a:moveTo>
                <a:cubicBezTo>
                  <a:pt x="15448" y="1843"/>
                  <a:pt x="15472" y="1792"/>
                  <a:pt x="15472" y="1730"/>
                </a:cubicBezTo>
                <a:cubicBezTo>
                  <a:pt x="15472" y="1667"/>
                  <a:pt x="15448" y="1617"/>
                  <a:pt x="15418" y="1617"/>
                </a:cubicBezTo>
                <a:cubicBezTo>
                  <a:pt x="15389" y="1617"/>
                  <a:pt x="15364" y="1667"/>
                  <a:pt x="15364" y="1730"/>
                </a:cubicBezTo>
                <a:cubicBezTo>
                  <a:pt x="15364" y="1792"/>
                  <a:pt x="15389" y="1843"/>
                  <a:pt x="15418" y="1843"/>
                </a:cubicBezTo>
                <a:close/>
                <a:moveTo>
                  <a:pt x="15264" y="1843"/>
                </a:moveTo>
                <a:cubicBezTo>
                  <a:pt x="15294" y="1843"/>
                  <a:pt x="15318" y="1792"/>
                  <a:pt x="15318" y="1730"/>
                </a:cubicBezTo>
                <a:cubicBezTo>
                  <a:pt x="15318" y="1667"/>
                  <a:pt x="15294" y="1617"/>
                  <a:pt x="15264" y="1617"/>
                </a:cubicBezTo>
                <a:cubicBezTo>
                  <a:pt x="15235" y="1617"/>
                  <a:pt x="15210" y="1667"/>
                  <a:pt x="15210" y="1730"/>
                </a:cubicBezTo>
                <a:cubicBezTo>
                  <a:pt x="15210" y="1792"/>
                  <a:pt x="15235" y="1843"/>
                  <a:pt x="15264" y="1843"/>
                </a:cubicBezTo>
                <a:close/>
                <a:moveTo>
                  <a:pt x="15112" y="1617"/>
                </a:moveTo>
                <a:cubicBezTo>
                  <a:pt x="15082" y="1617"/>
                  <a:pt x="15058" y="1667"/>
                  <a:pt x="15058" y="1730"/>
                </a:cubicBezTo>
                <a:cubicBezTo>
                  <a:pt x="15058" y="1792"/>
                  <a:pt x="15082" y="1843"/>
                  <a:pt x="15112" y="1843"/>
                </a:cubicBezTo>
                <a:cubicBezTo>
                  <a:pt x="15141" y="1843"/>
                  <a:pt x="15165" y="1792"/>
                  <a:pt x="15165" y="1730"/>
                </a:cubicBezTo>
                <a:cubicBezTo>
                  <a:pt x="15165" y="1667"/>
                  <a:pt x="15141" y="1617"/>
                  <a:pt x="15112" y="1617"/>
                </a:cubicBezTo>
                <a:close/>
                <a:moveTo>
                  <a:pt x="16186" y="4109"/>
                </a:moveTo>
                <a:cubicBezTo>
                  <a:pt x="16216" y="4109"/>
                  <a:pt x="16240" y="4059"/>
                  <a:pt x="16240" y="3996"/>
                </a:cubicBezTo>
                <a:cubicBezTo>
                  <a:pt x="16240" y="3934"/>
                  <a:pt x="16216" y="3883"/>
                  <a:pt x="16186" y="3883"/>
                </a:cubicBezTo>
                <a:cubicBezTo>
                  <a:pt x="16157" y="3883"/>
                  <a:pt x="16133" y="3934"/>
                  <a:pt x="16133" y="3996"/>
                </a:cubicBezTo>
                <a:cubicBezTo>
                  <a:pt x="16133" y="4059"/>
                  <a:pt x="16157" y="4109"/>
                  <a:pt x="16186" y="4109"/>
                </a:cubicBezTo>
                <a:close/>
                <a:moveTo>
                  <a:pt x="16032" y="4109"/>
                </a:moveTo>
                <a:cubicBezTo>
                  <a:pt x="16062" y="4109"/>
                  <a:pt x="16086" y="4059"/>
                  <a:pt x="16086" y="3996"/>
                </a:cubicBezTo>
                <a:cubicBezTo>
                  <a:pt x="16086" y="3934"/>
                  <a:pt x="16062" y="3883"/>
                  <a:pt x="16032" y="3883"/>
                </a:cubicBezTo>
                <a:cubicBezTo>
                  <a:pt x="16003" y="3883"/>
                  <a:pt x="15979" y="3934"/>
                  <a:pt x="15979" y="3996"/>
                </a:cubicBezTo>
                <a:cubicBezTo>
                  <a:pt x="15979" y="4059"/>
                  <a:pt x="16003" y="4109"/>
                  <a:pt x="16032" y="4109"/>
                </a:cubicBezTo>
                <a:close/>
                <a:moveTo>
                  <a:pt x="15880" y="4109"/>
                </a:moveTo>
                <a:cubicBezTo>
                  <a:pt x="15909" y="4109"/>
                  <a:pt x="15934" y="4059"/>
                  <a:pt x="15934" y="3996"/>
                </a:cubicBezTo>
                <a:cubicBezTo>
                  <a:pt x="15934" y="3934"/>
                  <a:pt x="15909" y="3883"/>
                  <a:pt x="15880" y="3883"/>
                </a:cubicBezTo>
                <a:cubicBezTo>
                  <a:pt x="15850" y="3883"/>
                  <a:pt x="15826" y="3934"/>
                  <a:pt x="15826" y="3996"/>
                </a:cubicBezTo>
                <a:cubicBezTo>
                  <a:pt x="15826" y="4059"/>
                  <a:pt x="15850" y="4109"/>
                  <a:pt x="15880" y="4109"/>
                </a:cubicBezTo>
                <a:close/>
                <a:moveTo>
                  <a:pt x="15726" y="4109"/>
                </a:moveTo>
                <a:cubicBezTo>
                  <a:pt x="15756" y="4109"/>
                  <a:pt x="15780" y="4059"/>
                  <a:pt x="15780" y="3996"/>
                </a:cubicBezTo>
                <a:cubicBezTo>
                  <a:pt x="15780" y="3934"/>
                  <a:pt x="15756" y="3883"/>
                  <a:pt x="15726" y="3883"/>
                </a:cubicBezTo>
                <a:cubicBezTo>
                  <a:pt x="15697" y="3883"/>
                  <a:pt x="15672" y="3934"/>
                  <a:pt x="15672" y="3996"/>
                </a:cubicBezTo>
                <a:cubicBezTo>
                  <a:pt x="15672" y="4059"/>
                  <a:pt x="15697" y="4109"/>
                  <a:pt x="15726" y="4109"/>
                </a:cubicBezTo>
                <a:close/>
                <a:moveTo>
                  <a:pt x="15574" y="3883"/>
                </a:moveTo>
                <a:cubicBezTo>
                  <a:pt x="15544" y="3883"/>
                  <a:pt x="15520" y="3934"/>
                  <a:pt x="15520" y="3996"/>
                </a:cubicBezTo>
                <a:cubicBezTo>
                  <a:pt x="15520" y="4059"/>
                  <a:pt x="15544" y="4109"/>
                  <a:pt x="15574" y="4109"/>
                </a:cubicBezTo>
                <a:cubicBezTo>
                  <a:pt x="15603" y="4109"/>
                  <a:pt x="15627" y="4059"/>
                  <a:pt x="15627" y="3996"/>
                </a:cubicBezTo>
                <a:cubicBezTo>
                  <a:pt x="15627" y="3934"/>
                  <a:pt x="15603" y="3883"/>
                  <a:pt x="15574" y="3883"/>
                </a:cubicBezTo>
                <a:close/>
                <a:moveTo>
                  <a:pt x="15418" y="3883"/>
                </a:moveTo>
                <a:cubicBezTo>
                  <a:pt x="15389" y="3883"/>
                  <a:pt x="15364" y="3934"/>
                  <a:pt x="15364" y="3996"/>
                </a:cubicBezTo>
                <a:cubicBezTo>
                  <a:pt x="15364" y="4059"/>
                  <a:pt x="15389" y="4109"/>
                  <a:pt x="15418" y="4109"/>
                </a:cubicBezTo>
                <a:cubicBezTo>
                  <a:pt x="15448" y="4109"/>
                  <a:pt x="15472" y="4059"/>
                  <a:pt x="15472" y="3996"/>
                </a:cubicBezTo>
                <a:cubicBezTo>
                  <a:pt x="15472" y="3934"/>
                  <a:pt x="15448" y="3883"/>
                  <a:pt x="15418" y="3883"/>
                </a:cubicBezTo>
                <a:close/>
                <a:moveTo>
                  <a:pt x="14960" y="3883"/>
                </a:moveTo>
                <a:cubicBezTo>
                  <a:pt x="14930" y="3883"/>
                  <a:pt x="14906" y="3934"/>
                  <a:pt x="14906" y="3996"/>
                </a:cubicBezTo>
                <a:cubicBezTo>
                  <a:pt x="14906" y="4059"/>
                  <a:pt x="14930" y="4109"/>
                  <a:pt x="14960" y="4109"/>
                </a:cubicBezTo>
                <a:cubicBezTo>
                  <a:pt x="14990" y="4109"/>
                  <a:pt x="15014" y="4059"/>
                  <a:pt x="15014" y="3996"/>
                </a:cubicBezTo>
                <a:cubicBezTo>
                  <a:pt x="15014" y="3934"/>
                  <a:pt x="14990" y="3883"/>
                  <a:pt x="14960" y="3883"/>
                </a:cubicBezTo>
                <a:close/>
                <a:moveTo>
                  <a:pt x="14807" y="3883"/>
                </a:moveTo>
                <a:cubicBezTo>
                  <a:pt x="14778" y="3883"/>
                  <a:pt x="14754" y="3934"/>
                  <a:pt x="14754" y="3996"/>
                </a:cubicBezTo>
                <a:cubicBezTo>
                  <a:pt x="14754" y="4059"/>
                  <a:pt x="14778" y="4109"/>
                  <a:pt x="14807" y="4109"/>
                </a:cubicBezTo>
                <a:cubicBezTo>
                  <a:pt x="14837" y="4109"/>
                  <a:pt x="14861" y="4059"/>
                  <a:pt x="14861" y="3996"/>
                </a:cubicBezTo>
                <a:cubicBezTo>
                  <a:pt x="14861" y="3934"/>
                  <a:pt x="14837" y="3883"/>
                  <a:pt x="14807" y="3883"/>
                </a:cubicBezTo>
                <a:close/>
                <a:moveTo>
                  <a:pt x="14960" y="4536"/>
                </a:moveTo>
                <a:cubicBezTo>
                  <a:pt x="14930" y="4536"/>
                  <a:pt x="14906" y="4586"/>
                  <a:pt x="14906" y="4649"/>
                </a:cubicBezTo>
                <a:cubicBezTo>
                  <a:pt x="14906" y="4711"/>
                  <a:pt x="14930" y="4762"/>
                  <a:pt x="14960" y="4762"/>
                </a:cubicBezTo>
                <a:cubicBezTo>
                  <a:pt x="14990" y="4762"/>
                  <a:pt x="15014" y="4711"/>
                  <a:pt x="15014" y="4649"/>
                </a:cubicBezTo>
                <a:cubicBezTo>
                  <a:pt x="15014" y="4586"/>
                  <a:pt x="14990" y="4536"/>
                  <a:pt x="14960" y="4536"/>
                </a:cubicBezTo>
                <a:close/>
                <a:moveTo>
                  <a:pt x="15726" y="4762"/>
                </a:moveTo>
                <a:cubicBezTo>
                  <a:pt x="15756" y="4762"/>
                  <a:pt x="15780" y="4711"/>
                  <a:pt x="15780" y="4649"/>
                </a:cubicBezTo>
                <a:cubicBezTo>
                  <a:pt x="15780" y="4586"/>
                  <a:pt x="15756" y="4536"/>
                  <a:pt x="15726" y="4536"/>
                </a:cubicBezTo>
                <a:cubicBezTo>
                  <a:pt x="15697" y="4536"/>
                  <a:pt x="15672" y="4586"/>
                  <a:pt x="15672" y="4649"/>
                </a:cubicBezTo>
                <a:cubicBezTo>
                  <a:pt x="15672" y="4711"/>
                  <a:pt x="15697" y="4762"/>
                  <a:pt x="15726" y="4762"/>
                </a:cubicBezTo>
                <a:close/>
                <a:moveTo>
                  <a:pt x="15574" y="4536"/>
                </a:moveTo>
                <a:cubicBezTo>
                  <a:pt x="15544" y="4536"/>
                  <a:pt x="15520" y="4586"/>
                  <a:pt x="15520" y="4649"/>
                </a:cubicBezTo>
                <a:cubicBezTo>
                  <a:pt x="15520" y="4711"/>
                  <a:pt x="15544" y="4762"/>
                  <a:pt x="15574" y="4762"/>
                </a:cubicBezTo>
                <a:cubicBezTo>
                  <a:pt x="15603" y="4762"/>
                  <a:pt x="15627" y="4711"/>
                  <a:pt x="15627" y="4649"/>
                </a:cubicBezTo>
                <a:cubicBezTo>
                  <a:pt x="15627" y="4586"/>
                  <a:pt x="15603" y="4536"/>
                  <a:pt x="15574" y="4536"/>
                </a:cubicBezTo>
                <a:close/>
                <a:moveTo>
                  <a:pt x="15418" y="4536"/>
                </a:moveTo>
                <a:cubicBezTo>
                  <a:pt x="15389" y="4536"/>
                  <a:pt x="15364" y="4586"/>
                  <a:pt x="15364" y="4649"/>
                </a:cubicBezTo>
                <a:cubicBezTo>
                  <a:pt x="15364" y="4711"/>
                  <a:pt x="15389" y="4762"/>
                  <a:pt x="15418" y="4762"/>
                </a:cubicBezTo>
                <a:cubicBezTo>
                  <a:pt x="15448" y="4762"/>
                  <a:pt x="15472" y="4711"/>
                  <a:pt x="15472" y="4649"/>
                </a:cubicBezTo>
                <a:cubicBezTo>
                  <a:pt x="15472" y="4586"/>
                  <a:pt x="15448" y="4536"/>
                  <a:pt x="15418" y="4536"/>
                </a:cubicBezTo>
                <a:close/>
                <a:moveTo>
                  <a:pt x="15264" y="4762"/>
                </a:moveTo>
                <a:cubicBezTo>
                  <a:pt x="15294" y="4762"/>
                  <a:pt x="15318" y="4711"/>
                  <a:pt x="15318" y="4649"/>
                </a:cubicBezTo>
                <a:cubicBezTo>
                  <a:pt x="15318" y="4586"/>
                  <a:pt x="15294" y="4536"/>
                  <a:pt x="15264" y="4536"/>
                </a:cubicBezTo>
                <a:cubicBezTo>
                  <a:pt x="15235" y="4536"/>
                  <a:pt x="15210" y="4586"/>
                  <a:pt x="15210" y="4649"/>
                </a:cubicBezTo>
                <a:cubicBezTo>
                  <a:pt x="15210" y="4711"/>
                  <a:pt x="15235" y="4762"/>
                  <a:pt x="15264" y="4762"/>
                </a:cubicBezTo>
                <a:close/>
                <a:moveTo>
                  <a:pt x="15112" y="4536"/>
                </a:moveTo>
                <a:cubicBezTo>
                  <a:pt x="15082" y="4536"/>
                  <a:pt x="15058" y="4586"/>
                  <a:pt x="15058" y="4649"/>
                </a:cubicBezTo>
                <a:cubicBezTo>
                  <a:pt x="15058" y="4711"/>
                  <a:pt x="15082" y="4762"/>
                  <a:pt x="15112" y="4762"/>
                </a:cubicBezTo>
                <a:cubicBezTo>
                  <a:pt x="15141" y="4762"/>
                  <a:pt x="15165" y="4711"/>
                  <a:pt x="15165" y="4649"/>
                </a:cubicBezTo>
                <a:cubicBezTo>
                  <a:pt x="15165" y="4586"/>
                  <a:pt x="15141" y="4536"/>
                  <a:pt x="15112" y="4536"/>
                </a:cubicBezTo>
                <a:close/>
                <a:moveTo>
                  <a:pt x="14960" y="4209"/>
                </a:moveTo>
                <a:cubicBezTo>
                  <a:pt x="14930" y="4209"/>
                  <a:pt x="14906" y="4260"/>
                  <a:pt x="14906" y="4322"/>
                </a:cubicBezTo>
                <a:cubicBezTo>
                  <a:pt x="14906" y="4385"/>
                  <a:pt x="14930" y="4435"/>
                  <a:pt x="14960" y="4435"/>
                </a:cubicBezTo>
                <a:cubicBezTo>
                  <a:pt x="14990" y="4435"/>
                  <a:pt x="15014" y="4385"/>
                  <a:pt x="15014" y="4322"/>
                </a:cubicBezTo>
                <a:cubicBezTo>
                  <a:pt x="15014" y="4260"/>
                  <a:pt x="14990" y="4209"/>
                  <a:pt x="14960" y="4209"/>
                </a:cubicBezTo>
                <a:close/>
                <a:moveTo>
                  <a:pt x="14807" y="4209"/>
                </a:moveTo>
                <a:cubicBezTo>
                  <a:pt x="14778" y="4209"/>
                  <a:pt x="14754" y="4260"/>
                  <a:pt x="14754" y="4322"/>
                </a:cubicBezTo>
                <a:cubicBezTo>
                  <a:pt x="14754" y="4385"/>
                  <a:pt x="14778" y="4435"/>
                  <a:pt x="14807" y="4435"/>
                </a:cubicBezTo>
                <a:cubicBezTo>
                  <a:pt x="14837" y="4435"/>
                  <a:pt x="14861" y="4385"/>
                  <a:pt x="14861" y="4322"/>
                </a:cubicBezTo>
                <a:cubicBezTo>
                  <a:pt x="14861" y="4260"/>
                  <a:pt x="14837" y="4209"/>
                  <a:pt x="14807" y="4209"/>
                </a:cubicBezTo>
                <a:close/>
                <a:moveTo>
                  <a:pt x="15264" y="4109"/>
                </a:moveTo>
                <a:cubicBezTo>
                  <a:pt x="15294" y="4109"/>
                  <a:pt x="15318" y="4059"/>
                  <a:pt x="15318" y="3996"/>
                </a:cubicBezTo>
                <a:cubicBezTo>
                  <a:pt x="15318" y="3934"/>
                  <a:pt x="15294" y="3883"/>
                  <a:pt x="15264" y="3883"/>
                </a:cubicBezTo>
                <a:cubicBezTo>
                  <a:pt x="15235" y="3883"/>
                  <a:pt x="15210" y="3934"/>
                  <a:pt x="15210" y="3996"/>
                </a:cubicBezTo>
                <a:cubicBezTo>
                  <a:pt x="15210" y="4059"/>
                  <a:pt x="15235" y="4109"/>
                  <a:pt x="15264" y="4109"/>
                </a:cubicBezTo>
                <a:close/>
                <a:moveTo>
                  <a:pt x="15112" y="3883"/>
                </a:moveTo>
                <a:cubicBezTo>
                  <a:pt x="15082" y="3883"/>
                  <a:pt x="15058" y="3934"/>
                  <a:pt x="15058" y="3996"/>
                </a:cubicBezTo>
                <a:cubicBezTo>
                  <a:pt x="15058" y="4059"/>
                  <a:pt x="15082" y="4109"/>
                  <a:pt x="15112" y="4109"/>
                </a:cubicBezTo>
                <a:cubicBezTo>
                  <a:pt x="15141" y="4109"/>
                  <a:pt x="15165" y="4059"/>
                  <a:pt x="15165" y="3996"/>
                </a:cubicBezTo>
                <a:cubicBezTo>
                  <a:pt x="15165" y="3934"/>
                  <a:pt x="15141" y="3883"/>
                  <a:pt x="15112" y="3883"/>
                </a:cubicBezTo>
                <a:close/>
                <a:moveTo>
                  <a:pt x="16186" y="4435"/>
                </a:moveTo>
                <a:cubicBezTo>
                  <a:pt x="16216" y="4435"/>
                  <a:pt x="16240" y="4385"/>
                  <a:pt x="16240" y="4322"/>
                </a:cubicBezTo>
                <a:cubicBezTo>
                  <a:pt x="16240" y="4260"/>
                  <a:pt x="16216" y="4209"/>
                  <a:pt x="16186" y="4209"/>
                </a:cubicBezTo>
                <a:cubicBezTo>
                  <a:pt x="16157" y="4209"/>
                  <a:pt x="16133" y="4260"/>
                  <a:pt x="16133" y="4322"/>
                </a:cubicBezTo>
                <a:cubicBezTo>
                  <a:pt x="16133" y="4385"/>
                  <a:pt x="16157" y="4435"/>
                  <a:pt x="16186" y="4435"/>
                </a:cubicBezTo>
                <a:close/>
                <a:moveTo>
                  <a:pt x="16032" y="4435"/>
                </a:moveTo>
                <a:cubicBezTo>
                  <a:pt x="16062" y="4435"/>
                  <a:pt x="16086" y="4385"/>
                  <a:pt x="16086" y="4322"/>
                </a:cubicBezTo>
                <a:cubicBezTo>
                  <a:pt x="16086" y="4260"/>
                  <a:pt x="16062" y="4209"/>
                  <a:pt x="16032" y="4209"/>
                </a:cubicBezTo>
                <a:cubicBezTo>
                  <a:pt x="16003" y="4209"/>
                  <a:pt x="15979" y="4260"/>
                  <a:pt x="15979" y="4322"/>
                </a:cubicBezTo>
                <a:cubicBezTo>
                  <a:pt x="15979" y="4385"/>
                  <a:pt x="16003" y="4435"/>
                  <a:pt x="16032" y="4435"/>
                </a:cubicBezTo>
                <a:close/>
                <a:moveTo>
                  <a:pt x="15880" y="4435"/>
                </a:moveTo>
                <a:cubicBezTo>
                  <a:pt x="15909" y="4435"/>
                  <a:pt x="15934" y="4385"/>
                  <a:pt x="15934" y="4322"/>
                </a:cubicBezTo>
                <a:cubicBezTo>
                  <a:pt x="15934" y="4260"/>
                  <a:pt x="15909" y="4209"/>
                  <a:pt x="15880" y="4209"/>
                </a:cubicBezTo>
                <a:cubicBezTo>
                  <a:pt x="15850" y="4209"/>
                  <a:pt x="15826" y="4260"/>
                  <a:pt x="15826" y="4322"/>
                </a:cubicBezTo>
                <a:cubicBezTo>
                  <a:pt x="15826" y="4385"/>
                  <a:pt x="15850" y="4435"/>
                  <a:pt x="15880" y="4435"/>
                </a:cubicBezTo>
                <a:close/>
                <a:moveTo>
                  <a:pt x="15726" y="4435"/>
                </a:moveTo>
                <a:cubicBezTo>
                  <a:pt x="15756" y="4435"/>
                  <a:pt x="15780" y="4385"/>
                  <a:pt x="15780" y="4322"/>
                </a:cubicBezTo>
                <a:cubicBezTo>
                  <a:pt x="15780" y="4260"/>
                  <a:pt x="15756" y="4209"/>
                  <a:pt x="15726" y="4209"/>
                </a:cubicBezTo>
                <a:cubicBezTo>
                  <a:pt x="15697" y="4209"/>
                  <a:pt x="15672" y="4260"/>
                  <a:pt x="15672" y="4322"/>
                </a:cubicBezTo>
                <a:cubicBezTo>
                  <a:pt x="15672" y="4385"/>
                  <a:pt x="15697" y="4435"/>
                  <a:pt x="15726" y="4435"/>
                </a:cubicBezTo>
                <a:close/>
                <a:moveTo>
                  <a:pt x="15574" y="4209"/>
                </a:moveTo>
                <a:cubicBezTo>
                  <a:pt x="15544" y="4209"/>
                  <a:pt x="15520" y="4260"/>
                  <a:pt x="15520" y="4322"/>
                </a:cubicBezTo>
                <a:cubicBezTo>
                  <a:pt x="15520" y="4385"/>
                  <a:pt x="15544" y="4435"/>
                  <a:pt x="15574" y="4435"/>
                </a:cubicBezTo>
                <a:cubicBezTo>
                  <a:pt x="15603" y="4435"/>
                  <a:pt x="15627" y="4385"/>
                  <a:pt x="15627" y="4322"/>
                </a:cubicBezTo>
                <a:cubicBezTo>
                  <a:pt x="15627" y="4260"/>
                  <a:pt x="15603" y="4209"/>
                  <a:pt x="15574" y="4209"/>
                </a:cubicBezTo>
                <a:close/>
                <a:moveTo>
                  <a:pt x="15418" y="4209"/>
                </a:moveTo>
                <a:cubicBezTo>
                  <a:pt x="15389" y="4209"/>
                  <a:pt x="15364" y="4260"/>
                  <a:pt x="15364" y="4322"/>
                </a:cubicBezTo>
                <a:cubicBezTo>
                  <a:pt x="15364" y="4385"/>
                  <a:pt x="15389" y="4435"/>
                  <a:pt x="15418" y="4435"/>
                </a:cubicBezTo>
                <a:cubicBezTo>
                  <a:pt x="15448" y="4435"/>
                  <a:pt x="15472" y="4385"/>
                  <a:pt x="15472" y="4322"/>
                </a:cubicBezTo>
                <a:cubicBezTo>
                  <a:pt x="15472" y="4260"/>
                  <a:pt x="15448" y="4209"/>
                  <a:pt x="15418" y="4209"/>
                </a:cubicBezTo>
                <a:close/>
                <a:moveTo>
                  <a:pt x="15264" y="4435"/>
                </a:moveTo>
                <a:cubicBezTo>
                  <a:pt x="15294" y="4435"/>
                  <a:pt x="15318" y="4385"/>
                  <a:pt x="15318" y="4322"/>
                </a:cubicBezTo>
                <a:cubicBezTo>
                  <a:pt x="15318" y="4260"/>
                  <a:pt x="15294" y="4209"/>
                  <a:pt x="15264" y="4209"/>
                </a:cubicBezTo>
                <a:cubicBezTo>
                  <a:pt x="15235" y="4209"/>
                  <a:pt x="15210" y="4260"/>
                  <a:pt x="15210" y="4322"/>
                </a:cubicBezTo>
                <a:cubicBezTo>
                  <a:pt x="15210" y="4385"/>
                  <a:pt x="15235" y="4435"/>
                  <a:pt x="15264" y="4435"/>
                </a:cubicBezTo>
                <a:close/>
                <a:moveTo>
                  <a:pt x="15112" y="4209"/>
                </a:moveTo>
                <a:cubicBezTo>
                  <a:pt x="15082" y="4209"/>
                  <a:pt x="15058" y="4260"/>
                  <a:pt x="15058" y="4322"/>
                </a:cubicBezTo>
                <a:cubicBezTo>
                  <a:pt x="15058" y="4385"/>
                  <a:pt x="15082" y="4435"/>
                  <a:pt x="15112" y="4435"/>
                </a:cubicBezTo>
                <a:cubicBezTo>
                  <a:pt x="15141" y="4435"/>
                  <a:pt x="15165" y="4385"/>
                  <a:pt x="15165" y="4322"/>
                </a:cubicBezTo>
                <a:cubicBezTo>
                  <a:pt x="15165" y="4260"/>
                  <a:pt x="15141" y="4209"/>
                  <a:pt x="15112" y="4209"/>
                </a:cubicBezTo>
                <a:close/>
                <a:moveTo>
                  <a:pt x="13569" y="2493"/>
                </a:moveTo>
                <a:cubicBezTo>
                  <a:pt x="13599" y="2493"/>
                  <a:pt x="13623" y="2442"/>
                  <a:pt x="13623" y="2380"/>
                </a:cubicBezTo>
                <a:cubicBezTo>
                  <a:pt x="13623" y="2317"/>
                  <a:pt x="13599" y="2266"/>
                  <a:pt x="13569" y="2266"/>
                </a:cubicBezTo>
                <a:cubicBezTo>
                  <a:pt x="13540" y="2266"/>
                  <a:pt x="13516" y="2317"/>
                  <a:pt x="13516" y="2380"/>
                </a:cubicBezTo>
                <a:cubicBezTo>
                  <a:pt x="13516" y="2442"/>
                  <a:pt x="13540" y="2493"/>
                  <a:pt x="13569" y="2493"/>
                </a:cubicBezTo>
                <a:close/>
                <a:moveTo>
                  <a:pt x="13569" y="2166"/>
                </a:moveTo>
                <a:cubicBezTo>
                  <a:pt x="13599" y="2166"/>
                  <a:pt x="13623" y="2115"/>
                  <a:pt x="13623" y="2053"/>
                </a:cubicBezTo>
                <a:cubicBezTo>
                  <a:pt x="13623" y="1990"/>
                  <a:pt x="13599" y="1940"/>
                  <a:pt x="13569" y="1940"/>
                </a:cubicBezTo>
                <a:cubicBezTo>
                  <a:pt x="13540" y="1940"/>
                  <a:pt x="13516" y="1990"/>
                  <a:pt x="13516" y="2053"/>
                </a:cubicBezTo>
                <a:cubicBezTo>
                  <a:pt x="13516" y="2115"/>
                  <a:pt x="13540" y="2166"/>
                  <a:pt x="13569" y="2166"/>
                </a:cubicBezTo>
                <a:close/>
                <a:moveTo>
                  <a:pt x="13415" y="2493"/>
                </a:moveTo>
                <a:cubicBezTo>
                  <a:pt x="13445" y="2493"/>
                  <a:pt x="13469" y="2442"/>
                  <a:pt x="13469" y="2380"/>
                </a:cubicBezTo>
                <a:cubicBezTo>
                  <a:pt x="13469" y="2317"/>
                  <a:pt x="13445" y="2266"/>
                  <a:pt x="13415" y="2266"/>
                </a:cubicBezTo>
                <a:cubicBezTo>
                  <a:pt x="13386" y="2266"/>
                  <a:pt x="13362" y="2317"/>
                  <a:pt x="13362" y="2380"/>
                </a:cubicBezTo>
                <a:cubicBezTo>
                  <a:pt x="13362" y="2442"/>
                  <a:pt x="13386" y="2493"/>
                  <a:pt x="13415" y="2493"/>
                </a:cubicBezTo>
                <a:close/>
                <a:moveTo>
                  <a:pt x="13415" y="2166"/>
                </a:moveTo>
                <a:cubicBezTo>
                  <a:pt x="13445" y="2166"/>
                  <a:pt x="13469" y="2115"/>
                  <a:pt x="13469" y="2053"/>
                </a:cubicBezTo>
                <a:cubicBezTo>
                  <a:pt x="13469" y="1990"/>
                  <a:pt x="13445" y="1940"/>
                  <a:pt x="13415" y="1940"/>
                </a:cubicBezTo>
                <a:cubicBezTo>
                  <a:pt x="13386" y="1940"/>
                  <a:pt x="13362" y="1990"/>
                  <a:pt x="13362" y="2053"/>
                </a:cubicBezTo>
                <a:cubicBezTo>
                  <a:pt x="13362" y="2115"/>
                  <a:pt x="13386" y="2166"/>
                  <a:pt x="13415" y="2166"/>
                </a:cubicBezTo>
                <a:close/>
                <a:moveTo>
                  <a:pt x="13117" y="2266"/>
                </a:moveTo>
                <a:cubicBezTo>
                  <a:pt x="13087" y="2266"/>
                  <a:pt x="13063" y="2317"/>
                  <a:pt x="13063" y="2380"/>
                </a:cubicBezTo>
                <a:cubicBezTo>
                  <a:pt x="13063" y="2442"/>
                  <a:pt x="13087" y="2493"/>
                  <a:pt x="13117" y="2493"/>
                </a:cubicBezTo>
                <a:cubicBezTo>
                  <a:pt x="13146" y="2493"/>
                  <a:pt x="13171" y="2442"/>
                  <a:pt x="13171" y="2380"/>
                </a:cubicBezTo>
                <a:cubicBezTo>
                  <a:pt x="13171" y="2317"/>
                  <a:pt x="13146" y="2266"/>
                  <a:pt x="13117" y="2266"/>
                </a:cubicBezTo>
                <a:close/>
                <a:moveTo>
                  <a:pt x="13117" y="1940"/>
                </a:moveTo>
                <a:cubicBezTo>
                  <a:pt x="13087" y="1940"/>
                  <a:pt x="13063" y="1990"/>
                  <a:pt x="13063" y="2053"/>
                </a:cubicBezTo>
                <a:cubicBezTo>
                  <a:pt x="13063" y="2115"/>
                  <a:pt x="13087" y="2166"/>
                  <a:pt x="13117" y="2166"/>
                </a:cubicBezTo>
                <a:cubicBezTo>
                  <a:pt x="13146" y="2166"/>
                  <a:pt x="13171" y="2115"/>
                  <a:pt x="13171" y="2053"/>
                </a:cubicBezTo>
                <a:cubicBezTo>
                  <a:pt x="13171" y="1990"/>
                  <a:pt x="13146" y="1940"/>
                  <a:pt x="13117" y="1940"/>
                </a:cubicBezTo>
                <a:close/>
                <a:moveTo>
                  <a:pt x="13117" y="2934"/>
                </a:moveTo>
                <a:cubicBezTo>
                  <a:pt x="13087" y="2934"/>
                  <a:pt x="13063" y="2984"/>
                  <a:pt x="13063" y="3047"/>
                </a:cubicBezTo>
                <a:cubicBezTo>
                  <a:pt x="13063" y="3109"/>
                  <a:pt x="13087" y="3160"/>
                  <a:pt x="13117" y="3160"/>
                </a:cubicBezTo>
                <a:cubicBezTo>
                  <a:pt x="13146" y="3160"/>
                  <a:pt x="13171" y="3109"/>
                  <a:pt x="13171" y="3047"/>
                </a:cubicBezTo>
                <a:cubicBezTo>
                  <a:pt x="13171" y="2984"/>
                  <a:pt x="13146" y="2934"/>
                  <a:pt x="13117" y="2934"/>
                </a:cubicBezTo>
                <a:close/>
                <a:moveTo>
                  <a:pt x="13117" y="2607"/>
                </a:moveTo>
                <a:cubicBezTo>
                  <a:pt x="13087" y="2607"/>
                  <a:pt x="13063" y="2658"/>
                  <a:pt x="13063" y="2720"/>
                </a:cubicBezTo>
                <a:cubicBezTo>
                  <a:pt x="13063" y="2783"/>
                  <a:pt x="13087" y="2833"/>
                  <a:pt x="13117" y="2833"/>
                </a:cubicBezTo>
                <a:cubicBezTo>
                  <a:pt x="13146" y="2833"/>
                  <a:pt x="13171" y="2783"/>
                  <a:pt x="13171" y="2720"/>
                </a:cubicBezTo>
                <a:cubicBezTo>
                  <a:pt x="13171" y="2658"/>
                  <a:pt x="13146" y="2607"/>
                  <a:pt x="13117" y="2607"/>
                </a:cubicBezTo>
                <a:close/>
                <a:moveTo>
                  <a:pt x="13117" y="3245"/>
                </a:moveTo>
                <a:cubicBezTo>
                  <a:pt x="13087" y="3245"/>
                  <a:pt x="13063" y="3295"/>
                  <a:pt x="13063" y="3358"/>
                </a:cubicBezTo>
                <a:cubicBezTo>
                  <a:pt x="13063" y="3420"/>
                  <a:pt x="13087" y="3471"/>
                  <a:pt x="13117" y="3471"/>
                </a:cubicBezTo>
                <a:cubicBezTo>
                  <a:pt x="13146" y="3471"/>
                  <a:pt x="13171" y="3420"/>
                  <a:pt x="13171" y="3358"/>
                </a:cubicBezTo>
                <a:cubicBezTo>
                  <a:pt x="13171" y="3295"/>
                  <a:pt x="13146" y="3245"/>
                  <a:pt x="13117" y="3245"/>
                </a:cubicBezTo>
                <a:close/>
                <a:moveTo>
                  <a:pt x="13263" y="2493"/>
                </a:moveTo>
                <a:cubicBezTo>
                  <a:pt x="13292" y="2493"/>
                  <a:pt x="13316" y="2442"/>
                  <a:pt x="13316" y="2380"/>
                </a:cubicBezTo>
                <a:cubicBezTo>
                  <a:pt x="13316" y="2317"/>
                  <a:pt x="13292" y="2266"/>
                  <a:pt x="13263" y="2266"/>
                </a:cubicBezTo>
                <a:cubicBezTo>
                  <a:pt x="13233" y="2266"/>
                  <a:pt x="13209" y="2317"/>
                  <a:pt x="13209" y="2380"/>
                </a:cubicBezTo>
                <a:cubicBezTo>
                  <a:pt x="13209" y="2442"/>
                  <a:pt x="13233" y="2493"/>
                  <a:pt x="13263" y="2493"/>
                </a:cubicBezTo>
                <a:close/>
                <a:moveTo>
                  <a:pt x="13263" y="2166"/>
                </a:moveTo>
                <a:cubicBezTo>
                  <a:pt x="13292" y="2166"/>
                  <a:pt x="13316" y="2115"/>
                  <a:pt x="13316" y="2053"/>
                </a:cubicBezTo>
                <a:cubicBezTo>
                  <a:pt x="13316" y="1990"/>
                  <a:pt x="13292" y="1940"/>
                  <a:pt x="13263" y="1940"/>
                </a:cubicBezTo>
                <a:cubicBezTo>
                  <a:pt x="13233" y="1940"/>
                  <a:pt x="13209" y="1990"/>
                  <a:pt x="13209" y="2053"/>
                </a:cubicBezTo>
                <a:cubicBezTo>
                  <a:pt x="13209" y="2115"/>
                  <a:pt x="13233" y="2166"/>
                  <a:pt x="13263" y="2166"/>
                </a:cubicBezTo>
                <a:close/>
                <a:moveTo>
                  <a:pt x="14343" y="2266"/>
                </a:moveTo>
                <a:cubicBezTo>
                  <a:pt x="14313" y="2266"/>
                  <a:pt x="14289" y="2317"/>
                  <a:pt x="14289" y="2380"/>
                </a:cubicBezTo>
                <a:cubicBezTo>
                  <a:pt x="14289" y="2442"/>
                  <a:pt x="14313" y="2493"/>
                  <a:pt x="14343" y="2493"/>
                </a:cubicBezTo>
                <a:cubicBezTo>
                  <a:pt x="14372" y="2493"/>
                  <a:pt x="14396" y="2442"/>
                  <a:pt x="14396" y="2380"/>
                </a:cubicBezTo>
                <a:cubicBezTo>
                  <a:pt x="14396" y="2317"/>
                  <a:pt x="14372" y="2266"/>
                  <a:pt x="14343" y="2266"/>
                </a:cubicBezTo>
                <a:close/>
                <a:moveTo>
                  <a:pt x="14343" y="1940"/>
                </a:moveTo>
                <a:cubicBezTo>
                  <a:pt x="14313" y="1940"/>
                  <a:pt x="14289" y="1990"/>
                  <a:pt x="14289" y="2053"/>
                </a:cubicBezTo>
                <a:cubicBezTo>
                  <a:pt x="14289" y="2115"/>
                  <a:pt x="14313" y="2166"/>
                  <a:pt x="14343" y="2166"/>
                </a:cubicBezTo>
                <a:cubicBezTo>
                  <a:pt x="14372" y="2166"/>
                  <a:pt x="14396" y="2115"/>
                  <a:pt x="14396" y="2053"/>
                </a:cubicBezTo>
                <a:cubicBezTo>
                  <a:pt x="14396" y="1990"/>
                  <a:pt x="14372" y="1940"/>
                  <a:pt x="14343" y="1940"/>
                </a:cubicBezTo>
                <a:close/>
                <a:moveTo>
                  <a:pt x="14190" y="2266"/>
                </a:moveTo>
                <a:cubicBezTo>
                  <a:pt x="14160" y="2266"/>
                  <a:pt x="14136" y="2317"/>
                  <a:pt x="14136" y="2380"/>
                </a:cubicBezTo>
                <a:cubicBezTo>
                  <a:pt x="14136" y="2442"/>
                  <a:pt x="14160" y="2493"/>
                  <a:pt x="14190" y="2493"/>
                </a:cubicBezTo>
                <a:cubicBezTo>
                  <a:pt x="14220" y="2493"/>
                  <a:pt x="14244" y="2442"/>
                  <a:pt x="14244" y="2380"/>
                </a:cubicBezTo>
                <a:cubicBezTo>
                  <a:pt x="14244" y="2317"/>
                  <a:pt x="14220" y="2266"/>
                  <a:pt x="14190" y="2266"/>
                </a:cubicBezTo>
                <a:close/>
                <a:moveTo>
                  <a:pt x="14190" y="1940"/>
                </a:moveTo>
                <a:cubicBezTo>
                  <a:pt x="14160" y="1940"/>
                  <a:pt x="14136" y="1990"/>
                  <a:pt x="14136" y="2053"/>
                </a:cubicBezTo>
                <a:cubicBezTo>
                  <a:pt x="14136" y="2115"/>
                  <a:pt x="14160" y="2166"/>
                  <a:pt x="14190" y="2166"/>
                </a:cubicBezTo>
                <a:cubicBezTo>
                  <a:pt x="14220" y="2166"/>
                  <a:pt x="14244" y="2115"/>
                  <a:pt x="14244" y="2053"/>
                </a:cubicBezTo>
                <a:cubicBezTo>
                  <a:pt x="14244" y="1990"/>
                  <a:pt x="14220" y="1940"/>
                  <a:pt x="14190" y="1940"/>
                </a:cubicBezTo>
                <a:close/>
                <a:moveTo>
                  <a:pt x="14035" y="2493"/>
                </a:moveTo>
                <a:cubicBezTo>
                  <a:pt x="14064" y="2493"/>
                  <a:pt x="14088" y="2442"/>
                  <a:pt x="14088" y="2380"/>
                </a:cubicBezTo>
                <a:cubicBezTo>
                  <a:pt x="14088" y="2317"/>
                  <a:pt x="14064" y="2266"/>
                  <a:pt x="14035" y="2266"/>
                </a:cubicBezTo>
                <a:cubicBezTo>
                  <a:pt x="14005" y="2266"/>
                  <a:pt x="13981" y="2317"/>
                  <a:pt x="13981" y="2380"/>
                </a:cubicBezTo>
                <a:cubicBezTo>
                  <a:pt x="13981" y="2442"/>
                  <a:pt x="14005" y="2493"/>
                  <a:pt x="14035" y="2493"/>
                </a:cubicBezTo>
                <a:close/>
                <a:moveTo>
                  <a:pt x="14035" y="2166"/>
                </a:moveTo>
                <a:cubicBezTo>
                  <a:pt x="14064" y="2166"/>
                  <a:pt x="14088" y="2115"/>
                  <a:pt x="14088" y="2053"/>
                </a:cubicBezTo>
                <a:cubicBezTo>
                  <a:pt x="14088" y="1990"/>
                  <a:pt x="14064" y="1940"/>
                  <a:pt x="14035" y="1940"/>
                </a:cubicBezTo>
                <a:cubicBezTo>
                  <a:pt x="14005" y="1940"/>
                  <a:pt x="13981" y="1990"/>
                  <a:pt x="13981" y="2053"/>
                </a:cubicBezTo>
                <a:cubicBezTo>
                  <a:pt x="13981" y="2115"/>
                  <a:pt x="14005" y="2166"/>
                  <a:pt x="14035" y="2166"/>
                </a:cubicBezTo>
                <a:close/>
                <a:moveTo>
                  <a:pt x="13881" y="2266"/>
                </a:moveTo>
                <a:cubicBezTo>
                  <a:pt x="13851" y="2266"/>
                  <a:pt x="13827" y="2317"/>
                  <a:pt x="13827" y="2380"/>
                </a:cubicBezTo>
                <a:cubicBezTo>
                  <a:pt x="13827" y="2442"/>
                  <a:pt x="13851" y="2493"/>
                  <a:pt x="13881" y="2493"/>
                </a:cubicBezTo>
                <a:cubicBezTo>
                  <a:pt x="13910" y="2493"/>
                  <a:pt x="13934" y="2442"/>
                  <a:pt x="13934" y="2380"/>
                </a:cubicBezTo>
                <a:cubicBezTo>
                  <a:pt x="13934" y="2317"/>
                  <a:pt x="13910" y="2266"/>
                  <a:pt x="13881" y="2266"/>
                </a:cubicBezTo>
                <a:close/>
                <a:moveTo>
                  <a:pt x="13881" y="1940"/>
                </a:moveTo>
                <a:cubicBezTo>
                  <a:pt x="13851" y="1940"/>
                  <a:pt x="13827" y="1990"/>
                  <a:pt x="13827" y="2053"/>
                </a:cubicBezTo>
                <a:cubicBezTo>
                  <a:pt x="13827" y="2115"/>
                  <a:pt x="13851" y="2166"/>
                  <a:pt x="13881" y="2166"/>
                </a:cubicBezTo>
                <a:cubicBezTo>
                  <a:pt x="13910" y="2166"/>
                  <a:pt x="13934" y="2115"/>
                  <a:pt x="13934" y="2053"/>
                </a:cubicBezTo>
                <a:cubicBezTo>
                  <a:pt x="13934" y="1990"/>
                  <a:pt x="13910" y="1940"/>
                  <a:pt x="13881" y="1940"/>
                </a:cubicBezTo>
                <a:close/>
                <a:moveTo>
                  <a:pt x="13728" y="2266"/>
                </a:moveTo>
                <a:cubicBezTo>
                  <a:pt x="13698" y="2266"/>
                  <a:pt x="13674" y="2317"/>
                  <a:pt x="13674" y="2380"/>
                </a:cubicBezTo>
                <a:cubicBezTo>
                  <a:pt x="13674" y="2442"/>
                  <a:pt x="13698" y="2493"/>
                  <a:pt x="13728" y="2493"/>
                </a:cubicBezTo>
                <a:cubicBezTo>
                  <a:pt x="13758" y="2493"/>
                  <a:pt x="13782" y="2442"/>
                  <a:pt x="13782" y="2380"/>
                </a:cubicBezTo>
                <a:cubicBezTo>
                  <a:pt x="13782" y="2317"/>
                  <a:pt x="13758" y="2266"/>
                  <a:pt x="13728" y="2266"/>
                </a:cubicBezTo>
                <a:close/>
                <a:moveTo>
                  <a:pt x="13728" y="1940"/>
                </a:moveTo>
                <a:cubicBezTo>
                  <a:pt x="13698" y="1940"/>
                  <a:pt x="13674" y="1990"/>
                  <a:pt x="13674" y="2053"/>
                </a:cubicBezTo>
                <a:cubicBezTo>
                  <a:pt x="13674" y="2115"/>
                  <a:pt x="13698" y="2166"/>
                  <a:pt x="13728" y="2166"/>
                </a:cubicBezTo>
                <a:cubicBezTo>
                  <a:pt x="13758" y="2166"/>
                  <a:pt x="13782" y="2115"/>
                  <a:pt x="13782" y="2053"/>
                </a:cubicBezTo>
                <a:cubicBezTo>
                  <a:pt x="13782" y="1990"/>
                  <a:pt x="13758" y="1940"/>
                  <a:pt x="13728" y="1940"/>
                </a:cubicBezTo>
                <a:close/>
                <a:moveTo>
                  <a:pt x="14649" y="2266"/>
                </a:moveTo>
                <a:cubicBezTo>
                  <a:pt x="14619" y="2266"/>
                  <a:pt x="14595" y="2317"/>
                  <a:pt x="14595" y="2380"/>
                </a:cubicBezTo>
                <a:cubicBezTo>
                  <a:pt x="14595" y="2442"/>
                  <a:pt x="14619" y="2493"/>
                  <a:pt x="14649" y="2493"/>
                </a:cubicBezTo>
                <a:cubicBezTo>
                  <a:pt x="14678" y="2493"/>
                  <a:pt x="14703" y="2442"/>
                  <a:pt x="14703" y="2380"/>
                </a:cubicBezTo>
                <a:cubicBezTo>
                  <a:pt x="14703" y="2317"/>
                  <a:pt x="14678" y="2266"/>
                  <a:pt x="14649" y="2266"/>
                </a:cubicBezTo>
                <a:close/>
                <a:moveTo>
                  <a:pt x="14649" y="1940"/>
                </a:moveTo>
                <a:cubicBezTo>
                  <a:pt x="14619" y="1940"/>
                  <a:pt x="14595" y="1990"/>
                  <a:pt x="14595" y="2053"/>
                </a:cubicBezTo>
                <a:cubicBezTo>
                  <a:pt x="14595" y="2115"/>
                  <a:pt x="14619" y="2166"/>
                  <a:pt x="14649" y="2166"/>
                </a:cubicBezTo>
                <a:cubicBezTo>
                  <a:pt x="14678" y="2166"/>
                  <a:pt x="14703" y="2115"/>
                  <a:pt x="14703" y="2053"/>
                </a:cubicBezTo>
                <a:cubicBezTo>
                  <a:pt x="14703" y="1990"/>
                  <a:pt x="14678" y="1940"/>
                  <a:pt x="14649" y="1940"/>
                </a:cubicBezTo>
                <a:close/>
                <a:moveTo>
                  <a:pt x="14496" y="2266"/>
                </a:moveTo>
                <a:cubicBezTo>
                  <a:pt x="14466" y="2266"/>
                  <a:pt x="14442" y="2317"/>
                  <a:pt x="14442" y="2380"/>
                </a:cubicBezTo>
                <a:cubicBezTo>
                  <a:pt x="14442" y="2442"/>
                  <a:pt x="14466" y="2493"/>
                  <a:pt x="14496" y="2493"/>
                </a:cubicBezTo>
                <a:cubicBezTo>
                  <a:pt x="14526" y="2493"/>
                  <a:pt x="14550" y="2442"/>
                  <a:pt x="14550" y="2380"/>
                </a:cubicBezTo>
                <a:cubicBezTo>
                  <a:pt x="14550" y="2317"/>
                  <a:pt x="14526" y="2266"/>
                  <a:pt x="14496" y="2266"/>
                </a:cubicBezTo>
                <a:close/>
                <a:moveTo>
                  <a:pt x="14496" y="1940"/>
                </a:moveTo>
                <a:cubicBezTo>
                  <a:pt x="14466" y="1940"/>
                  <a:pt x="14442" y="1990"/>
                  <a:pt x="14442" y="2053"/>
                </a:cubicBezTo>
                <a:cubicBezTo>
                  <a:pt x="14442" y="2115"/>
                  <a:pt x="14466" y="2166"/>
                  <a:pt x="14496" y="2166"/>
                </a:cubicBezTo>
                <a:cubicBezTo>
                  <a:pt x="14526" y="2166"/>
                  <a:pt x="14550" y="2115"/>
                  <a:pt x="14550" y="2053"/>
                </a:cubicBezTo>
                <a:cubicBezTo>
                  <a:pt x="14550" y="1990"/>
                  <a:pt x="14526" y="1940"/>
                  <a:pt x="14496" y="1940"/>
                </a:cubicBezTo>
                <a:close/>
                <a:moveTo>
                  <a:pt x="13569" y="3160"/>
                </a:moveTo>
                <a:cubicBezTo>
                  <a:pt x="13599" y="3160"/>
                  <a:pt x="13623" y="3109"/>
                  <a:pt x="13623" y="3047"/>
                </a:cubicBezTo>
                <a:cubicBezTo>
                  <a:pt x="13623" y="2984"/>
                  <a:pt x="13599" y="2934"/>
                  <a:pt x="13569" y="2934"/>
                </a:cubicBezTo>
                <a:cubicBezTo>
                  <a:pt x="13540" y="2934"/>
                  <a:pt x="13516" y="2984"/>
                  <a:pt x="13516" y="3047"/>
                </a:cubicBezTo>
                <a:cubicBezTo>
                  <a:pt x="13516" y="3109"/>
                  <a:pt x="13540" y="3160"/>
                  <a:pt x="13569" y="3160"/>
                </a:cubicBezTo>
                <a:close/>
                <a:moveTo>
                  <a:pt x="13569" y="2833"/>
                </a:moveTo>
                <a:cubicBezTo>
                  <a:pt x="13599" y="2833"/>
                  <a:pt x="13623" y="2783"/>
                  <a:pt x="13623" y="2720"/>
                </a:cubicBezTo>
                <a:cubicBezTo>
                  <a:pt x="13623" y="2658"/>
                  <a:pt x="13599" y="2607"/>
                  <a:pt x="13569" y="2607"/>
                </a:cubicBezTo>
                <a:cubicBezTo>
                  <a:pt x="13540" y="2607"/>
                  <a:pt x="13516" y="2658"/>
                  <a:pt x="13516" y="2720"/>
                </a:cubicBezTo>
                <a:cubicBezTo>
                  <a:pt x="13516" y="2783"/>
                  <a:pt x="13540" y="2833"/>
                  <a:pt x="13569" y="2833"/>
                </a:cubicBezTo>
                <a:close/>
                <a:moveTo>
                  <a:pt x="13415" y="3160"/>
                </a:moveTo>
                <a:cubicBezTo>
                  <a:pt x="13445" y="3160"/>
                  <a:pt x="13469" y="3109"/>
                  <a:pt x="13469" y="3047"/>
                </a:cubicBezTo>
                <a:cubicBezTo>
                  <a:pt x="13469" y="2984"/>
                  <a:pt x="13445" y="2934"/>
                  <a:pt x="13415" y="2934"/>
                </a:cubicBezTo>
                <a:cubicBezTo>
                  <a:pt x="13386" y="2934"/>
                  <a:pt x="13362" y="2984"/>
                  <a:pt x="13362" y="3047"/>
                </a:cubicBezTo>
                <a:cubicBezTo>
                  <a:pt x="13362" y="3109"/>
                  <a:pt x="13386" y="3160"/>
                  <a:pt x="13415" y="3160"/>
                </a:cubicBezTo>
                <a:close/>
                <a:moveTo>
                  <a:pt x="13415" y="2833"/>
                </a:moveTo>
                <a:cubicBezTo>
                  <a:pt x="13445" y="2833"/>
                  <a:pt x="13469" y="2783"/>
                  <a:pt x="13469" y="2720"/>
                </a:cubicBezTo>
                <a:cubicBezTo>
                  <a:pt x="13469" y="2658"/>
                  <a:pt x="13445" y="2607"/>
                  <a:pt x="13415" y="2607"/>
                </a:cubicBezTo>
                <a:cubicBezTo>
                  <a:pt x="13386" y="2607"/>
                  <a:pt x="13362" y="2658"/>
                  <a:pt x="13362" y="2720"/>
                </a:cubicBezTo>
                <a:cubicBezTo>
                  <a:pt x="13362" y="2783"/>
                  <a:pt x="13386" y="2833"/>
                  <a:pt x="13415" y="2833"/>
                </a:cubicBezTo>
                <a:close/>
                <a:moveTo>
                  <a:pt x="13263" y="3160"/>
                </a:moveTo>
                <a:cubicBezTo>
                  <a:pt x="13292" y="3160"/>
                  <a:pt x="13316" y="3109"/>
                  <a:pt x="13316" y="3047"/>
                </a:cubicBezTo>
                <a:cubicBezTo>
                  <a:pt x="13316" y="2984"/>
                  <a:pt x="13292" y="2934"/>
                  <a:pt x="13263" y="2934"/>
                </a:cubicBezTo>
                <a:cubicBezTo>
                  <a:pt x="13233" y="2934"/>
                  <a:pt x="13209" y="2984"/>
                  <a:pt x="13209" y="3047"/>
                </a:cubicBezTo>
                <a:cubicBezTo>
                  <a:pt x="13209" y="3109"/>
                  <a:pt x="13233" y="3160"/>
                  <a:pt x="13263" y="3160"/>
                </a:cubicBezTo>
                <a:close/>
                <a:moveTo>
                  <a:pt x="13263" y="2833"/>
                </a:moveTo>
                <a:cubicBezTo>
                  <a:pt x="13292" y="2833"/>
                  <a:pt x="13316" y="2783"/>
                  <a:pt x="13316" y="2720"/>
                </a:cubicBezTo>
                <a:cubicBezTo>
                  <a:pt x="13316" y="2658"/>
                  <a:pt x="13292" y="2607"/>
                  <a:pt x="13263" y="2607"/>
                </a:cubicBezTo>
                <a:cubicBezTo>
                  <a:pt x="13233" y="2607"/>
                  <a:pt x="13209" y="2658"/>
                  <a:pt x="13209" y="2720"/>
                </a:cubicBezTo>
                <a:cubicBezTo>
                  <a:pt x="13209" y="2783"/>
                  <a:pt x="13233" y="2833"/>
                  <a:pt x="13263" y="2833"/>
                </a:cubicBezTo>
                <a:close/>
                <a:moveTo>
                  <a:pt x="14343" y="2934"/>
                </a:moveTo>
                <a:cubicBezTo>
                  <a:pt x="14313" y="2934"/>
                  <a:pt x="14289" y="2984"/>
                  <a:pt x="14289" y="3047"/>
                </a:cubicBezTo>
                <a:cubicBezTo>
                  <a:pt x="14289" y="3109"/>
                  <a:pt x="14313" y="3160"/>
                  <a:pt x="14343" y="3160"/>
                </a:cubicBezTo>
                <a:cubicBezTo>
                  <a:pt x="14372" y="3160"/>
                  <a:pt x="14396" y="3109"/>
                  <a:pt x="14396" y="3047"/>
                </a:cubicBezTo>
                <a:cubicBezTo>
                  <a:pt x="14396" y="2984"/>
                  <a:pt x="14372" y="2934"/>
                  <a:pt x="14343" y="2934"/>
                </a:cubicBezTo>
                <a:close/>
                <a:moveTo>
                  <a:pt x="14343" y="2607"/>
                </a:moveTo>
                <a:cubicBezTo>
                  <a:pt x="14313" y="2607"/>
                  <a:pt x="14289" y="2658"/>
                  <a:pt x="14289" y="2720"/>
                </a:cubicBezTo>
                <a:cubicBezTo>
                  <a:pt x="14289" y="2783"/>
                  <a:pt x="14313" y="2833"/>
                  <a:pt x="14343" y="2833"/>
                </a:cubicBezTo>
                <a:cubicBezTo>
                  <a:pt x="14372" y="2833"/>
                  <a:pt x="14396" y="2783"/>
                  <a:pt x="14396" y="2720"/>
                </a:cubicBezTo>
                <a:cubicBezTo>
                  <a:pt x="14396" y="2658"/>
                  <a:pt x="14372" y="2607"/>
                  <a:pt x="14343" y="2607"/>
                </a:cubicBezTo>
                <a:close/>
                <a:moveTo>
                  <a:pt x="14190" y="2934"/>
                </a:moveTo>
                <a:cubicBezTo>
                  <a:pt x="14160" y="2934"/>
                  <a:pt x="14136" y="2984"/>
                  <a:pt x="14136" y="3047"/>
                </a:cubicBezTo>
                <a:cubicBezTo>
                  <a:pt x="14136" y="3109"/>
                  <a:pt x="14160" y="3160"/>
                  <a:pt x="14190" y="3160"/>
                </a:cubicBezTo>
                <a:cubicBezTo>
                  <a:pt x="14220" y="3160"/>
                  <a:pt x="14244" y="3109"/>
                  <a:pt x="14244" y="3047"/>
                </a:cubicBezTo>
                <a:cubicBezTo>
                  <a:pt x="14244" y="2984"/>
                  <a:pt x="14220" y="2934"/>
                  <a:pt x="14190" y="2934"/>
                </a:cubicBezTo>
                <a:close/>
                <a:moveTo>
                  <a:pt x="14190" y="2607"/>
                </a:moveTo>
                <a:cubicBezTo>
                  <a:pt x="14160" y="2607"/>
                  <a:pt x="14136" y="2658"/>
                  <a:pt x="14136" y="2720"/>
                </a:cubicBezTo>
                <a:cubicBezTo>
                  <a:pt x="14136" y="2783"/>
                  <a:pt x="14160" y="2833"/>
                  <a:pt x="14190" y="2833"/>
                </a:cubicBezTo>
                <a:cubicBezTo>
                  <a:pt x="14220" y="2833"/>
                  <a:pt x="14244" y="2783"/>
                  <a:pt x="14244" y="2720"/>
                </a:cubicBezTo>
                <a:cubicBezTo>
                  <a:pt x="14244" y="2658"/>
                  <a:pt x="14220" y="2607"/>
                  <a:pt x="14190" y="2607"/>
                </a:cubicBezTo>
                <a:close/>
                <a:moveTo>
                  <a:pt x="14035" y="3160"/>
                </a:moveTo>
                <a:cubicBezTo>
                  <a:pt x="14064" y="3160"/>
                  <a:pt x="14088" y="3109"/>
                  <a:pt x="14088" y="3047"/>
                </a:cubicBezTo>
                <a:cubicBezTo>
                  <a:pt x="14088" y="2984"/>
                  <a:pt x="14064" y="2934"/>
                  <a:pt x="14035" y="2934"/>
                </a:cubicBezTo>
                <a:cubicBezTo>
                  <a:pt x="14005" y="2934"/>
                  <a:pt x="13981" y="2984"/>
                  <a:pt x="13981" y="3047"/>
                </a:cubicBezTo>
                <a:cubicBezTo>
                  <a:pt x="13981" y="3109"/>
                  <a:pt x="14005" y="3160"/>
                  <a:pt x="14035" y="3160"/>
                </a:cubicBezTo>
                <a:close/>
                <a:moveTo>
                  <a:pt x="14035" y="2833"/>
                </a:moveTo>
                <a:cubicBezTo>
                  <a:pt x="14064" y="2833"/>
                  <a:pt x="14088" y="2783"/>
                  <a:pt x="14088" y="2720"/>
                </a:cubicBezTo>
                <a:cubicBezTo>
                  <a:pt x="14088" y="2658"/>
                  <a:pt x="14064" y="2607"/>
                  <a:pt x="14035" y="2607"/>
                </a:cubicBezTo>
                <a:cubicBezTo>
                  <a:pt x="14005" y="2607"/>
                  <a:pt x="13981" y="2658"/>
                  <a:pt x="13981" y="2720"/>
                </a:cubicBezTo>
                <a:cubicBezTo>
                  <a:pt x="13981" y="2783"/>
                  <a:pt x="14005" y="2833"/>
                  <a:pt x="14035" y="2833"/>
                </a:cubicBezTo>
                <a:close/>
                <a:moveTo>
                  <a:pt x="13881" y="2934"/>
                </a:moveTo>
                <a:cubicBezTo>
                  <a:pt x="13851" y="2934"/>
                  <a:pt x="13827" y="2984"/>
                  <a:pt x="13827" y="3047"/>
                </a:cubicBezTo>
                <a:cubicBezTo>
                  <a:pt x="13827" y="3109"/>
                  <a:pt x="13851" y="3160"/>
                  <a:pt x="13881" y="3160"/>
                </a:cubicBezTo>
                <a:cubicBezTo>
                  <a:pt x="13910" y="3160"/>
                  <a:pt x="13934" y="3109"/>
                  <a:pt x="13934" y="3047"/>
                </a:cubicBezTo>
                <a:cubicBezTo>
                  <a:pt x="13934" y="2984"/>
                  <a:pt x="13910" y="2934"/>
                  <a:pt x="13881" y="2934"/>
                </a:cubicBezTo>
                <a:close/>
                <a:moveTo>
                  <a:pt x="13881" y="2607"/>
                </a:moveTo>
                <a:cubicBezTo>
                  <a:pt x="13851" y="2607"/>
                  <a:pt x="13827" y="2658"/>
                  <a:pt x="13827" y="2720"/>
                </a:cubicBezTo>
                <a:cubicBezTo>
                  <a:pt x="13827" y="2783"/>
                  <a:pt x="13851" y="2833"/>
                  <a:pt x="13881" y="2833"/>
                </a:cubicBezTo>
                <a:cubicBezTo>
                  <a:pt x="13910" y="2833"/>
                  <a:pt x="13934" y="2783"/>
                  <a:pt x="13934" y="2720"/>
                </a:cubicBezTo>
                <a:cubicBezTo>
                  <a:pt x="13934" y="2658"/>
                  <a:pt x="13910" y="2607"/>
                  <a:pt x="13881" y="2607"/>
                </a:cubicBezTo>
                <a:close/>
                <a:moveTo>
                  <a:pt x="13728" y="2934"/>
                </a:moveTo>
                <a:cubicBezTo>
                  <a:pt x="13698" y="2934"/>
                  <a:pt x="13674" y="2984"/>
                  <a:pt x="13674" y="3047"/>
                </a:cubicBezTo>
                <a:cubicBezTo>
                  <a:pt x="13674" y="3109"/>
                  <a:pt x="13698" y="3160"/>
                  <a:pt x="13728" y="3160"/>
                </a:cubicBezTo>
                <a:cubicBezTo>
                  <a:pt x="13758" y="3160"/>
                  <a:pt x="13782" y="3109"/>
                  <a:pt x="13782" y="3047"/>
                </a:cubicBezTo>
                <a:cubicBezTo>
                  <a:pt x="13782" y="2984"/>
                  <a:pt x="13758" y="2934"/>
                  <a:pt x="13728" y="2934"/>
                </a:cubicBezTo>
                <a:close/>
                <a:moveTo>
                  <a:pt x="13728" y="2607"/>
                </a:moveTo>
                <a:cubicBezTo>
                  <a:pt x="13698" y="2607"/>
                  <a:pt x="13674" y="2658"/>
                  <a:pt x="13674" y="2720"/>
                </a:cubicBezTo>
                <a:cubicBezTo>
                  <a:pt x="13674" y="2783"/>
                  <a:pt x="13698" y="2833"/>
                  <a:pt x="13728" y="2833"/>
                </a:cubicBezTo>
                <a:cubicBezTo>
                  <a:pt x="13758" y="2833"/>
                  <a:pt x="13782" y="2783"/>
                  <a:pt x="13782" y="2720"/>
                </a:cubicBezTo>
                <a:cubicBezTo>
                  <a:pt x="13782" y="2658"/>
                  <a:pt x="13758" y="2607"/>
                  <a:pt x="13728" y="2607"/>
                </a:cubicBezTo>
                <a:close/>
                <a:moveTo>
                  <a:pt x="14649" y="2934"/>
                </a:moveTo>
                <a:cubicBezTo>
                  <a:pt x="14619" y="2934"/>
                  <a:pt x="14595" y="2984"/>
                  <a:pt x="14595" y="3047"/>
                </a:cubicBezTo>
                <a:cubicBezTo>
                  <a:pt x="14595" y="3109"/>
                  <a:pt x="14619" y="3160"/>
                  <a:pt x="14649" y="3160"/>
                </a:cubicBezTo>
                <a:cubicBezTo>
                  <a:pt x="14678" y="3160"/>
                  <a:pt x="14703" y="3109"/>
                  <a:pt x="14703" y="3047"/>
                </a:cubicBezTo>
                <a:cubicBezTo>
                  <a:pt x="14703" y="2984"/>
                  <a:pt x="14678" y="2934"/>
                  <a:pt x="14649" y="2934"/>
                </a:cubicBezTo>
                <a:close/>
                <a:moveTo>
                  <a:pt x="14649" y="2607"/>
                </a:moveTo>
                <a:cubicBezTo>
                  <a:pt x="14619" y="2607"/>
                  <a:pt x="14595" y="2658"/>
                  <a:pt x="14595" y="2720"/>
                </a:cubicBezTo>
                <a:cubicBezTo>
                  <a:pt x="14595" y="2783"/>
                  <a:pt x="14619" y="2833"/>
                  <a:pt x="14649" y="2833"/>
                </a:cubicBezTo>
                <a:cubicBezTo>
                  <a:pt x="14678" y="2833"/>
                  <a:pt x="14703" y="2783"/>
                  <a:pt x="14703" y="2720"/>
                </a:cubicBezTo>
                <a:cubicBezTo>
                  <a:pt x="14703" y="2658"/>
                  <a:pt x="14678" y="2607"/>
                  <a:pt x="14649" y="2607"/>
                </a:cubicBezTo>
                <a:close/>
                <a:moveTo>
                  <a:pt x="14496" y="2934"/>
                </a:moveTo>
                <a:cubicBezTo>
                  <a:pt x="14466" y="2934"/>
                  <a:pt x="14442" y="2984"/>
                  <a:pt x="14442" y="3047"/>
                </a:cubicBezTo>
                <a:cubicBezTo>
                  <a:pt x="14442" y="3109"/>
                  <a:pt x="14466" y="3160"/>
                  <a:pt x="14496" y="3160"/>
                </a:cubicBezTo>
                <a:cubicBezTo>
                  <a:pt x="14526" y="3160"/>
                  <a:pt x="14550" y="3109"/>
                  <a:pt x="14550" y="3047"/>
                </a:cubicBezTo>
                <a:cubicBezTo>
                  <a:pt x="14550" y="2984"/>
                  <a:pt x="14526" y="2934"/>
                  <a:pt x="14496" y="2934"/>
                </a:cubicBezTo>
                <a:close/>
                <a:moveTo>
                  <a:pt x="14496" y="2607"/>
                </a:moveTo>
                <a:cubicBezTo>
                  <a:pt x="14466" y="2607"/>
                  <a:pt x="14442" y="2658"/>
                  <a:pt x="14442" y="2720"/>
                </a:cubicBezTo>
                <a:cubicBezTo>
                  <a:pt x="14442" y="2783"/>
                  <a:pt x="14466" y="2833"/>
                  <a:pt x="14496" y="2833"/>
                </a:cubicBezTo>
                <a:cubicBezTo>
                  <a:pt x="14526" y="2833"/>
                  <a:pt x="14550" y="2783"/>
                  <a:pt x="14550" y="2720"/>
                </a:cubicBezTo>
                <a:cubicBezTo>
                  <a:pt x="14550" y="2658"/>
                  <a:pt x="14526" y="2607"/>
                  <a:pt x="14496" y="2607"/>
                </a:cubicBezTo>
                <a:close/>
                <a:moveTo>
                  <a:pt x="13569" y="3798"/>
                </a:moveTo>
                <a:cubicBezTo>
                  <a:pt x="13599" y="3798"/>
                  <a:pt x="13623" y="3747"/>
                  <a:pt x="13623" y="3685"/>
                </a:cubicBezTo>
                <a:cubicBezTo>
                  <a:pt x="13623" y="3622"/>
                  <a:pt x="13599" y="3572"/>
                  <a:pt x="13569" y="3572"/>
                </a:cubicBezTo>
                <a:cubicBezTo>
                  <a:pt x="13540" y="3572"/>
                  <a:pt x="13516" y="3622"/>
                  <a:pt x="13516" y="3685"/>
                </a:cubicBezTo>
                <a:cubicBezTo>
                  <a:pt x="13516" y="3747"/>
                  <a:pt x="13540" y="3798"/>
                  <a:pt x="13569" y="3798"/>
                </a:cubicBezTo>
                <a:close/>
                <a:moveTo>
                  <a:pt x="13569" y="3471"/>
                </a:moveTo>
                <a:cubicBezTo>
                  <a:pt x="13599" y="3471"/>
                  <a:pt x="13623" y="3420"/>
                  <a:pt x="13623" y="3358"/>
                </a:cubicBezTo>
                <a:cubicBezTo>
                  <a:pt x="13623" y="3295"/>
                  <a:pt x="13599" y="3245"/>
                  <a:pt x="13569" y="3245"/>
                </a:cubicBezTo>
                <a:cubicBezTo>
                  <a:pt x="13540" y="3245"/>
                  <a:pt x="13516" y="3295"/>
                  <a:pt x="13516" y="3358"/>
                </a:cubicBezTo>
                <a:cubicBezTo>
                  <a:pt x="13516" y="3420"/>
                  <a:pt x="13540" y="3471"/>
                  <a:pt x="13569" y="3471"/>
                </a:cubicBezTo>
                <a:close/>
                <a:moveTo>
                  <a:pt x="13415" y="3798"/>
                </a:moveTo>
                <a:cubicBezTo>
                  <a:pt x="13445" y="3798"/>
                  <a:pt x="13469" y="3747"/>
                  <a:pt x="13469" y="3685"/>
                </a:cubicBezTo>
                <a:cubicBezTo>
                  <a:pt x="13469" y="3622"/>
                  <a:pt x="13445" y="3572"/>
                  <a:pt x="13415" y="3572"/>
                </a:cubicBezTo>
                <a:cubicBezTo>
                  <a:pt x="13386" y="3572"/>
                  <a:pt x="13362" y="3622"/>
                  <a:pt x="13362" y="3685"/>
                </a:cubicBezTo>
                <a:cubicBezTo>
                  <a:pt x="13362" y="3747"/>
                  <a:pt x="13386" y="3798"/>
                  <a:pt x="13415" y="3798"/>
                </a:cubicBezTo>
                <a:close/>
                <a:moveTo>
                  <a:pt x="13415" y="3471"/>
                </a:moveTo>
                <a:cubicBezTo>
                  <a:pt x="13445" y="3471"/>
                  <a:pt x="13469" y="3420"/>
                  <a:pt x="13469" y="3358"/>
                </a:cubicBezTo>
                <a:cubicBezTo>
                  <a:pt x="13469" y="3295"/>
                  <a:pt x="13445" y="3245"/>
                  <a:pt x="13415" y="3245"/>
                </a:cubicBezTo>
                <a:cubicBezTo>
                  <a:pt x="13386" y="3245"/>
                  <a:pt x="13362" y="3295"/>
                  <a:pt x="13362" y="3358"/>
                </a:cubicBezTo>
                <a:cubicBezTo>
                  <a:pt x="13362" y="3420"/>
                  <a:pt x="13386" y="3471"/>
                  <a:pt x="13415" y="3471"/>
                </a:cubicBezTo>
                <a:close/>
                <a:moveTo>
                  <a:pt x="13263" y="3798"/>
                </a:moveTo>
                <a:cubicBezTo>
                  <a:pt x="13292" y="3798"/>
                  <a:pt x="13316" y="3747"/>
                  <a:pt x="13316" y="3685"/>
                </a:cubicBezTo>
                <a:cubicBezTo>
                  <a:pt x="13316" y="3622"/>
                  <a:pt x="13292" y="3572"/>
                  <a:pt x="13263" y="3572"/>
                </a:cubicBezTo>
                <a:cubicBezTo>
                  <a:pt x="13233" y="3572"/>
                  <a:pt x="13209" y="3622"/>
                  <a:pt x="13209" y="3685"/>
                </a:cubicBezTo>
                <a:cubicBezTo>
                  <a:pt x="13209" y="3747"/>
                  <a:pt x="13233" y="3798"/>
                  <a:pt x="13263" y="3798"/>
                </a:cubicBezTo>
                <a:close/>
                <a:moveTo>
                  <a:pt x="13263" y="3471"/>
                </a:moveTo>
                <a:cubicBezTo>
                  <a:pt x="13292" y="3471"/>
                  <a:pt x="13316" y="3420"/>
                  <a:pt x="13316" y="3358"/>
                </a:cubicBezTo>
                <a:cubicBezTo>
                  <a:pt x="13316" y="3295"/>
                  <a:pt x="13292" y="3245"/>
                  <a:pt x="13263" y="3245"/>
                </a:cubicBezTo>
                <a:cubicBezTo>
                  <a:pt x="13233" y="3245"/>
                  <a:pt x="13209" y="3295"/>
                  <a:pt x="13209" y="3358"/>
                </a:cubicBezTo>
                <a:cubicBezTo>
                  <a:pt x="13209" y="3420"/>
                  <a:pt x="13233" y="3471"/>
                  <a:pt x="13263" y="3471"/>
                </a:cubicBezTo>
                <a:close/>
                <a:moveTo>
                  <a:pt x="14343" y="3572"/>
                </a:moveTo>
                <a:cubicBezTo>
                  <a:pt x="14313" y="3572"/>
                  <a:pt x="14289" y="3622"/>
                  <a:pt x="14289" y="3685"/>
                </a:cubicBezTo>
                <a:cubicBezTo>
                  <a:pt x="14289" y="3747"/>
                  <a:pt x="14313" y="3798"/>
                  <a:pt x="14343" y="3798"/>
                </a:cubicBezTo>
                <a:cubicBezTo>
                  <a:pt x="14372" y="3798"/>
                  <a:pt x="14396" y="3747"/>
                  <a:pt x="14396" y="3685"/>
                </a:cubicBezTo>
                <a:cubicBezTo>
                  <a:pt x="14396" y="3622"/>
                  <a:pt x="14372" y="3572"/>
                  <a:pt x="14343" y="3572"/>
                </a:cubicBezTo>
                <a:close/>
                <a:moveTo>
                  <a:pt x="14343" y="3245"/>
                </a:moveTo>
                <a:cubicBezTo>
                  <a:pt x="14313" y="3245"/>
                  <a:pt x="14289" y="3295"/>
                  <a:pt x="14289" y="3358"/>
                </a:cubicBezTo>
                <a:cubicBezTo>
                  <a:pt x="14289" y="3420"/>
                  <a:pt x="14313" y="3471"/>
                  <a:pt x="14343" y="3471"/>
                </a:cubicBezTo>
                <a:cubicBezTo>
                  <a:pt x="14372" y="3471"/>
                  <a:pt x="14396" y="3420"/>
                  <a:pt x="14396" y="3358"/>
                </a:cubicBezTo>
                <a:cubicBezTo>
                  <a:pt x="14396" y="3295"/>
                  <a:pt x="14372" y="3245"/>
                  <a:pt x="14343" y="3245"/>
                </a:cubicBezTo>
                <a:close/>
                <a:moveTo>
                  <a:pt x="14190" y="3572"/>
                </a:moveTo>
                <a:cubicBezTo>
                  <a:pt x="14160" y="3572"/>
                  <a:pt x="14136" y="3622"/>
                  <a:pt x="14136" y="3685"/>
                </a:cubicBezTo>
                <a:cubicBezTo>
                  <a:pt x="14136" y="3747"/>
                  <a:pt x="14160" y="3798"/>
                  <a:pt x="14190" y="3798"/>
                </a:cubicBezTo>
                <a:cubicBezTo>
                  <a:pt x="14220" y="3798"/>
                  <a:pt x="14244" y="3747"/>
                  <a:pt x="14244" y="3685"/>
                </a:cubicBezTo>
                <a:cubicBezTo>
                  <a:pt x="14244" y="3622"/>
                  <a:pt x="14220" y="3572"/>
                  <a:pt x="14190" y="3572"/>
                </a:cubicBezTo>
                <a:close/>
                <a:moveTo>
                  <a:pt x="14190" y="3245"/>
                </a:moveTo>
                <a:cubicBezTo>
                  <a:pt x="14160" y="3245"/>
                  <a:pt x="14136" y="3295"/>
                  <a:pt x="14136" y="3358"/>
                </a:cubicBezTo>
                <a:cubicBezTo>
                  <a:pt x="14136" y="3420"/>
                  <a:pt x="14160" y="3471"/>
                  <a:pt x="14190" y="3471"/>
                </a:cubicBezTo>
                <a:cubicBezTo>
                  <a:pt x="14220" y="3471"/>
                  <a:pt x="14244" y="3420"/>
                  <a:pt x="14244" y="3358"/>
                </a:cubicBezTo>
                <a:cubicBezTo>
                  <a:pt x="14244" y="3295"/>
                  <a:pt x="14220" y="3245"/>
                  <a:pt x="14190" y="3245"/>
                </a:cubicBezTo>
                <a:close/>
                <a:moveTo>
                  <a:pt x="14035" y="3798"/>
                </a:moveTo>
                <a:cubicBezTo>
                  <a:pt x="14064" y="3798"/>
                  <a:pt x="14088" y="3747"/>
                  <a:pt x="14088" y="3685"/>
                </a:cubicBezTo>
                <a:cubicBezTo>
                  <a:pt x="14088" y="3622"/>
                  <a:pt x="14064" y="3572"/>
                  <a:pt x="14035" y="3572"/>
                </a:cubicBezTo>
                <a:cubicBezTo>
                  <a:pt x="14005" y="3572"/>
                  <a:pt x="13981" y="3622"/>
                  <a:pt x="13981" y="3685"/>
                </a:cubicBezTo>
                <a:cubicBezTo>
                  <a:pt x="13981" y="3747"/>
                  <a:pt x="14005" y="3798"/>
                  <a:pt x="14035" y="3798"/>
                </a:cubicBezTo>
                <a:close/>
                <a:moveTo>
                  <a:pt x="14035" y="3471"/>
                </a:moveTo>
                <a:cubicBezTo>
                  <a:pt x="14064" y="3471"/>
                  <a:pt x="14088" y="3420"/>
                  <a:pt x="14088" y="3358"/>
                </a:cubicBezTo>
                <a:cubicBezTo>
                  <a:pt x="14088" y="3295"/>
                  <a:pt x="14064" y="3245"/>
                  <a:pt x="14035" y="3245"/>
                </a:cubicBezTo>
                <a:cubicBezTo>
                  <a:pt x="14005" y="3245"/>
                  <a:pt x="13981" y="3295"/>
                  <a:pt x="13981" y="3358"/>
                </a:cubicBezTo>
                <a:cubicBezTo>
                  <a:pt x="13981" y="3420"/>
                  <a:pt x="14005" y="3471"/>
                  <a:pt x="14035" y="3471"/>
                </a:cubicBezTo>
                <a:close/>
                <a:moveTo>
                  <a:pt x="13881" y="3572"/>
                </a:moveTo>
                <a:cubicBezTo>
                  <a:pt x="13851" y="3572"/>
                  <a:pt x="13827" y="3622"/>
                  <a:pt x="13827" y="3685"/>
                </a:cubicBezTo>
                <a:cubicBezTo>
                  <a:pt x="13827" y="3747"/>
                  <a:pt x="13851" y="3798"/>
                  <a:pt x="13881" y="3798"/>
                </a:cubicBezTo>
                <a:cubicBezTo>
                  <a:pt x="13910" y="3798"/>
                  <a:pt x="13934" y="3747"/>
                  <a:pt x="13934" y="3685"/>
                </a:cubicBezTo>
                <a:cubicBezTo>
                  <a:pt x="13934" y="3622"/>
                  <a:pt x="13910" y="3572"/>
                  <a:pt x="13881" y="3572"/>
                </a:cubicBezTo>
                <a:close/>
                <a:moveTo>
                  <a:pt x="13881" y="3245"/>
                </a:moveTo>
                <a:cubicBezTo>
                  <a:pt x="13851" y="3245"/>
                  <a:pt x="13827" y="3295"/>
                  <a:pt x="13827" y="3358"/>
                </a:cubicBezTo>
                <a:cubicBezTo>
                  <a:pt x="13827" y="3420"/>
                  <a:pt x="13851" y="3471"/>
                  <a:pt x="13881" y="3471"/>
                </a:cubicBezTo>
                <a:cubicBezTo>
                  <a:pt x="13910" y="3471"/>
                  <a:pt x="13934" y="3420"/>
                  <a:pt x="13934" y="3358"/>
                </a:cubicBezTo>
                <a:cubicBezTo>
                  <a:pt x="13934" y="3295"/>
                  <a:pt x="13910" y="3245"/>
                  <a:pt x="13881" y="3245"/>
                </a:cubicBezTo>
                <a:close/>
                <a:moveTo>
                  <a:pt x="13728" y="3572"/>
                </a:moveTo>
                <a:cubicBezTo>
                  <a:pt x="13698" y="3572"/>
                  <a:pt x="13674" y="3622"/>
                  <a:pt x="13674" y="3685"/>
                </a:cubicBezTo>
                <a:cubicBezTo>
                  <a:pt x="13674" y="3747"/>
                  <a:pt x="13698" y="3798"/>
                  <a:pt x="13728" y="3798"/>
                </a:cubicBezTo>
                <a:cubicBezTo>
                  <a:pt x="13758" y="3798"/>
                  <a:pt x="13782" y="3747"/>
                  <a:pt x="13782" y="3685"/>
                </a:cubicBezTo>
                <a:cubicBezTo>
                  <a:pt x="13782" y="3622"/>
                  <a:pt x="13758" y="3572"/>
                  <a:pt x="13728" y="3572"/>
                </a:cubicBezTo>
                <a:close/>
                <a:moveTo>
                  <a:pt x="13728" y="3245"/>
                </a:moveTo>
                <a:cubicBezTo>
                  <a:pt x="13698" y="3245"/>
                  <a:pt x="13674" y="3295"/>
                  <a:pt x="13674" y="3358"/>
                </a:cubicBezTo>
                <a:cubicBezTo>
                  <a:pt x="13674" y="3420"/>
                  <a:pt x="13698" y="3471"/>
                  <a:pt x="13728" y="3471"/>
                </a:cubicBezTo>
                <a:cubicBezTo>
                  <a:pt x="13758" y="3471"/>
                  <a:pt x="13782" y="3420"/>
                  <a:pt x="13782" y="3358"/>
                </a:cubicBezTo>
                <a:cubicBezTo>
                  <a:pt x="13782" y="3295"/>
                  <a:pt x="13758" y="3245"/>
                  <a:pt x="13728" y="3245"/>
                </a:cubicBezTo>
                <a:close/>
                <a:moveTo>
                  <a:pt x="14649" y="3572"/>
                </a:moveTo>
                <a:cubicBezTo>
                  <a:pt x="14619" y="3572"/>
                  <a:pt x="14595" y="3622"/>
                  <a:pt x="14595" y="3685"/>
                </a:cubicBezTo>
                <a:cubicBezTo>
                  <a:pt x="14595" y="3747"/>
                  <a:pt x="14619" y="3798"/>
                  <a:pt x="14649" y="3798"/>
                </a:cubicBezTo>
                <a:cubicBezTo>
                  <a:pt x="14678" y="3798"/>
                  <a:pt x="14703" y="3747"/>
                  <a:pt x="14703" y="3685"/>
                </a:cubicBezTo>
                <a:cubicBezTo>
                  <a:pt x="14703" y="3622"/>
                  <a:pt x="14678" y="3572"/>
                  <a:pt x="14649" y="3572"/>
                </a:cubicBezTo>
                <a:close/>
                <a:moveTo>
                  <a:pt x="14649" y="3245"/>
                </a:moveTo>
                <a:cubicBezTo>
                  <a:pt x="14619" y="3245"/>
                  <a:pt x="14595" y="3295"/>
                  <a:pt x="14595" y="3358"/>
                </a:cubicBezTo>
                <a:cubicBezTo>
                  <a:pt x="14595" y="3420"/>
                  <a:pt x="14619" y="3471"/>
                  <a:pt x="14649" y="3471"/>
                </a:cubicBezTo>
                <a:cubicBezTo>
                  <a:pt x="14678" y="3471"/>
                  <a:pt x="14703" y="3420"/>
                  <a:pt x="14703" y="3358"/>
                </a:cubicBezTo>
                <a:cubicBezTo>
                  <a:pt x="14703" y="3295"/>
                  <a:pt x="14678" y="3245"/>
                  <a:pt x="14649" y="3245"/>
                </a:cubicBezTo>
                <a:close/>
                <a:moveTo>
                  <a:pt x="14496" y="3572"/>
                </a:moveTo>
                <a:cubicBezTo>
                  <a:pt x="14466" y="3572"/>
                  <a:pt x="14442" y="3622"/>
                  <a:pt x="14442" y="3685"/>
                </a:cubicBezTo>
                <a:cubicBezTo>
                  <a:pt x="14442" y="3747"/>
                  <a:pt x="14466" y="3798"/>
                  <a:pt x="14496" y="3798"/>
                </a:cubicBezTo>
                <a:cubicBezTo>
                  <a:pt x="14526" y="3798"/>
                  <a:pt x="14550" y="3747"/>
                  <a:pt x="14550" y="3685"/>
                </a:cubicBezTo>
                <a:cubicBezTo>
                  <a:pt x="14550" y="3622"/>
                  <a:pt x="14526" y="3572"/>
                  <a:pt x="14496" y="3572"/>
                </a:cubicBezTo>
                <a:close/>
                <a:moveTo>
                  <a:pt x="14496" y="3245"/>
                </a:moveTo>
                <a:cubicBezTo>
                  <a:pt x="14466" y="3245"/>
                  <a:pt x="14442" y="3295"/>
                  <a:pt x="14442" y="3358"/>
                </a:cubicBezTo>
                <a:cubicBezTo>
                  <a:pt x="14442" y="3420"/>
                  <a:pt x="14466" y="3471"/>
                  <a:pt x="14496" y="3471"/>
                </a:cubicBezTo>
                <a:cubicBezTo>
                  <a:pt x="14526" y="3471"/>
                  <a:pt x="14550" y="3420"/>
                  <a:pt x="14550" y="3358"/>
                </a:cubicBezTo>
                <a:cubicBezTo>
                  <a:pt x="14550" y="3295"/>
                  <a:pt x="14526" y="3245"/>
                  <a:pt x="14496" y="3245"/>
                </a:cubicBezTo>
                <a:close/>
                <a:moveTo>
                  <a:pt x="14494" y="870"/>
                </a:moveTo>
                <a:cubicBezTo>
                  <a:pt x="14523" y="870"/>
                  <a:pt x="14547" y="820"/>
                  <a:pt x="14547" y="757"/>
                </a:cubicBezTo>
                <a:cubicBezTo>
                  <a:pt x="14547" y="695"/>
                  <a:pt x="14523" y="644"/>
                  <a:pt x="14494" y="644"/>
                </a:cubicBezTo>
                <a:cubicBezTo>
                  <a:pt x="14464" y="644"/>
                  <a:pt x="14440" y="695"/>
                  <a:pt x="14440" y="757"/>
                </a:cubicBezTo>
                <a:cubicBezTo>
                  <a:pt x="14440" y="820"/>
                  <a:pt x="14464" y="870"/>
                  <a:pt x="14494" y="870"/>
                </a:cubicBezTo>
                <a:close/>
                <a:moveTo>
                  <a:pt x="14341" y="870"/>
                </a:moveTo>
                <a:cubicBezTo>
                  <a:pt x="14371" y="870"/>
                  <a:pt x="14395" y="820"/>
                  <a:pt x="14395" y="757"/>
                </a:cubicBezTo>
                <a:cubicBezTo>
                  <a:pt x="14395" y="695"/>
                  <a:pt x="14371" y="644"/>
                  <a:pt x="14341" y="644"/>
                </a:cubicBezTo>
                <a:cubicBezTo>
                  <a:pt x="14311" y="644"/>
                  <a:pt x="14287" y="695"/>
                  <a:pt x="14287" y="757"/>
                </a:cubicBezTo>
                <a:cubicBezTo>
                  <a:pt x="14287" y="820"/>
                  <a:pt x="14311" y="870"/>
                  <a:pt x="14341" y="870"/>
                </a:cubicBezTo>
                <a:close/>
                <a:moveTo>
                  <a:pt x="14187" y="870"/>
                </a:moveTo>
                <a:cubicBezTo>
                  <a:pt x="14217" y="870"/>
                  <a:pt x="14241" y="820"/>
                  <a:pt x="14241" y="757"/>
                </a:cubicBezTo>
                <a:cubicBezTo>
                  <a:pt x="14241" y="695"/>
                  <a:pt x="14217" y="644"/>
                  <a:pt x="14187" y="644"/>
                </a:cubicBezTo>
                <a:cubicBezTo>
                  <a:pt x="14158" y="644"/>
                  <a:pt x="14134" y="695"/>
                  <a:pt x="14134" y="757"/>
                </a:cubicBezTo>
                <a:cubicBezTo>
                  <a:pt x="14134" y="820"/>
                  <a:pt x="14158" y="870"/>
                  <a:pt x="14187" y="870"/>
                </a:cubicBezTo>
                <a:close/>
                <a:moveTo>
                  <a:pt x="14035" y="870"/>
                </a:moveTo>
                <a:cubicBezTo>
                  <a:pt x="14064" y="870"/>
                  <a:pt x="14088" y="820"/>
                  <a:pt x="14088" y="757"/>
                </a:cubicBezTo>
                <a:cubicBezTo>
                  <a:pt x="14088" y="695"/>
                  <a:pt x="14064" y="644"/>
                  <a:pt x="14035" y="644"/>
                </a:cubicBezTo>
                <a:cubicBezTo>
                  <a:pt x="14005" y="644"/>
                  <a:pt x="13981" y="695"/>
                  <a:pt x="13981" y="757"/>
                </a:cubicBezTo>
                <a:cubicBezTo>
                  <a:pt x="13981" y="820"/>
                  <a:pt x="14005" y="870"/>
                  <a:pt x="14035" y="870"/>
                </a:cubicBezTo>
                <a:close/>
                <a:moveTo>
                  <a:pt x="14494" y="1209"/>
                </a:moveTo>
                <a:cubicBezTo>
                  <a:pt x="14523" y="1209"/>
                  <a:pt x="14547" y="1158"/>
                  <a:pt x="14547" y="1096"/>
                </a:cubicBezTo>
                <a:cubicBezTo>
                  <a:pt x="14547" y="1033"/>
                  <a:pt x="14523" y="983"/>
                  <a:pt x="14494" y="983"/>
                </a:cubicBezTo>
                <a:cubicBezTo>
                  <a:pt x="14464" y="983"/>
                  <a:pt x="14440" y="1033"/>
                  <a:pt x="14440" y="1096"/>
                </a:cubicBezTo>
                <a:cubicBezTo>
                  <a:pt x="14440" y="1158"/>
                  <a:pt x="14464" y="1209"/>
                  <a:pt x="14494" y="1209"/>
                </a:cubicBezTo>
                <a:close/>
                <a:moveTo>
                  <a:pt x="14341" y="1209"/>
                </a:moveTo>
                <a:cubicBezTo>
                  <a:pt x="14371" y="1209"/>
                  <a:pt x="14395" y="1158"/>
                  <a:pt x="14395" y="1096"/>
                </a:cubicBezTo>
                <a:cubicBezTo>
                  <a:pt x="14395" y="1033"/>
                  <a:pt x="14371" y="983"/>
                  <a:pt x="14341" y="983"/>
                </a:cubicBezTo>
                <a:cubicBezTo>
                  <a:pt x="14311" y="983"/>
                  <a:pt x="14287" y="1033"/>
                  <a:pt x="14287" y="1096"/>
                </a:cubicBezTo>
                <a:cubicBezTo>
                  <a:pt x="14287" y="1158"/>
                  <a:pt x="14311" y="1209"/>
                  <a:pt x="14341" y="1209"/>
                </a:cubicBezTo>
                <a:close/>
                <a:moveTo>
                  <a:pt x="14187" y="1209"/>
                </a:moveTo>
                <a:cubicBezTo>
                  <a:pt x="14217" y="1209"/>
                  <a:pt x="14241" y="1158"/>
                  <a:pt x="14241" y="1096"/>
                </a:cubicBezTo>
                <a:cubicBezTo>
                  <a:pt x="14241" y="1033"/>
                  <a:pt x="14217" y="983"/>
                  <a:pt x="14187" y="983"/>
                </a:cubicBezTo>
                <a:cubicBezTo>
                  <a:pt x="14158" y="983"/>
                  <a:pt x="14134" y="1033"/>
                  <a:pt x="14134" y="1096"/>
                </a:cubicBezTo>
                <a:cubicBezTo>
                  <a:pt x="14134" y="1158"/>
                  <a:pt x="14158" y="1209"/>
                  <a:pt x="14187" y="1209"/>
                </a:cubicBezTo>
                <a:close/>
                <a:moveTo>
                  <a:pt x="14035" y="1209"/>
                </a:moveTo>
                <a:cubicBezTo>
                  <a:pt x="14064" y="1209"/>
                  <a:pt x="14088" y="1158"/>
                  <a:pt x="14088" y="1096"/>
                </a:cubicBezTo>
                <a:cubicBezTo>
                  <a:pt x="14088" y="1033"/>
                  <a:pt x="14064" y="983"/>
                  <a:pt x="14035" y="983"/>
                </a:cubicBezTo>
                <a:cubicBezTo>
                  <a:pt x="14005" y="983"/>
                  <a:pt x="13981" y="1033"/>
                  <a:pt x="13981" y="1096"/>
                </a:cubicBezTo>
                <a:cubicBezTo>
                  <a:pt x="13981" y="1158"/>
                  <a:pt x="14005" y="1209"/>
                  <a:pt x="14035" y="1209"/>
                </a:cubicBezTo>
                <a:close/>
                <a:moveTo>
                  <a:pt x="13879" y="1209"/>
                </a:moveTo>
                <a:cubicBezTo>
                  <a:pt x="13909" y="1209"/>
                  <a:pt x="13933" y="1158"/>
                  <a:pt x="13933" y="1096"/>
                </a:cubicBezTo>
                <a:cubicBezTo>
                  <a:pt x="13933" y="1033"/>
                  <a:pt x="13909" y="983"/>
                  <a:pt x="13879" y="983"/>
                </a:cubicBezTo>
                <a:cubicBezTo>
                  <a:pt x="13850" y="983"/>
                  <a:pt x="13826" y="1033"/>
                  <a:pt x="13826" y="1096"/>
                </a:cubicBezTo>
                <a:cubicBezTo>
                  <a:pt x="13826" y="1158"/>
                  <a:pt x="13850" y="1209"/>
                  <a:pt x="13879" y="1209"/>
                </a:cubicBezTo>
                <a:close/>
                <a:moveTo>
                  <a:pt x="13421" y="1309"/>
                </a:moveTo>
                <a:cubicBezTo>
                  <a:pt x="13391" y="1309"/>
                  <a:pt x="13367" y="1360"/>
                  <a:pt x="13367" y="1422"/>
                </a:cubicBezTo>
                <a:cubicBezTo>
                  <a:pt x="13367" y="1485"/>
                  <a:pt x="13391" y="1535"/>
                  <a:pt x="13421" y="1535"/>
                </a:cubicBezTo>
                <a:cubicBezTo>
                  <a:pt x="13451" y="1535"/>
                  <a:pt x="13475" y="1485"/>
                  <a:pt x="13475" y="1422"/>
                </a:cubicBezTo>
                <a:cubicBezTo>
                  <a:pt x="13475" y="1360"/>
                  <a:pt x="13451" y="1309"/>
                  <a:pt x="13421" y="1309"/>
                </a:cubicBezTo>
                <a:close/>
                <a:moveTo>
                  <a:pt x="12659" y="1535"/>
                </a:moveTo>
                <a:cubicBezTo>
                  <a:pt x="12689" y="1535"/>
                  <a:pt x="12713" y="1485"/>
                  <a:pt x="12713" y="1422"/>
                </a:cubicBezTo>
                <a:cubicBezTo>
                  <a:pt x="12713" y="1360"/>
                  <a:pt x="12689" y="1309"/>
                  <a:pt x="12659" y="1309"/>
                </a:cubicBezTo>
                <a:cubicBezTo>
                  <a:pt x="12629" y="1309"/>
                  <a:pt x="12605" y="1360"/>
                  <a:pt x="12605" y="1422"/>
                </a:cubicBezTo>
                <a:cubicBezTo>
                  <a:pt x="12605" y="1485"/>
                  <a:pt x="12629" y="1535"/>
                  <a:pt x="12659" y="1535"/>
                </a:cubicBezTo>
                <a:close/>
                <a:moveTo>
                  <a:pt x="12812" y="1309"/>
                </a:moveTo>
                <a:cubicBezTo>
                  <a:pt x="12782" y="1309"/>
                  <a:pt x="12758" y="1360"/>
                  <a:pt x="12758" y="1422"/>
                </a:cubicBezTo>
                <a:cubicBezTo>
                  <a:pt x="12758" y="1485"/>
                  <a:pt x="12782" y="1535"/>
                  <a:pt x="12812" y="1535"/>
                </a:cubicBezTo>
                <a:cubicBezTo>
                  <a:pt x="12841" y="1535"/>
                  <a:pt x="12866" y="1485"/>
                  <a:pt x="12866" y="1422"/>
                </a:cubicBezTo>
                <a:cubicBezTo>
                  <a:pt x="12866" y="1360"/>
                  <a:pt x="12841" y="1309"/>
                  <a:pt x="12812" y="1309"/>
                </a:cubicBezTo>
                <a:close/>
                <a:moveTo>
                  <a:pt x="13116" y="1535"/>
                </a:moveTo>
                <a:cubicBezTo>
                  <a:pt x="13145" y="1535"/>
                  <a:pt x="13169" y="1485"/>
                  <a:pt x="13169" y="1422"/>
                </a:cubicBezTo>
                <a:cubicBezTo>
                  <a:pt x="13169" y="1360"/>
                  <a:pt x="13145" y="1309"/>
                  <a:pt x="13116" y="1309"/>
                </a:cubicBezTo>
                <a:cubicBezTo>
                  <a:pt x="13086" y="1309"/>
                  <a:pt x="13062" y="1360"/>
                  <a:pt x="13062" y="1422"/>
                </a:cubicBezTo>
                <a:cubicBezTo>
                  <a:pt x="13062" y="1485"/>
                  <a:pt x="13086" y="1535"/>
                  <a:pt x="13116" y="1535"/>
                </a:cubicBezTo>
                <a:close/>
                <a:moveTo>
                  <a:pt x="13116" y="1843"/>
                </a:moveTo>
                <a:cubicBezTo>
                  <a:pt x="13145" y="1843"/>
                  <a:pt x="13169" y="1792"/>
                  <a:pt x="13169" y="1730"/>
                </a:cubicBezTo>
                <a:cubicBezTo>
                  <a:pt x="13169" y="1667"/>
                  <a:pt x="13145" y="1617"/>
                  <a:pt x="13116" y="1617"/>
                </a:cubicBezTo>
                <a:cubicBezTo>
                  <a:pt x="13086" y="1617"/>
                  <a:pt x="13062" y="1667"/>
                  <a:pt x="13062" y="1730"/>
                </a:cubicBezTo>
                <a:cubicBezTo>
                  <a:pt x="13062" y="1792"/>
                  <a:pt x="13086" y="1843"/>
                  <a:pt x="13116" y="1843"/>
                </a:cubicBezTo>
                <a:close/>
                <a:moveTo>
                  <a:pt x="13268" y="1309"/>
                </a:moveTo>
                <a:cubicBezTo>
                  <a:pt x="13239" y="1309"/>
                  <a:pt x="13215" y="1360"/>
                  <a:pt x="13215" y="1422"/>
                </a:cubicBezTo>
                <a:cubicBezTo>
                  <a:pt x="13215" y="1485"/>
                  <a:pt x="13239" y="1535"/>
                  <a:pt x="13268" y="1535"/>
                </a:cubicBezTo>
                <a:cubicBezTo>
                  <a:pt x="13298" y="1535"/>
                  <a:pt x="13322" y="1485"/>
                  <a:pt x="13322" y="1422"/>
                </a:cubicBezTo>
                <a:cubicBezTo>
                  <a:pt x="13322" y="1360"/>
                  <a:pt x="13298" y="1309"/>
                  <a:pt x="13268" y="1309"/>
                </a:cubicBezTo>
                <a:close/>
                <a:moveTo>
                  <a:pt x="13421" y="1617"/>
                </a:moveTo>
                <a:cubicBezTo>
                  <a:pt x="13391" y="1617"/>
                  <a:pt x="13367" y="1667"/>
                  <a:pt x="13367" y="1730"/>
                </a:cubicBezTo>
                <a:cubicBezTo>
                  <a:pt x="13367" y="1792"/>
                  <a:pt x="13391" y="1843"/>
                  <a:pt x="13421" y="1843"/>
                </a:cubicBezTo>
                <a:cubicBezTo>
                  <a:pt x="13451" y="1843"/>
                  <a:pt x="13475" y="1792"/>
                  <a:pt x="13475" y="1730"/>
                </a:cubicBezTo>
                <a:cubicBezTo>
                  <a:pt x="13475" y="1667"/>
                  <a:pt x="13451" y="1617"/>
                  <a:pt x="13421" y="1617"/>
                </a:cubicBezTo>
                <a:close/>
                <a:moveTo>
                  <a:pt x="13268" y="1617"/>
                </a:moveTo>
                <a:cubicBezTo>
                  <a:pt x="13239" y="1617"/>
                  <a:pt x="13215" y="1667"/>
                  <a:pt x="13215" y="1730"/>
                </a:cubicBezTo>
                <a:cubicBezTo>
                  <a:pt x="13215" y="1792"/>
                  <a:pt x="13239" y="1843"/>
                  <a:pt x="13268" y="1843"/>
                </a:cubicBezTo>
                <a:cubicBezTo>
                  <a:pt x="13298" y="1843"/>
                  <a:pt x="13322" y="1792"/>
                  <a:pt x="13322" y="1730"/>
                </a:cubicBezTo>
                <a:cubicBezTo>
                  <a:pt x="13322" y="1667"/>
                  <a:pt x="13298" y="1617"/>
                  <a:pt x="13268" y="1617"/>
                </a:cubicBezTo>
                <a:close/>
                <a:moveTo>
                  <a:pt x="13725" y="556"/>
                </a:moveTo>
                <a:cubicBezTo>
                  <a:pt x="13755" y="556"/>
                  <a:pt x="13779" y="506"/>
                  <a:pt x="13779" y="443"/>
                </a:cubicBezTo>
                <a:cubicBezTo>
                  <a:pt x="13779" y="381"/>
                  <a:pt x="13755" y="330"/>
                  <a:pt x="13725" y="330"/>
                </a:cubicBezTo>
                <a:cubicBezTo>
                  <a:pt x="13696" y="330"/>
                  <a:pt x="13672" y="381"/>
                  <a:pt x="13672" y="443"/>
                </a:cubicBezTo>
                <a:cubicBezTo>
                  <a:pt x="13672" y="506"/>
                  <a:pt x="13696" y="556"/>
                  <a:pt x="13725" y="556"/>
                </a:cubicBezTo>
                <a:close/>
                <a:moveTo>
                  <a:pt x="13428" y="330"/>
                </a:moveTo>
                <a:cubicBezTo>
                  <a:pt x="13399" y="330"/>
                  <a:pt x="13374" y="381"/>
                  <a:pt x="13374" y="443"/>
                </a:cubicBezTo>
                <a:cubicBezTo>
                  <a:pt x="13374" y="506"/>
                  <a:pt x="13399" y="556"/>
                  <a:pt x="13428" y="556"/>
                </a:cubicBezTo>
                <a:cubicBezTo>
                  <a:pt x="13458" y="556"/>
                  <a:pt x="13482" y="506"/>
                  <a:pt x="13482" y="443"/>
                </a:cubicBezTo>
                <a:cubicBezTo>
                  <a:pt x="13482" y="381"/>
                  <a:pt x="13458" y="330"/>
                  <a:pt x="13428" y="330"/>
                </a:cubicBezTo>
                <a:close/>
                <a:moveTo>
                  <a:pt x="13573" y="330"/>
                </a:moveTo>
                <a:cubicBezTo>
                  <a:pt x="13543" y="330"/>
                  <a:pt x="13519" y="381"/>
                  <a:pt x="13519" y="443"/>
                </a:cubicBezTo>
                <a:cubicBezTo>
                  <a:pt x="13519" y="506"/>
                  <a:pt x="13543" y="556"/>
                  <a:pt x="13573" y="556"/>
                </a:cubicBezTo>
                <a:cubicBezTo>
                  <a:pt x="13602" y="556"/>
                  <a:pt x="13626" y="506"/>
                  <a:pt x="13626" y="443"/>
                </a:cubicBezTo>
                <a:cubicBezTo>
                  <a:pt x="13626" y="381"/>
                  <a:pt x="13602" y="330"/>
                  <a:pt x="13573" y="330"/>
                </a:cubicBezTo>
                <a:close/>
                <a:moveTo>
                  <a:pt x="13725" y="1209"/>
                </a:moveTo>
                <a:cubicBezTo>
                  <a:pt x="13755" y="1209"/>
                  <a:pt x="13779" y="1158"/>
                  <a:pt x="13779" y="1096"/>
                </a:cubicBezTo>
                <a:cubicBezTo>
                  <a:pt x="13779" y="1033"/>
                  <a:pt x="13755" y="983"/>
                  <a:pt x="13725" y="983"/>
                </a:cubicBezTo>
                <a:cubicBezTo>
                  <a:pt x="13696" y="983"/>
                  <a:pt x="13672" y="1033"/>
                  <a:pt x="13672" y="1096"/>
                </a:cubicBezTo>
                <a:cubicBezTo>
                  <a:pt x="13672" y="1158"/>
                  <a:pt x="13696" y="1209"/>
                  <a:pt x="13725" y="1209"/>
                </a:cubicBezTo>
                <a:close/>
                <a:moveTo>
                  <a:pt x="13573" y="983"/>
                </a:moveTo>
                <a:cubicBezTo>
                  <a:pt x="13543" y="983"/>
                  <a:pt x="13519" y="1033"/>
                  <a:pt x="13519" y="1096"/>
                </a:cubicBezTo>
                <a:cubicBezTo>
                  <a:pt x="13519" y="1158"/>
                  <a:pt x="13543" y="1209"/>
                  <a:pt x="13573" y="1209"/>
                </a:cubicBezTo>
                <a:cubicBezTo>
                  <a:pt x="13602" y="1209"/>
                  <a:pt x="13626" y="1158"/>
                  <a:pt x="13626" y="1096"/>
                </a:cubicBezTo>
                <a:cubicBezTo>
                  <a:pt x="13626" y="1033"/>
                  <a:pt x="13602" y="983"/>
                  <a:pt x="13573" y="983"/>
                </a:cubicBezTo>
                <a:close/>
                <a:moveTo>
                  <a:pt x="14648" y="1535"/>
                </a:moveTo>
                <a:cubicBezTo>
                  <a:pt x="14677" y="1535"/>
                  <a:pt x="14701" y="1485"/>
                  <a:pt x="14701" y="1422"/>
                </a:cubicBezTo>
                <a:cubicBezTo>
                  <a:pt x="14701" y="1360"/>
                  <a:pt x="14677" y="1309"/>
                  <a:pt x="14648" y="1309"/>
                </a:cubicBezTo>
                <a:cubicBezTo>
                  <a:pt x="14618" y="1309"/>
                  <a:pt x="14594" y="1360"/>
                  <a:pt x="14594" y="1422"/>
                </a:cubicBezTo>
                <a:cubicBezTo>
                  <a:pt x="14594" y="1485"/>
                  <a:pt x="14618" y="1535"/>
                  <a:pt x="14648" y="1535"/>
                </a:cubicBezTo>
                <a:close/>
                <a:moveTo>
                  <a:pt x="14494" y="1535"/>
                </a:moveTo>
                <a:cubicBezTo>
                  <a:pt x="14523" y="1535"/>
                  <a:pt x="14547" y="1485"/>
                  <a:pt x="14547" y="1422"/>
                </a:cubicBezTo>
                <a:cubicBezTo>
                  <a:pt x="14547" y="1360"/>
                  <a:pt x="14523" y="1309"/>
                  <a:pt x="14494" y="1309"/>
                </a:cubicBezTo>
                <a:cubicBezTo>
                  <a:pt x="14464" y="1309"/>
                  <a:pt x="14440" y="1360"/>
                  <a:pt x="14440" y="1422"/>
                </a:cubicBezTo>
                <a:cubicBezTo>
                  <a:pt x="14440" y="1485"/>
                  <a:pt x="14464" y="1535"/>
                  <a:pt x="14494" y="1535"/>
                </a:cubicBezTo>
                <a:close/>
                <a:moveTo>
                  <a:pt x="14341" y="1535"/>
                </a:moveTo>
                <a:cubicBezTo>
                  <a:pt x="14371" y="1535"/>
                  <a:pt x="14395" y="1485"/>
                  <a:pt x="14395" y="1422"/>
                </a:cubicBezTo>
                <a:cubicBezTo>
                  <a:pt x="14395" y="1360"/>
                  <a:pt x="14371" y="1309"/>
                  <a:pt x="14341" y="1309"/>
                </a:cubicBezTo>
                <a:cubicBezTo>
                  <a:pt x="14311" y="1309"/>
                  <a:pt x="14287" y="1360"/>
                  <a:pt x="14287" y="1422"/>
                </a:cubicBezTo>
                <a:cubicBezTo>
                  <a:pt x="14287" y="1485"/>
                  <a:pt x="14311" y="1535"/>
                  <a:pt x="14341" y="1535"/>
                </a:cubicBezTo>
                <a:close/>
                <a:moveTo>
                  <a:pt x="14187" y="1535"/>
                </a:moveTo>
                <a:cubicBezTo>
                  <a:pt x="14217" y="1535"/>
                  <a:pt x="14241" y="1485"/>
                  <a:pt x="14241" y="1422"/>
                </a:cubicBezTo>
                <a:cubicBezTo>
                  <a:pt x="14241" y="1360"/>
                  <a:pt x="14217" y="1309"/>
                  <a:pt x="14187" y="1309"/>
                </a:cubicBezTo>
                <a:cubicBezTo>
                  <a:pt x="14158" y="1309"/>
                  <a:pt x="14134" y="1360"/>
                  <a:pt x="14134" y="1422"/>
                </a:cubicBezTo>
                <a:cubicBezTo>
                  <a:pt x="14134" y="1485"/>
                  <a:pt x="14158" y="1535"/>
                  <a:pt x="14187" y="1535"/>
                </a:cubicBezTo>
                <a:close/>
                <a:moveTo>
                  <a:pt x="14035" y="1535"/>
                </a:moveTo>
                <a:cubicBezTo>
                  <a:pt x="14064" y="1535"/>
                  <a:pt x="14088" y="1485"/>
                  <a:pt x="14088" y="1422"/>
                </a:cubicBezTo>
                <a:cubicBezTo>
                  <a:pt x="14088" y="1360"/>
                  <a:pt x="14064" y="1309"/>
                  <a:pt x="14035" y="1309"/>
                </a:cubicBezTo>
                <a:cubicBezTo>
                  <a:pt x="14005" y="1309"/>
                  <a:pt x="13981" y="1360"/>
                  <a:pt x="13981" y="1422"/>
                </a:cubicBezTo>
                <a:cubicBezTo>
                  <a:pt x="13981" y="1485"/>
                  <a:pt x="14005" y="1535"/>
                  <a:pt x="14035" y="1535"/>
                </a:cubicBezTo>
                <a:close/>
                <a:moveTo>
                  <a:pt x="13879" y="1535"/>
                </a:moveTo>
                <a:cubicBezTo>
                  <a:pt x="13909" y="1535"/>
                  <a:pt x="13933" y="1485"/>
                  <a:pt x="13933" y="1422"/>
                </a:cubicBezTo>
                <a:cubicBezTo>
                  <a:pt x="13933" y="1360"/>
                  <a:pt x="13909" y="1309"/>
                  <a:pt x="13879" y="1309"/>
                </a:cubicBezTo>
                <a:cubicBezTo>
                  <a:pt x="13850" y="1309"/>
                  <a:pt x="13826" y="1360"/>
                  <a:pt x="13826" y="1422"/>
                </a:cubicBezTo>
                <a:cubicBezTo>
                  <a:pt x="13826" y="1485"/>
                  <a:pt x="13850" y="1535"/>
                  <a:pt x="13879" y="1535"/>
                </a:cubicBezTo>
                <a:close/>
                <a:moveTo>
                  <a:pt x="13725" y="1535"/>
                </a:moveTo>
                <a:cubicBezTo>
                  <a:pt x="13755" y="1535"/>
                  <a:pt x="13779" y="1485"/>
                  <a:pt x="13779" y="1422"/>
                </a:cubicBezTo>
                <a:cubicBezTo>
                  <a:pt x="13779" y="1360"/>
                  <a:pt x="13755" y="1309"/>
                  <a:pt x="13725" y="1309"/>
                </a:cubicBezTo>
                <a:cubicBezTo>
                  <a:pt x="13696" y="1309"/>
                  <a:pt x="13672" y="1360"/>
                  <a:pt x="13672" y="1422"/>
                </a:cubicBezTo>
                <a:cubicBezTo>
                  <a:pt x="13672" y="1485"/>
                  <a:pt x="13696" y="1535"/>
                  <a:pt x="13725" y="1535"/>
                </a:cubicBezTo>
                <a:close/>
                <a:moveTo>
                  <a:pt x="13573" y="1309"/>
                </a:moveTo>
                <a:cubicBezTo>
                  <a:pt x="13543" y="1309"/>
                  <a:pt x="13519" y="1360"/>
                  <a:pt x="13519" y="1422"/>
                </a:cubicBezTo>
                <a:cubicBezTo>
                  <a:pt x="13519" y="1485"/>
                  <a:pt x="13543" y="1535"/>
                  <a:pt x="13573" y="1535"/>
                </a:cubicBezTo>
                <a:cubicBezTo>
                  <a:pt x="13602" y="1535"/>
                  <a:pt x="13626" y="1485"/>
                  <a:pt x="13626" y="1422"/>
                </a:cubicBezTo>
                <a:cubicBezTo>
                  <a:pt x="13626" y="1360"/>
                  <a:pt x="13602" y="1309"/>
                  <a:pt x="13573" y="1309"/>
                </a:cubicBezTo>
                <a:close/>
                <a:moveTo>
                  <a:pt x="14648" y="1843"/>
                </a:moveTo>
                <a:cubicBezTo>
                  <a:pt x="14677" y="1843"/>
                  <a:pt x="14701" y="1792"/>
                  <a:pt x="14701" y="1730"/>
                </a:cubicBezTo>
                <a:cubicBezTo>
                  <a:pt x="14701" y="1667"/>
                  <a:pt x="14677" y="1617"/>
                  <a:pt x="14648" y="1617"/>
                </a:cubicBezTo>
                <a:cubicBezTo>
                  <a:pt x="14618" y="1617"/>
                  <a:pt x="14594" y="1667"/>
                  <a:pt x="14594" y="1730"/>
                </a:cubicBezTo>
                <a:cubicBezTo>
                  <a:pt x="14594" y="1792"/>
                  <a:pt x="14618" y="1843"/>
                  <a:pt x="14648" y="1843"/>
                </a:cubicBezTo>
                <a:close/>
                <a:moveTo>
                  <a:pt x="14494" y="1843"/>
                </a:moveTo>
                <a:cubicBezTo>
                  <a:pt x="14523" y="1843"/>
                  <a:pt x="14547" y="1792"/>
                  <a:pt x="14547" y="1730"/>
                </a:cubicBezTo>
                <a:cubicBezTo>
                  <a:pt x="14547" y="1667"/>
                  <a:pt x="14523" y="1617"/>
                  <a:pt x="14494" y="1617"/>
                </a:cubicBezTo>
                <a:cubicBezTo>
                  <a:pt x="14464" y="1617"/>
                  <a:pt x="14440" y="1667"/>
                  <a:pt x="14440" y="1730"/>
                </a:cubicBezTo>
                <a:cubicBezTo>
                  <a:pt x="14440" y="1792"/>
                  <a:pt x="14464" y="1843"/>
                  <a:pt x="14494" y="1843"/>
                </a:cubicBezTo>
                <a:close/>
                <a:moveTo>
                  <a:pt x="14341" y="1843"/>
                </a:moveTo>
                <a:cubicBezTo>
                  <a:pt x="14371" y="1843"/>
                  <a:pt x="14395" y="1792"/>
                  <a:pt x="14395" y="1730"/>
                </a:cubicBezTo>
                <a:cubicBezTo>
                  <a:pt x="14395" y="1667"/>
                  <a:pt x="14371" y="1617"/>
                  <a:pt x="14341" y="1617"/>
                </a:cubicBezTo>
                <a:cubicBezTo>
                  <a:pt x="14311" y="1617"/>
                  <a:pt x="14287" y="1667"/>
                  <a:pt x="14287" y="1730"/>
                </a:cubicBezTo>
                <a:cubicBezTo>
                  <a:pt x="14287" y="1792"/>
                  <a:pt x="14311" y="1843"/>
                  <a:pt x="14341" y="1843"/>
                </a:cubicBezTo>
                <a:close/>
                <a:moveTo>
                  <a:pt x="14187" y="1843"/>
                </a:moveTo>
                <a:cubicBezTo>
                  <a:pt x="14217" y="1843"/>
                  <a:pt x="14241" y="1792"/>
                  <a:pt x="14241" y="1730"/>
                </a:cubicBezTo>
                <a:cubicBezTo>
                  <a:pt x="14241" y="1667"/>
                  <a:pt x="14217" y="1617"/>
                  <a:pt x="14187" y="1617"/>
                </a:cubicBezTo>
                <a:cubicBezTo>
                  <a:pt x="14158" y="1617"/>
                  <a:pt x="14134" y="1667"/>
                  <a:pt x="14134" y="1730"/>
                </a:cubicBezTo>
                <a:cubicBezTo>
                  <a:pt x="14134" y="1792"/>
                  <a:pt x="14158" y="1843"/>
                  <a:pt x="14187" y="1843"/>
                </a:cubicBezTo>
                <a:close/>
                <a:moveTo>
                  <a:pt x="14035" y="1843"/>
                </a:moveTo>
                <a:cubicBezTo>
                  <a:pt x="14064" y="1843"/>
                  <a:pt x="14088" y="1792"/>
                  <a:pt x="14088" y="1730"/>
                </a:cubicBezTo>
                <a:cubicBezTo>
                  <a:pt x="14088" y="1667"/>
                  <a:pt x="14064" y="1617"/>
                  <a:pt x="14035" y="1617"/>
                </a:cubicBezTo>
                <a:cubicBezTo>
                  <a:pt x="14005" y="1617"/>
                  <a:pt x="13981" y="1667"/>
                  <a:pt x="13981" y="1730"/>
                </a:cubicBezTo>
                <a:cubicBezTo>
                  <a:pt x="13981" y="1792"/>
                  <a:pt x="14005" y="1843"/>
                  <a:pt x="14035" y="1843"/>
                </a:cubicBezTo>
                <a:close/>
                <a:moveTo>
                  <a:pt x="13879" y="1843"/>
                </a:moveTo>
                <a:cubicBezTo>
                  <a:pt x="13909" y="1843"/>
                  <a:pt x="13933" y="1792"/>
                  <a:pt x="13933" y="1730"/>
                </a:cubicBezTo>
                <a:cubicBezTo>
                  <a:pt x="13933" y="1667"/>
                  <a:pt x="13909" y="1617"/>
                  <a:pt x="13879" y="1617"/>
                </a:cubicBezTo>
                <a:cubicBezTo>
                  <a:pt x="13850" y="1617"/>
                  <a:pt x="13826" y="1667"/>
                  <a:pt x="13826" y="1730"/>
                </a:cubicBezTo>
                <a:cubicBezTo>
                  <a:pt x="13826" y="1792"/>
                  <a:pt x="13850" y="1843"/>
                  <a:pt x="13879" y="1843"/>
                </a:cubicBezTo>
                <a:close/>
                <a:moveTo>
                  <a:pt x="13725" y="1843"/>
                </a:moveTo>
                <a:cubicBezTo>
                  <a:pt x="13755" y="1843"/>
                  <a:pt x="13779" y="1792"/>
                  <a:pt x="13779" y="1730"/>
                </a:cubicBezTo>
                <a:cubicBezTo>
                  <a:pt x="13779" y="1667"/>
                  <a:pt x="13755" y="1617"/>
                  <a:pt x="13725" y="1617"/>
                </a:cubicBezTo>
                <a:cubicBezTo>
                  <a:pt x="13696" y="1617"/>
                  <a:pt x="13672" y="1667"/>
                  <a:pt x="13672" y="1730"/>
                </a:cubicBezTo>
                <a:cubicBezTo>
                  <a:pt x="13672" y="1792"/>
                  <a:pt x="13696" y="1843"/>
                  <a:pt x="13725" y="1843"/>
                </a:cubicBezTo>
                <a:close/>
                <a:moveTo>
                  <a:pt x="13573" y="1617"/>
                </a:moveTo>
                <a:cubicBezTo>
                  <a:pt x="13543" y="1617"/>
                  <a:pt x="13519" y="1667"/>
                  <a:pt x="13519" y="1730"/>
                </a:cubicBezTo>
                <a:cubicBezTo>
                  <a:pt x="13519" y="1792"/>
                  <a:pt x="13543" y="1843"/>
                  <a:pt x="13573" y="1843"/>
                </a:cubicBezTo>
                <a:cubicBezTo>
                  <a:pt x="13602" y="1843"/>
                  <a:pt x="13626" y="1792"/>
                  <a:pt x="13626" y="1730"/>
                </a:cubicBezTo>
                <a:cubicBezTo>
                  <a:pt x="13626" y="1667"/>
                  <a:pt x="13602" y="1617"/>
                  <a:pt x="13573" y="1617"/>
                </a:cubicBezTo>
                <a:close/>
                <a:moveTo>
                  <a:pt x="13569" y="5167"/>
                </a:moveTo>
                <a:cubicBezTo>
                  <a:pt x="13540" y="5167"/>
                  <a:pt x="13516" y="5217"/>
                  <a:pt x="13516" y="5280"/>
                </a:cubicBezTo>
                <a:cubicBezTo>
                  <a:pt x="13516" y="5342"/>
                  <a:pt x="13540" y="5393"/>
                  <a:pt x="13569" y="5393"/>
                </a:cubicBezTo>
                <a:cubicBezTo>
                  <a:pt x="13599" y="5393"/>
                  <a:pt x="13623" y="5342"/>
                  <a:pt x="13623" y="5280"/>
                </a:cubicBezTo>
                <a:cubicBezTo>
                  <a:pt x="13623" y="5217"/>
                  <a:pt x="13599" y="5167"/>
                  <a:pt x="13569" y="5167"/>
                </a:cubicBezTo>
                <a:close/>
                <a:moveTo>
                  <a:pt x="13569" y="4840"/>
                </a:moveTo>
                <a:cubicBezTo>
                  <a:pt x="13540" y="4840"/>
                  <a:pt x="13516" y="4890"/>
                  <a:pt x="13516" y="4953"/>
                </a:cubicBezTo>
                <a:cubicBezTo>
                  <a:pt x="13516" y="5015"/>
                  <a:pt x="13540" y="5066"/>
                  <a:pt x="13569" y="5066"/>
                </a:cubicBezTo>
                <a:cubicBezTo>
                  <a:pt x="13599" y="5066"/>
                  <a:pt x="13623" y="5015"/>
                  <a:pt x="13623" y="4953"/>
                </a:cubicBezTo>
                <a:cubicBezTo>
                  <a:pt x="13623" y="4890"/>
                  <a:pt x="13599" y="4840"/>
                  <a:pt x="13569" y="4840"/>
                </a:cubicBezTo>
                <a:close/>
                <a:moveTo>
                  <a:pt x="13415" y="5167"/>
                </a:moveTo>
                <a:cubicBezTo>
                  <a:pt x="13386" y="5167"/>
                  <a:pt x="13362" y="5217"/>
                  <a:pt x="13362" y="5280"/>
                </a:cubicBezTo>
                <a:cubicBezTo>
                  <a:pt x="13362" y="5342"/>
                  <a:pt x="13386" y="5393"/>
                  <a:pt x="13415" y="5393"/>
                </a:cubicBezTo>
                <a:cubicBezTo>
                  <a:pt x="13445" y="5393"/>
                  <a:pt x="13469" y="5342"/>
                  <a:pt x="13469" y="5280"/>
                </a:cubicBezTo>
                <a:cubicBezTo>
                  <a:pt x="13469" y="5217"/>
                  <a:pt x="13445" y="5167"/>
                  <a:pt x="13415" y="5167"/>
                </a:cubicBezTo>
                <a:close/>
                <a:moveTo>
                  <a:pt x="13415" y="4840"/>
                </a:moveTo>
                <a:cubicBezTo>
                  <a:pt x="13386" y="4840"/>
                  <a:pt x="13362" y="4890"/>
                  <a:pt x="13362" y="4953"/>
                </a:cubicBezTo>
                <a:cubicBezTo>
                  <a:pt x="13362" y="5015"/>
                  <a:pt x="13386" y="5066"/>
                  <a:pt x="13415" y="5066"/>
                </a:cubicBezTo>
                <a:cubicBezTo>
                  <a:pt x="13445" y="5066"/>
                  <a:pt x="13469" y="5015"/>
                  <a:pt x="13469" y="4953"/>
                </a:cubicBezTo>
                <a:cubicBezTo>
                  <a:pt x="13469" y="4890"/>
                  <a:pt x="13445" y="4840"/>
                  <a:pt x="13415" y="4840"/>
                </a:cubicBezTo>
                <a:close/>
                <a:moveTo>
                  <a:pt x="13263" y="5167"/>
                </a:moveTo>
                <a:cubicBezTo>
                  <a:pt x="13233" y="5167"/>
                  <a:pt x="13209" y="5217"/>
                  <a:pt x="13209" y="5280"/>
                </a:cubicBezTo>
                <a:cubicBezTo>
                  <a:pt x="13209" y="5342"/>
                  <a:pt x="13233" y="5393"/>
                  <a:pt x="13263" y="5393"/>
                </a:cubicBezTo>
                <a:cubicBezTo>
                  <a:pt x="13292" y="5393"/>
                  <a:pt x="13316" y="5342"/>
                  <a:pt x="13316" y="5280"/>
                </a:cubicBezTo>
                <a:cubicBezTo>
                  <a:pt x="13316" y="5217"/>
                  <a:pt x="13292" y="5167"/>
                  <a:pt x="13263" y="5167"/>
                </a:cubicBezTo>
                <a:close/>
                <a:moveTo>
                  <a:pt x="13263" y="4840"/>
                </a:moveTo>
                <a:cubicBezTo>
                  <a:pt x="13233" y="4840"/>
                  <a:pt x="13209" y="4890"/>
                  <a:pt x="13209" y="4953"/>
                </a:cubicBezTo>
                <a:cubicBezTo>
                  <a:pt x="13209" y="5015"/>
                  <a:pt x="13233" y="5066"/>
                  <a:pt x="13263" y="5066"/>
                </a:cubicBezTo>
                <a:cubicBezTo>
                  <a:pt x="13292" y="5066"/>
                  <a:pt x="13316" y="5015"/>
                  <a:pt x="13316" y="4953"/>
                </a:cubicBezTo>
                <a:cubicBezTo>
                  <a:pt x="13316" y="4890"/>
                  <a:pt x="13292" y="4840"/>
                  <a:pt x="13263" y="4840"/>
                </a:cubicBezTo>
                <a:close/>
                <a:moveTo>
                  <a:pt x="14343" y="5167"/>
                </a:moveTo>
                <a:cubicBezTo>
                  <a:pt x="14313" y="5167"/>
                  <a:pt x="14289" y="5217"/>
                  <a:pt x="14289" y="5280"/>
                </a:cubicBezTo>
                <a:cubicBezTo>
                  <a:pt x="14289" y="5342"/>
                  <a:pt x="14313" y="5393"/>
                  <a:pt x="14343" y="5393"/>
                </a:cubicBezTo>
                <a:cubicBezTo>
                  <a:pt x="14372" y="5393"/>
                  <a:pt x="14396" y="5342"/>
                  <a:pt x="14396" y="5280"/>
                </a:cubicBezTo>
                <a:cubicBezTo>
                  <a:pt x="14396" y="5217"/>
                  <a:pt x="14372" y="5167"/>
                  <a:pt x="14343" y="5167"/>
                </a:cubicBezTo>
                <a:close/>
                <a:moveTo>
                  <a:pt x="14343" y="4840"/>
                </a:moveTo>
                <a:cubicBezTo>
                  <a:pt x="14313" y="4840"/>
                  <a:pt x="14289" y="4890"/>
                  <a:pt x="14289" y="4953"/>
                </a:cubicBezTo>
                <a:cubicBezTo>
                  <a:pt x="14289" y="5015"/>
                  <a:pt x="14313" y="5066"/>
                  <a:pt x="14343" y="5066"/>
                </a:cubicBezTo>
                <a:cubicBezTo>
                  <a:pt x="14372" y="5066"/>
                  <a:pt x="14396" y="5015"/>
                  <a:pt x="14396" y="4953"/>
                </a:cubicBezTo>
                <a:cubicBezTo>
                  <a:pt x="14396" y="4890"/>
                  <a:pt x="14372" y="4840"/>
                  <a:pt x="14343" y="4840"/>
                </a:cubicBezTo>
                <a:close/>
                <a:moveTo>
                  <a:pt x="14190" y="5167"/>
                </a:moveTo>
                <a:cubicBezTo>
                  <a:pt x="14160" y="5167"/>
                  <a:pt x="14136" y="5217"/>
                  <a:pt x="14136" y="5280"/>
                </a:cubicBezTo>
                <a:cubicBezTo>
                  <a:pt x="14136" y="5342"/>
                  <a:pt x="14160" y="5393"/>
                  <a:pt x="14190" y="5393"/>
                </a:cubicBezTo>
                <a:cubicBezTo>
                  <a:pt x="14220" y="5393"/>
                  <a:pt x="14244" y="5342"/>
                  <a:pt x="14244" y="5280"/>
                </a:cubicBezTo>
                <a:cubicBezTo>
                  <a:pt x="14244" y="5217"/>
                  <a:pt x="14220" y="5167"/>
                  <a:pt x="14190" y="5167"/>
                </a:cubicBezTo>
                <a:close/>
                <a:moveTo>
                  <a:pt x="14190" y="4840"/>
                </a:moveTo>
                <a:cubicBezTo>
                  <a:pt x="14160" y="4840"/>
                  <a:pt x="14136" y="4890"/>
                  <a:pt x="14136" y="4953"/>
                </a:cubicBezTo>
                <a:cubicBezTo>
                  <a:pt x="14136" y="5015"/>
                  <a:pt x="14160" y="5066"/>
                  <a:pt x="14190" y="5066"/>
                </a:cubicBezTo>
                <a:cubicBezTo>
                  <a:pt x="14220" y="5066"/>
                  <a:pt x="14244" y="5015"/>
                  <a:pt x="14244" y="4953"/>
                </a:cubicBezTo>
                <a:cubicBezTo>
                  <a:pt x="14244" y="4890"/>
                  <a:pt x="14220" y="4840"/>
                  <a:pt x="14190" y="4840"/>
                </a:cubicBezTo>
                <a:close/>
                <a:moveTo>
                  <a:pt x="14035" y="5393"/>
                </a:moveTo>
                <a:cubicBezTo>
                  <a:pt x="14064" y="5393"/>
                  <a:pt x="14088" y="5342"/>
                  <a:pt x="14088" y="5280"/>
                </a:cubicBezTo>
                <a:cubicBezTo>
                  <a:pt x="14088" y="5217"/>
                  <a:pt x="14064" y="5167"/>
                  <a:pt x="14035" y="5167"/>
                </a:cubicBezTo>
                <a:cubicBezTo>
                  <a:pt x="14005" y="5167"/>
                  <a:pt x="13981" y="5217"/>
                  <a:pt x="13981" y="5280"/>
                </a:cubicBezTo>
                <a:cubicBezTo>
                  <a:pt x="13981" y="5342"/>
                  <a:pt x="14005" y="5393"/>
                  <a:pt x="14035" y="5393"/>
                </a:cubicBezTo>
                <a:close/>
                <a:moveTo>
                  <a:pt x="14035" y="5066"/>
                </a:moveTo>
                <a:cubicBezTo>
                  <a:pt x="14064" y="5066"/>
                  <a:pt x="14088" y="5015"/>
                  <a:pt x="14088" y="4953"/>
                </a:cubicBezTo>
                <a:cubicBezTo>
                  <a:pt x="14088" y="4890"/>
                  <a:pt x="14064" y="4840"/>
                  <a:pt x="14035" y="4840"/>
                </a:cubicBezTo>
                <a:cubicBezTo>
                  <a:pt x="14005" y="4840"/>
                  <a:pt x="13981" y="4890"/>
                  <a:pt x="13981" y="4953"/>
                </a:cubicBezTo>
                <a:cubicBezTo>
                  <a:pt x="13981" y="5015"/>
                  <a:pt x="14005" y="5066"/>
                  <a:pt x="14035" y="5066"/>
                </a:cubicBezTo>
                <a:close/>
                <a:moveTo>
                  <a:pt x="13881" y="5167"/>
                </a:moveTo>
                <a:cubicBezTo>
                  <a:pt x="13851" y="5167"/>
                  <a:pt x="13827" y="5217"/>
                  <a:pt x="13827" y="5280"/>
                </a:cubicBezTo>
                <a:cubicBezTo>
                  <a:pt x="13827" y="5342"/>
                  <a:pt x="13851" y="5393"/>
                  <a:pt x="13881" y="5393"/>
                </a:cubicBezTo>
                <a:cubicBezTo>
                  <a:pt x="13910" y="5393"/>
                  <a:pt x="13934" y="5342"/>
                  <a:pt x="13934" y="5280"/>
                </a:cubicBezTo>
                <a:cubicBezTo>
                  <a:pt x="13934" y="5217"/>
                  <a:pt x="13910" y="5167"/>
                  <a:pt x="13881" y="5167"/>
                </a:cubicBezTo>
                <a:close/>
                <a:moveTo>
                  <a:pt x="13881" y="4840"/>
                </a:moveTo>
                <a:cubicBezTo>
                  <a:pt x="13851" y="4840"/>
                  <a:pt x="13827" y="4890"/>
                  <a:pt x="13827" y="4953"/>
                </a:cubicBezTo>
                <a:cubicBezTo>
                  <a:pt x="13827" y="5015"/>
                  <a:pt x="13851" y="5066"/>
                  <a:pt x="13881" y="5066"/>
                </a:cubicBezTo>
                <a:cubicBezTo>
                  <a:pt x="13910" y="5066"/>
                  <a:pt x="13934" y="5015"/>
                  <a:pt x="13934" y="4953"/>
                </a:cubicBezTo>
                <a:cubicBezTo>
                  <a:pt x="13934" y="4890"/>
                  <a:pt x="13910" y="4840"/>
                  <a:pt x="13881" y="4840"/>
                </a:cubicBezTo>
                <a:close/>
                <a:moveTo>
                  <a:pt x="13728" y="5167"/>
                </a:moveTo>
                <a:cubicBezTo>
                  <a:pt x="13698" y="5167"/>
                  <a:pt x="13674" y="5217"/>
                  <a:pt x="13674" y="5280"/>
                </a:cubicBezTo>
                <a:cubicBezTo>
                  <a:pt x="13674" y="5342"/>
                  <a:pt x="13698" y="5393"/>
                  <a:pt x="13728" y="5393"/>
                </a:cubicBezTo>
                <a:cubicBezTo>
                  <a:pt x="13758" y="5393"/>
                  <a:pt x="13782" y="5342"/>
                  <a:pt x="13782" y="5280"/>
                </a:cubicBezTo>
                <a:cubicBezTo>
                  <a:pt x="13782" y="5217"/>
                  <a:pt x="13758" y="5167"/>
                  <a:pt x="13728" y="5167"/>
                </a:cubicBezTo>
                <a:close/>
                <a:moveTo>
                  <a:pt x="13728" y="4840"/>
                </a:moveTo>
                <a:cubicBezTo>
                  <a:pt x="13698" y="4840"/>
                  <a:pt x="13674" y="4890"/>
                  <a:pt x="13674" y="4953"/>
                </a:cubicBezTo>
                <a:cubicBezTo>
                  <a:pt x="13674" y="5015"/>
                  <a:pt x="13698" y="5066"/>
                  <a:pt x="13728" y="5066"/>
                </a:cubicBezTo>
                <a:cubicBezTo>
                  <a:pt x="13758" y="5066"/>
                  <a:pt x="13782" y="5015"/>
                  <a:pt x="13782" y="4953"/>
                </a:cubicBezTo>
                <a:cubicBezTo>
                  <a:pt x="13782" y="4890"/>
                  <a:pt x="13758" y="4840"/>
                  <a:pt x="13728" y="4840"/>
                </a:cubicBezTo>
                <a:close/>
                <a:moveTo>
                  <a:pt x="15111" y="5167"/>
                </a:moveTo>
                <a:cubicBezTo>
                  <a:pt x="15081" y="5167"/>
                  <a:pt x="15057" y="5217"/>
                  <a:pt x="15057" y="5280"/>
                </a:cubicBezTo>
                <a:cubicBezTo>
                  <a:pt x="15057" y="5342"/>
                  <a:pt x="15081" y="5393"/>
                  <a:pt x="15111" y="5393"/>
                </a:cubicBezTo>
                <a:cubicBezTo>
                  <a:pt x="15140" y="5393"/>
                  <a:pt x="15165" y="5342"/>
                  <a:pt x="15165" y="5280"/>
                </a:cubicBezTo>
                <a:cubicBezTo>
                  <a:pt x="15165" y="5217"/>
                  <a:pt x="15140" y="5167"/>
                  <a:pt x="15111" y="5167"/>
                </a:cubicBezTo>
                <a:close/>
                <a:moveTo>
                  <a:pt x="15111" y="4840"/>
                </a:moveTo>
                <a:cubicBezTo>
                  <a:pt x="15081" y="4840"/>
                  <a:pt x="15057" y="4890"/>
                  <a:pt x="15057" y="4953"/>
                </a:cubicBezTo>
                <a:cubicBezTo>
                  <a:pt x="15057" y="5015"/>
                  <a:pt x="15081" y="5066"/>
                  <a:pt x="15111" y="5066"/>
                </a:cubicBezTo>
                <a:cubicBezTo>
                  <a:pt x="15140" y="5066"/>
                  <a:pt x="15165" y="5015"/>
                  <a:pt x="15165" y="4953"/>
                </a:cubicBezTo>
                <a:cubicBezTo>
                  <a:pt x="15165" y="4890"/>
                  <a:pt x="15140" y="4840"/>
                  <a:pt x="15111" y="4840"/>
                </a:cubicBezTo>
                <a:close/>
                <a:moveTo>
                  <a:pt x="14958" y="5167"/>
                </a:moveTo>
                <a:cubicBezTo>
                  <a:pt x="14928" y="5167"/>
                  <a:pt x="14904" y="5217"/>
                  <a:pt x="14904" y="5280"/>
                </a:cubicBezTo>
                <a:cubicBezTo>
                  <a:pt x="14904" y="5342"/>
                  <a:pt x="14928" y="5393"/>
                  <a:pt x="14958" y="5393"/>
                </a:cubicBezTo>
                <a:cubicBezTo>
                  <a:pt x="14988" y="5393"/>
                  <a:pt x="15012" y="5342"/>
                  <a:pt x="15012" y="5280"/>
                </a:cubicBezTo>
                <a:cubicBezTo>
                  <a:pt x="15012" y="5217"/>
                  <a:pt x="14988" y="5167"/>
                  <a:pt x="14958" y="5167"/>
                </a:cubicBezTo>
                <a:close/>
                <a:moveTo>
                  <a:pt x="14958" y="4840"/>
                </a:moveTo>
                <a:cubicBezTo>
                  <a:pt x="14928" y="4840"/>
                  <a:pt x="14904" y="4890"/>
                  <a:pt x="14904" y="4953"/>
                </a:cubicBezTo>
                <a:cubicBezTo>
                  <a:pt x="14904" y="5015"/>
                  <a:pt x="14928" y="5066"/>
                  <a:pt x="14958" y="5066"/>
                </a:cubicBezTo>
                <a:cubicBezTo>
                  <a:pt x="14988" y="5066"/>
                  <a:pt x="15012" y="5015"/>
                  <a:pt x="15012" y="4953"/>
                </a:cubicBezTo>
                <a:cubicBezTo>
                  <a:pt x="15012" y="4890"/>
                  <a:pt x="14988" y="4840"/>
                  <a:pt x="14958" y="4840"/>
                </a:cubicBezTo>
                <a:close/>
                <a:moveTo>
                  <a:pt x="14803" y="5167"/>
                </a:moveTo>
                <a:cubicBezTo>
                  <a:pt x="14773" y="5167"/>
                  <a:pt x="14749" y="5217"/>
                  <a:pt x="14749" y="5280"/>
                </a:cubicBezTo>
                <a:cubicBezTo>
                  <a:pt x="14749" y="5342"/>
                  <a:pt x="14773" y="5393"/>
                  <a:pt x="14803" y="5393"/>
                </a:cubicBezTo>
                <a:cubicBezTo>
                  <a:pt x="14832" y="5393"/>
                  <a:pt x="14857" y="5342"/>
                  <a:pt x="14857" y="5280"/>
                </a:cubicBezTo>
                <a:cubicBezTo>
                  <a:pt x="14857" y="5217"/>
                  <a:pt x="14832" y="5167"/>
                  <a:pt x="14803" y="5167"/>
                </a:cubicBezTo>
                <a:close/>
                <a:moveTo>
                  <a:pt x="14803" y="4840"/>
                </a:moveTo>
                <a:cubicBezTo>
                  <a:pt x="14773" y="4840"/>
                  <a:pt x="14749" y="4890"/>
                  <a:pt x="14749" y="4953"/>
                </a:cubicBezTo>
                <a:cubicBezTo>
                  <a:pt x="14749" y="5015"/>
                  <a:pt x="14773" y="5066"/>
                  <a:pt x="14803" y="5066"/>
                </a:cubicBezTo>
                <a:cubicBezTo>
                  <a:pt x="14832" y="5066"/>
                  <a:pt x="14857" y="5015"/>
                  <a:pt x="14857" y="4953"/>
                </a:cubicBezTo>
                <a:cubicBezTo>
                  <a:pt x="14857" y="4890"/>
                  <a:pt x="14832" y="4840"/>
                  <a:pt x="14803" y="4840"/>
                </a:cubicBezTo>
                <a:close/>
                <a:moveTo>
                  <a:pt x="14649" y="5167"/>
                </a:moveTo>
                <a:cubicBezTo>
                  <a:pt x="14619" y="5167"/>
                  <a:pt x="14595" y="5217"/>
                  <a:pt x="14595" y="5280"/>
                </a:cubicBezTo>
                <a:cubicBezTo>
                  <a:pt x="14595" y="5342"/>
                  <a:pt x="14619" y="5393"/>
                  <a:pt x="14649" y="5393"/>
                </a:cubicBezTo>
                <a:cubicBezTo>
                  <a:pt x="14678" y="5393"/>
                  <a:pt x="14703" y="5342"/>
                  <a:pt x="14703" y="5280"/>
                </a:cubicBezTo>
                <a:cubicBezTo>
                  <a:pt x="14703" y="5217"/>
                  <a:pt x="14678" y="5167"/>
                  <a:pt x="14649" y="5167"/>
                </a:cubicBezTo>
                <a:close/>
                <a:moveTo>
                  <a:pt x="14649" y="4840"/>
                </a:moveTo>
                <a:cubicBezTo>
                  <a:pt x="14619" y="4840"/>
                  <a:pt x="14595" y="4890"/>
                  <a:pt x="14595" y="4953"/>
                </a:cubicBezTo>
                <a:cubicBezTo>
                  <a:pt x="14595" y="5015"/>
                  <a:pt x="14619" y="5066"/>
                  <a:pt x="14649" y="5066"/>
                </a:cubicBezTo>
                <a:cubicBezTo>
                  <a:pt x="14678" y="5066"/>
                  <a:pt x="14703" y="5015"/>
                  <a:pt x="14703" y="4953"/>
                </a:cubicBezTo>
                <a:cubicBezTo>
                  <a:pt x="14703" y="4890"/>
                  <a:pt x="14678" y="4840"/>
                  <a:pt x="14649" y="4840"/>
                </a:cubicBezTo>
                <a:close/>
                <a:moveTo>
                  <a:pt x="14496" y="5167"/>
                </a:moveTo>
                <a:cubicBezTo>
                  <a:pt x="14466" y="5167"/>
                  <a:pt x="14442" y="5217"/>
                  <a:pt x="14442" y="5280"/>
                </a:cubicBezTo>
                <a:cubicBezTo>
                  <a:pt x="14442" y="5342"/>
                  <a:pt x="14466" y="5393"/>
                  <a:pt x="14496" y="5393"/>
                </a:cubicBezTo>
                <a:cubicBezTo>
                  <a:pt x="14526" y="5393"/>
                  <a:pt x="14550" y="5342"/>
                  <a:pt x="14550" y="5280"/>
                </a:cubicBezTo>
                <a:cubicBezTo>
                  <a:pt x="14550" y="5217"/>
                  <a:pt x="14526" y="5167"/>
                  <a:pt x="14496" y="5167"/>
                </a:cubicBezTo>
                <a:close/>
                <a:moveTo>
                  <a:pt x="14496" y="4840"/>
                </a:moveTo>
                <a:cubicBezTo>
                  <a:pt x="14466" y="4840"/>
                  <a:pt x="14442" y="4890"/>
                  <a:pt x="14442" y="4953"/>
                </a:cubicBezTo>
                <a:cubicBezTo>
                  <a:pt x="14442" y="5015"/>
                  <a:pt x="14466" y="5066"/>
                  <a:pt x="14496" y="5066"/>
                </a:cubicBezTo>
                <a:cubicBezTo>
                  <a:pt x="14526" y="5066"/>
                  <a:pt x="14550" y="5015"/>
                  <a:pt x="14550" y="4953"/>
                </a:cubicBezTo>
                <a:cubicBezTo>
                  <a:pt x="14550" y="4890"/>
                  <a:pt x="14526" y="4840"/>
                  <a:pt x="14496" y="4840"/>
                </a:cubicBezTo>
                <a:close/>
                <a:moveTo>
                  <a:pt x="15726" y="5834"/>
                </a:moveTo>
                <a:cubicBezTo>
                  <a:pt x="15697" y="5834"/>
                  <a:pt x="15673" y="5885"/>
                  <a:pt x="15673" y="5947"/>
                </a:cubicBezTo>
                <a:cubicBezTo>
                  <a:pt x="15673" y="6010"/>
                  <a:pt x="15697" y="6060"/>
                  <a:pt x="15726" y="6060"/>
                </a:cubicBezTo>
                <a:cubicBezTo>
                  <a:pt x="15756" y="6060"/>
                  <a:pt x="15780" y="6010"/>
                  <a:pt x="15780" y="5947"/>
                </a:cubicBezTo>
                <a:cubicBezTo>
                  <a:pt x="15780" y="5885"/>
                  <a:pt x="15756" y="5834"/>
                  <a:pt x="15726" y="5834"/>
                </a:cubicBezTo>
                <a:close/>
                <a:moveTo>
                  <a:pt x="15726" y="5507"/>
                </a:moveTo>
                <a:cubicBezTo>
                  <a:pt x="15697" y="5507"/>
                  <a:pt x="15673" y="5558"/>
                  <a:pt x="15673" y="5620"/>
                </a:cubicBezTo>
                <a:cubicBezTo>
                  <a:pt x="15673" y="5683"/>
                  <a:pt x="15697" y="5733"/>
                  <a:pt x="15726" y="5733"/>
                </a:cubicBezTo>
                <a:cubicBezTo>
                  <a:pt x="15756" y="5733"/>
                  <a:pt x="15780" y="5683"/>
                  <a:pt x="15780" y="5620"/>
                </a:cubicBezTo>
                <a:cubicBezTo>
                  <a:pt x="15780" y="5558"/>
                  <a:pt x="15756" y="5507"/>
                  <a:pt x="15726" y="5507"/>
                </a:cubicBezTo>
                <a:close/>
                <a:moveTo>
                  <a:pt x="15571" y="5834"/>
                </a:moveTo>
                <a:cubicBezTo>
                  <a:pt x="15541" y="5834"/>
                  <a:pt x="15517" y="5885"/>
                  <a:pt x="15517" y="5947"/>
                </a:cubicBezTo>
                <a:cubicBezTo>
                  <a:pt x="15517" y="6010"/>
                  <a:pt x="15541" y="6060"/>
                  <a:pt x="15571" y="6060"/>
                </a:cubicBezTo>
                <a:cubicBezTo>
                  <a:pt x="15601" y="6060"/>
                  <a:pt x="15625" y="6010"/>
                  <a:pt x="15625" y="5947"/>
                </a:cubicBezTo>
                <a:cubicBezTo>
                  <a:pt x="15625" y="5885"/>
                  <a:pt x="15601" y="5834"/>
                  <a:pt x="15571" y="5834"/>
                </a:cubicBezTo>
                <a:close/>
                <a:moveTo>
                  <a:pt x="15571" y="5507"/>
                </a:moveTo>
                <a:cubicBezTo>
                  <a:pt x="15541" y="5507"/>
                  <a:pt x="15517" y="5558"/>
                  <a:pt x="15517" y="5620"/>
                </a:cubicBezTo>
                <a:cubicBezTo>
                  <a:pt x="15517" y="5683"/>
                  <a:pt x="15541" y="5733"/>
                  <a:pt x="15571" y="5733"/>
                </a:cubicBezTo>
                <a:cubicBezTo>
                  <a:pt x="15601" y="5733"/>
                  <a:pt x="15625" y="5683"/>
                  <a:pt x="15625" y="5620"/>
                </a:cubicBezTo>
                <a:cubicBezTo>
                  <a:pt x="15625" y="5558"/>
                  <a:pt x="15601" y="5507"/>
                  <a:pt x="15571" y="5507"/>
                </a:cubicBezTo>
                <a:close/>
                <a:moveTo>
                  <a:pt x="15417" y="5834"/>
                </a:moveTo>
                <a:cubicBezTo>
                  <a:pt x="15387" y="5834"/>
                  <a:pt x="15363" y="5885"/>
                  <a:pt x="15363" y="5947"/>
                </a:cubicBezTo>
                <a:cubicBezTo>
                  <a:pt x="15363" y="6010"/>
                  <a:pt x="15387" y="6060"/>
                  <a:pt x="15417" y="6060"/>
                </a:cubicBezTo>
                <a:cubicBezTo>
                  <a:pt x="15447" y="6060"/>
                  <a:pt x="15471" y="6010"/>
                  <a:pt x="15471" y="5947"/>
                </a:cubicBezTo>
                <a:cubicBezTo>
                  <a:pt x="15471" y="5885"/>
                  <a:pt x="15447" y="5834"/>
                  <a:pt x="15417" y="5834"/>
                </a:cubicBezTo>
                <a:close/>
                <a:moveTo>
                  <a:pt x="15417" y="5507"/>
                </a:moveTo>
                <a:cubicBezTo>
                  <a:pt x="15387" y="5507"/>
                  <a:pt x="15363" y="5558"/>
                  <a:pt x="15363" y="5620"/>
                </a:cubicBezTo>
                <a:cubicBezTo>
                  <a:pt x="15363" y="5683"/>
                  <a:pt x="15387" y="5733"/>
                  <a:pt x="15417" y="5733"/>
                </a:cubicBezTo>
                <a:cubicBezTo>
                  <a:pt x="15447" y="5733"/>
                  <a:pt x="15471" y="5683"/>
                  <a:pt x="15471" y="5620"/>
                </a:cubicBezTo>
                <a:cubicBezTo>
                  <a:pt x="15471" y="5558"/>
                  <a:pt x="15447" y="5507"/>
                  <a:pt x="15417" y="5507"/>
                </a:cubicBezTo>
                <a:close/>
                <a:moveTo>
                  <a:pt x="15264" y="5834"/>
                </a:moveTo>
                <a:cubicBezTo>
                  <a:pt x="15235" y="5834"/>
                  <a:pt x="15211" y="5885"/>
                  <a:pt x="15211" y="5947"/>
                </a:cubicBezTo>
                <a:cubicBezTo>
                  <a:pt x="15211" y="6010"/>
                  <a:pt x="15235" y="6060"/>
                  <a:pt x="15264" y="6060"/>
                </a:cubicBezTo>
                <a:cubicBezTo>
                  <a:pt x="15294" y="6060"/>
                  <a:pt x="15318" y="6010"/>
                  <a:pt x="15318" y="5947"/>
                </a:cubicBezTo>
                <a:cubicBezTo>
                  <a:pt x="15318" y="5885"/>
                  <a:pt x="15294" y="5834"/>
                  <a:pt x="15264" y="5834"/>
                </a:cubicBezTo>
                <a:close/>
                <a:moveTo>
                  <a:pt x="15264" y="5507"/>
                </a:moveTo>
                <a:cubicBezTo>
                  <a:pt x="15235" y="5507"/>
                  <a:pt x="15211" y="5558"/>
                  <a:pt x="15211" y="5620"/>
                </a:cubicBezTo>
                <a:cubicBezTo>
                  <a:pt x="15211" y="5683"/>
                  <a:pt x="15235" y="5733"/>
                  <a:pt x="15264" y="5733"/>
                </a:cubicBezTo>
                <a:cubicBezTo>
                  <a:pt x="15294" y="5733"/>
                  <a:pt x="15318" y="5683"/>
                  <a:pt x="15318" y="5620"/>
                </a:cubicBezTo>
                <a:cubicBezTo>
                  <a:pt x="15318" y="5558"/>
                  <a:pt x="15294" y="5507"/>
                  <a:pt x="15264" y="5507"/>
                </a:cubicBezTo>
                <a:close/>
                <a:moveTo>
                  <a:pt x="12350" y="5834"/>
                </a:moveTo>
                <a:cubicBezTo>
                  <a:pt x="12320" y="5834"/>
                  <a:pt x="12296" y="5885"/>
                  <a:pt x="12296" y="5947"/>
                </a:cubicBezTo>
                <a:cubicBezTo>
                  <a:pt x="12296" y="6010"/>
                  <a:pt x="12320" y="6060"/>
                  <a:pt x="12350" y="6060"/>
                </a:cubicBezTo>
                <a:cubicBezTo>
                  <a:pt x="12380" y="6060"/>
                  <a:pt x="12404" y="6010"/>
                  <a:pt x="12404" y="5947"/>
                </a:cubicBezTo>
                <a:cubicBezTo>
                  <a:pt x="12404" y="5885"/>
                  <a:pt x="12380" y="5834"/>
                  <a:pt x="12350" y="5834"/>
                </a:cubicBezTo>
                <a:close/>
                <a:moveTo>
                  <a:pt x="12350" y="5507"/>
                </a:moveTo>
                <a:cubicBezTo>
                  <a:pt x="12320" y="5507"/>
                  <a:pt x="12296" y="5558"/>
                  <a:pt x="12296" y="5620"/>
                </a:cubicBezTo>
                <a:cubicBezTo>
                  <a:pt x="12296" y="5683"/>
                  <a:pt x="12320" y="5733"/>
                  <a:pt x="12350" y="5733"/>
                </a:cubicBezTo>
                <a:cubicBezTo>
                  <a:pt x="12380" y="5733"/>
                  <a:pt x="12404" y="5683"/>
                  <a:pt x="12404" y="5620"/>
                </a:cubicBezTo>
                <a:cubicBezTo>
                  <a:pt x="12404" y="5558"/>
                  <a:pt x="12380" y="5507"/>
                  <a:pt x="12350" y="5507"/>
                </a:cubicBezTo>
                <a:close/>
                <a:moveTo>
                  <a:pt x="13109" y="6060"/>
                </a:moveTo>
                <a:cubicBezTo>
                  <a:pt x="13139" y="6060"/>
                  <a:pt x="13163" y="6010"/>
                  <a:pt x="13163" y="5947"/>
                </a:cubicBezTo>
                <a:cubicBezTo>
                  <a:pt x="13163" y="5885"/>
                  <a:pt x="13139" y="5834"/>
                  <a:pt x="13109" y="5834"/>
                </a:cubicBezTo>
                <a:cubicBezTo>
                  <a:pt x="13079" y="5834"/>
                  <a:pt x="13055" y="5885"/>
                  <a:pt x="13055" y="5947"/>
                </a:cubicBezTo>
                <a:cubicBezTo>
                  <a:pt x="13055" y="6010"/>
                  <a:pt x="13079" y="6060"/>
                  <a:pt x="13109" y="6060"/>
                </a:cubicBezTo>
                <a:close/>
                <a:moveTo>
                  <a:pt x="13109" y="5733"/>
                </a:moveTo>
                <a:cubicBezTo>
                  <a:pt x="13139" y="5733"/>
                  <a:pt x="13163" y="5683"/>
                  <a:pt x="13163" y="5620"/>
                </a:cubicBezTo>
                <a:cubicBezTo>
                  <a:pt x="13163" y="5558"/>
                  <a:pt x="13139" y="5507"/>
                  <a:pt x="13109" y="5507"/>
                </a:cubicBezTo>
                <a:cubicBezTo>
                  <a:pt x="13079" y="5507"/>
                  <a:pt x="13055" y="5558"/>
                  <a:pt x="13055" y="5620"/>
                </a:cubicBezTo>
                <a:cubicBezTo>
                  <a:pt x="13055" y="5683"/>
                  <a:pt x="13079" y="5733"/>
                  <a:pt x="13109" y="5733"/>
                </a:cubicBezTo>
                <a:close/>
                <a:moveTo>
                  <a:pt x="12956" y="6060"/>
                </a:moveTo>
                <a:cubicBezTo>
                  <a:pt x="12986" y="6060"/>
                  <a:pt x="13010" y="6010"/>
                  <a:pt x="13010" y="5947"/>
                </a:cubicBezTo>
                <a:cubicBezTo>
                  <a:pt x="13010" y="5885"/>
                  <a:pt x="12986" y="5834"/>
                  <a:pt x="12956" y="5834"/>
                </a:cubicBezTo>
                <a:cubicBezTo>
                  <a:pt x="12927" y="5834"/>
                  <a:pt x="12903" y="5885"/>
                  <a:pt x="12903" y="5947"/>
                </a:cubicBezTo>
                <a:cubicBezTo>
                  <a:pt x="12903" y="6010"/>
                  <a:pt x="12927" y="6060"/>
                  <a:pt x="12956" y="6060"/>
                </a:cubicBezTo>
                <a:close/>
                <a:moveTo>
                  <a:pt x="12956" y="5733"/>
                </a:moveTo>
                <a:cubicBezTo>
                  <a:pt x="12986" y="5733"/>
                  <a:pt x="13010" y="5683"/>
                  <a:pt x="13010" y="5620"/>
                </a:cubicBezTo>
                <a:cubicBezTo>
                  <a:pt x="13010" y="5558"/>
                  <a:pt x="12986" y="5507"/>
                  <a:pt x="12956" y="5507"/>
                </a:cubicBezTo>
                <a:cubicBezTo>
                  <a:pt x="12927" y="5507"/>
                  <a:pt x="12903" y="5558"/>
                  <a:pt x="12903" y="5620"/>
                </a:cubicBezTo>
                <a:cubicBezTo>
                  <a:pt x="12903" y="5683"/>
                  <a:pt x="12927" y="5733"/>
                  <a:pt x="12956" y="5733"/>
                </a:cubicBezTo>
                <a:close/>
                <a:moveTo>
                  <a:pt x="12801" y="5834"/>
                </a:moveTo>
                <a:cubicBezTo>
                  <a:pt x="12771" y="5834"/>
                  <a:pt x="12747" y="5885"/>
                  <a:pt x="12747" y="5947"/>
                </a:cubicBezTo>
                <a:cubicBezTo>
                  <a:pt x="12747" y="6010"/>
                  <a:pt x="12771" y="6060"/>
                  <a:pt x="12801" y="6060"/>
                </a:cubicBezTo>
                <a:cubicBezTo>
                  <a:pt x="12831" y="6060"/>
                  <a:pt x="12855" y="6010"/>
                  <a:pt x="12855" y="5947"/>
                </a:cubicBezTo>
                <a:cubicBezTo>
                  <a:pt x="12855" y="5885"/>
                  <a:pt x="12831" y="5834"/>
                  <a:pt x="12801" y="5834"/>
                </a:cubicBezTo>
                <a:close/>
                <a:moveTo>
                  <a:pt x="12801" y="5507"/>
                </a:moveTo>
                <a:cubicBezTo>
                  <a:pt x="12771" y="5507"/>
                  <a:pt x="12747" y="5558"/>
                  <a:pt x="12747" y="5620"/>
                </a:cubicBezTo>
                <a:cubicBezTo>
                  <a:pt x="12747" y="5683"/>
                  <a:pt x="12771" y="5733"/>
                  <a:pt x="12801" y="5733"/>
                </a:cubicBezTo>
                <a:cubicBezTo>
                  <a:pt x="12831" y="5733"/>
                  <a:pt x="12855" y="5683"/>
                  <a:pt x="12855" y="5620"/>
                </a:cubicBezTo>
                <a:cubicBezTo>
                  <a:pt x="12855" y="5558"/>
                  <a:pt x="12831" y="5507"/>
                  <a:pt x="12801" y="5507"/>
                </a:cubicBezTo>
                <a:close/>
                <a:moveTo>
                  <a:pt x="12647" y="6060"/>
                </a:moveTo>
                <a:cubicBezTo>
                  <a:pt x="12677" y="6060"/>
                  <a:pt x="12701" y="6010"/>
                  <a:pt x="12701" y="5947"/>
                </a:cubicBezTo>
                <a:cubicBezTo>
                  <a:pt x="12701" y="5885"/>
                  <a:pt x="12677" y="5834"/>
                  <a:pt x="12647" y="5834"/>
                </a:cubicBezTo>
                <a:cubicBezTo>
                  <a:pt x="12617" y="5834"/>
                  <a:pt x="12593" y="5885"/>
                  <a:pt x="12593" y="5947"/>
                </a:cubicBezTo>
                <a:cubicBezTo>
                  <a:pt x="12593" y="6010"/>
                  <a:pt x="12617" y="6060"/>
                  <a:pt x="12647" y="6060"/>
                </a:cubicBezTo>
                <a:close/>
                <a:moveTo>
                  <a:pt x="12647" y="5733"/>
                </a:moveTo>
                <a:cubicBezTo>
                  <a:pt x="12677" y="5733"/>
                  <a:pt x="12701" y="5683"/>
                  <a:pt x="12701" y="5620"/>
                </a:cubicBezTo>
                <a:cubicBezTo>
                  <a:pt x="12701" y="5558"/>
                  <a:pt x="12677" y="5507"/>
                  <a:pt x="12647" y="5507"/>
                </a:cubicBezTo>
                <a:cubicBezTo>
                  <a:pt x="12617" y="5507"/>
                  <a:pt x="12593" y="5558"/>
                  <a:pt x="12593" y="5620"/>
                </a:cubicBezTo>
                <a:cubicBezTo>
                  <a:pt x="12593" y="5683"/>
                  <a:pt x="12617" y="5733"/>
                  <a:pt x="12647" y="5733"/>
                </a:cubicBezTo>
                <a:close/>
                <a:moveTo>
                  <a:pt x="12495" y="8663"/>
                </a:moveTo>
                <a:cubicBezTo>
                  <a:pt x="12524" y="8663"/>
                  <a:pt x="12548" y="8613"/>
                  <a:pt x="12548" y="8550"/>
                </a:cubicBezTo>
                <a:cubicBezTo>
                  <a:pt x="12548" y="8488"/>
                  <a:pt x="12524" y="8437"/>
                  <a:pt x="12495" y="8437"/>
                </a:cubicBezTo>
                <a:cubicBezTo>
                  <a:pt x="12465" y="8437"/>
                  <a:pt x="12441" y="8488"/>
                  <a:pt x="12441" y="8550"/>
                </a:cubicBezTo>
                <a:cubicBezTo>
                  <a:pt x="12441" y="8613"/>
                  <a:pt x="12465" y="8663"/>
                  <a:pt x="12495" y="8663"/>
                </a:cubicBezTo>
                <a:close/>
                <a:moveTo>
                  <a:pt x="12495" y="10265"/>
                </a:moveTo>
                <a:cubicBezTo>
                  <a:pt x="12524" y="10265"/>
                  <a:pt x="12548" y="10214"/>
                  <a:pt x="12548" y="10151"/>
                </a:cubicBezTo>
                <a:cubicBezTo>
                  <a:pt x="12548" y="10089"/>
                  <a:pt x="12524" y="10038"/>
                  <a:pt x="12495" y="10038"/>
                </a:cubicBezTo>
                <a:cubicBezTo>
                  <a:pt x="12465" y="10038"/>
                  <a:pt x="12441" y="10089"/>
                  <a:pt x="12441" y="10151"/>
                </a:cubicBezTo>
                <a:cubicBezTo>
                  <a:pt x="12441" y="10214"/>
                  <a:pt x="12465" y="10265"/>
                  <a:pt x="12495" y="10265"/>
                </a:cubicBezTo>
                <a:close/>
                <a:moveTo>
                  <a:pt x="12495" y="9955"/>
                </a:moveTo>
                <a:cubicBezTo>
                  <a:pt x="12524" y="9955"/>
                  <a:pt x="12548" y="9904"/>
                  <a:pt x="12548" y="9842"/>
                </a:cubicBezTo>
                <a:cubicBezTo>
                  <a:pt x="12548" y="9779"/>
                  <a:pt x="12524" y="9728"/>
                  <a:pt x="12495" y="9728"/>
                </a:cubicBezTo>
                <a:cubicBezTo>
                  <a:pt x="12465" y="9728"/>
                  <a:pt x="12441" y="9779"/>
                  <a:pt x="12441" y="9842"/>
                </a:cubicBezTo>
                <a:cubicBezTo>
                  <a:pt x="12441" y="9904"/>
                  <a:pt x="12465" y="9955"/>
                  <a:pt x="12495" y="9955"/>
                </a:cubicBezTo>
                <a:close/>
                <a:moveTo>
                  <a:pt x="12495" y="9628"/>
                </a:moveTo>
                <a:cubicBezTo>
                  <a:pt x="12524" y="9628"/>
                  <a:pt x="12548" y="9577"/>
                  <a:pt x="12548" y="9515"/>
                </a:cubicBezTo>
                <a:cubicBezTo>
                  <a:pt x="12548" y="9452"/>
                  <a:pt x="12524" y="9402"/>
                  <a:pt x="12495" y="9402"/>
                </a:cubicBezTo>
                <a:cubicBezTo>
                  <a:pt x="12465" y="9402"/>
                  <a:pt x="12441" y="9452"/>
                  <a:pt x="12441" y="9515"/>
                </a:cubicBezTo>
                <a:cubicBezTo>
                  <a:pt x="12441" y="9577"/>
                  <a:pt x="12465" y="9628"/>
                  <a:pt x="12495" y="9628"/>
                </a:cubicBezTo>
                <a:close/>
                <a:moveTo>
                  <a:pt x="12495" y="9301"/>
                </a:moveTo>
                <a:cubicBezTo>
                  <a:pt x="12524" y="9301"/>
                  <a:pt x="12548" y="9250"/>
                  <a:pt x="12548" y="9188"/>
                </a:cubicBezTo>
                <a:cubicBezTo>
                  <a:pt x="12548" y="9125"/>
                  <a:pt x="12524" y="9075"/>
                  <a:pt x="12495" y="9075"/>
                </a:cubicBezTo>
                <a:cubicBezTo>
                  <a:pt x="12465" y="9075"/>
                  <a:pt x="12441" y="9125"/>
                  <a:pt x="12441" y="9188"/>
                </a:cubicBezTo>
                <a:cubicBezTo>
                  <a:pt x="12441" y="9250"/>
                  <a:pt x="12465" y="9301"/>
                  <a:pt x="12495" y="9301"/>
                </a:cubicBezTo>
                <a:close/>
                <a:moveTo>
                  <a:pt x="12495" y="8974"/>
                </a:moveTo>
                <a:cubicBezTo>
                  <a:pt x="12524" y="8974"/>
                  <a:pt x="12548" y="8924"/>
                  <a:pt x="12548" y="8861"/>
                </a:cubicBezTo>
                <a:cubicBezTo>
                  <a:pt x="12548" y="8799"/>
                  <a:pt x="12524" y="8748"/>
                  <a:pt x="12495" y="8748"/>
                </a:cubicBezTo>
                <a:cubicBezTo>
                  <a:pt x="12465" y="8748"/>
                  <a:pt x="12441" y="8799"/>
                  <a:pt x="12441" y="8861"/>
                </a:cubicBezTo>
                <a:cubicBezTo>
                  <a:pt x="12441" y="8924"/>
                  <a:pt x="12465" y="8974"/>
                  <a:pt x="12495" y="8974"/>
                </a:cubicBezTo>
                <a:close/>
                <a:moveTo>
                  <a:pt x="12495" y="6060"/>
                </a:moveTo>
                <a:cubicBezTo>
                  <a:pt x="12524" y="6060"/>
                  <a:pt x="12548" y="6010"/>
                  <a:pt x="12548" y="5947"/>
                </a:cubicBezTo>
                <a:cubicBezTo>
                  <a:pt x="12548" y="5885"/>
                  <a:pt x="12524" y="5834"/>
                  <a:pt x="12495" y="5834"/>
                </a:cubicBezTo>
                <a:cubicBezTo>
                  <a:pt x="12465" y="5834"/>
                  <a:pt x="12441" y="5885"/>
                  <a:pt x="12441" y="5947"/>
                </a:cubicBezTo>
                <a:cubicBezTo>
                  <a:pt x="12441" y="6010"/>
                  <a:pt x="12465" y="6060"/>
                  <a:pt x="12495" y="6060"/>
                </a:cubicBezTo>
                <a:close/>
                <a:moveTo>
                  <a:pt x="12495" y="5733"/>
                </a:moveTo>
                <a:cubicBezTo>
                  <a:pt x="12524" y="5733"/>
                  <a:pt x="12548" y="5683"/>
                  <a:pt x="12548" y="5620"/>
                </a:cubicBezTo>
                <a:cubicBezTo>
                  <a:pt x="12548" y="5558"/>
                  <a:pt x="12524" y="5507"/>
                  <a:pt x="12495" y="5507"/>
                </a:cubicBezTo>
                <a:cubicBezTo>
                  <a:pt x="12465" y="5507"/>
                  <a:pt x="12441" y="5558"/>
                  <a:pt x="12441" y="5620"/>
                </a:cubicBezTo>
                <a:cubicBezTo>
                  <a:pt x="12441" y="5683"/>
                  <a:pt x="12465" y="5733"/>
                  <a:pt x="12495" y="5733"/>
                </a:cubicBezTo>
                <a:close/>
                <a:moveTo>
                  <a:pt x="13569" y="5834"/>
                </a:moveTo>
                <a:cubicBezTo>
                  <a:pt x="13540" y="5834"/>
                  <a:pt x="13516" y="5885"/>
                  <a:pt x="13516" y="5947"/>
                </a:cubicBezTo>
                <a:cubicBezTo>
                  <a:pt x="13516" y="6010"/>
                  <a:pt x="13540" y="6060"/>
                  <a:pt x="13569" y="6060"/>
                </a:cubicBezTo>
                <a:cubicBezTo>
                  <a:pt x="13599" y="6060"/>
                  <a:pt x="13623" y="6010"/>
                  <a:pt x="13623" y="5947"/>
                </a:cubicBezTo>
                <a:cubicBezTo>
                  <a:pt x="13623" y="5885"/>
                  <a:pt x="13599" y="5834"/>
                  <a:pt x="13569" y="5834"/>
                </a:cubicBezTo>
                <a:close/>
                <a:moveTo>
                  <a:pt x="13569" y="5507"/>
                </a:moveTo>
                <a:cubicBezTo>
                  <a:pt x="13540" y="5507"/>
                  <a:pt x="13516" y="5558"/>
                  <a:pt x="13516" y="5620"/>
                </a:cubicBezTo>
                <a:cubicBezTo>
                  <a:pt x="13516" y="5683"/>
                  <a:pt x="13540" y="5733"/>
                  <a:pt x="13569" y="5733"/>
                </a:cubicBezTo>
                <a:cubicBezTo>
                  <a:pt x="13599" y="5733"/>
                  <a:pt x="13623" y="5683"/>
                  <a:pt x="13623" y="5620"/>
                </a:cubicBezTo>
                <a:cubicBezTo>
                  <a:pt x="13623" y="5558"/>
                  <a:pt x="13599" y="5507"/>
                  <a:pt x="13569" y="5507"/>
                </a:cubicBezTo>
                <a:close/>
                <a:moveTo>
                  <a:pt x="13415" y="5834"/>
                </a:moveTo>
                <a:cubicBezTo>
                  <a:pt x="13386" y="5834"/>
                  <a:pt x="13362" y="5885"/>
                  <a:pt x="13362" y="5947"/>
                </a:cubicBezTo>
                <a:cubicBezTo>
                  <a:pt x="13362" y="6010"/>
                  <a:pt x="13386" y="6060"/>
                  <a:pt x="13415" y="6060"/>
                </a:cubicBezTo>
                <a:cubicBezTo>
                  <a:pt x="13445" y="6060"/>
                  <a:pt x="13469" y="6010"/>
                  <a:pt x="13469" y="5947"/>
                </a:cubicBezTo>
                <a:cubicBezTo>
                  <a:pt x="13469" y="5885"/>
                  <a:pt x="13445" y="5834"/>
                  <a:pt x="13415" y="5834"/>
                </a:cubicBezTo>
                <a:close/>
                <a:moveTo>
                  <a:pt x="13415" y="5507"/>
                </a:moveTo>
                <a:cubicBezTo>
                  <a:pt x="13386" y="5507"/>
                  <a:pt x="13362" y="5558"/>
                  <a:pt x="13362" y="5620"/>
                </a:cubicBezTo>
                <a:cubicBezTo>
                  <a:pt x="13362" y="5683"/>
                  <a:pt x="13386" y="5733"/>
                  <a:pt x="13415" y="5733"/>
                </a:cubicBezTo>
                <a:cubicBezTo>
                  <a:pt x="13445" y="5733"/>
                  <a:pt x="13469" y="5683"/>
                  <a:pt x="13469" y="5620"/>
                </a:cubicBezTo>
                <a:cubicBezTo>
                  <a:pt x="13469" y="5558"/>
                  <a:pt x="13445" y="5507"/>
                  <a:pt x="13415" y="5507"/>
                </a:cubicBezTo>
                <a:close/>
                <a:moveTo>
                  <a:pt x="13263" y="5834"/>
                </a:moveTo>
                <a:cubicBezTo>
                  <a:pt x="13233" y="5834"/>
                  <a:pt x="13209" y="5885"/>
                  <a:pt x="13209" y="5947"/>
                </a:cubicBezTo>
                <a:cubicBezTo>
                  <a:pt x="13209" y="6010"/>
                  <a:pt x="13233" y="6060"/>
                  <a:pt x="13263" y="6060"/>
                </a:cubicBezTo>
                <a:cubicBezTo>
                  <a:pt x="13292" y="6060"/>
                  <a:pt x="13316" y="6010"/>
                  <a:pt x="13316" y="5947"/>
                </a:cubicBezTo>
                <a:cubicBezTo>
                  <a:pt x="13316" y="5885"/>
                  <a:pt x="13292" y="5834"/>
                  <a:pt x="13263" y="5834"/>
                </a:cubicBezTo>
                <a:close/>
                <a:moveTo>
                  <a:pt x="13263" y="5507"/>
                </a:moveTo>
                <a:cubicBezTo>
                  <a:pt x="13233" y="5507"/>
                  <a:pt x="13209" y="5558"/>
                  <a:pt x="13209" y="5620"/>
                </a:cubicBezTo>
                <a:cubicBezTo>
                  <a:pt x="13209" y="5683"/>
                  <a:pt x="13233" y="5733"/>
                  <a:pt x="13263" y="5733"/>
                </a:cubicBezTo>
                <a:cubicBezTo>
                  <a:pt x="13292" y="5733"/>
                  <a:pt x="13316" y="5683"/>
                  <a:pt x="13316" y="5620"/>
                </a:cubicBezTo>
                <a:cubicBezTo>
                  <a:pt x="13316" y="5558"/>
                  <a:pt x="13292" y="5507"/>
                  <a:pt x="13263" y="5507"/>
                </a:cubicBezTo>
                <a:close/>
                <a:moveTo>
                  <a:pt x="14343" y="5834"/>
                </a:moveTo>
                <a:cubicBezTo>
                  <a:pt x="14313" y="5834"/>
                  <a:pt x="14289" y="5885"/>
                  <a:pt x="14289" y="5947"/>
                </a:cubicBezTo>
                <a:cubicBezTo>
                  <a:pt x="14289" y="6010"/>
                  <a:pt x="14313" y="6060"/>
                  <a:pt x="14343" y="6060"/>
                </a:cubicBezTo>
                <a:cubicBezTo>
                  <a:pt x="14372" y="6060"/>
                  <a:pt x="14396" y="6010"/>
                  <a:pt x="14396" y="5947"/>
                </a:cubicBezTo>
                <a:cubicBezTo>
                  <a:pt x="14396" y="5885"/>
                  <a:pt x="14372" y="5834"/>
                  <a:pt x="14343" y="5834"/>
                </a:cubicBezTo>
                <a:close/>
                <a:moveTo>
                  <a:pt x="14343" y="5507"/>
                </a:moveTo>
                <a:cubicBezTo>
                  <a:pt x="14313" y="5507"/>
                  <a:pt x="14289" y="5558"/>
                  <a:pt x="14289" y="5620"/>
                </a:cubicBezTo>
                <a:cubicBezTo>
                  <a:pt x="14289" y="5683"/>
                  <a:pt x="14313" y="5733"/>
                  <a:pt x="14343" y="5733"/>
                </a:cubicBezTo>
                <a:cubicBezTo>
                  <a:pt x="14372" y="5733"/>
                  <a:pt x="14396" y="5683"/>
                  <a:pt x="14396" y="5620"/>
                </a:cubicBezTo>
                <a:cubicBezTo>
                  <a:pt x="14396" y="5558"/>
                  <a:pt x="14372" y="5507"/>
                  <a:pt x="14343" y="5507"/>
                </a:cubicBezTo>
                <a:close/>
                <a:moveTo>
                  <a:pt x="14190" y="5834"/>
                </a:moveTo>
                <a:cubicBezTo>
                  <a:pt x="14160" y="5834"/>
                  <a:pt x="14136" y="5885"/>
                  <a:pt x="14136" y="5947"/>
                </a:cubicBezTo>
                <a:cubicBezTo>
                  <a:pt x="14136" y="6010"/>
                  <a:pt x="14160" y="6060"/>
                  <a:pt x="14190" y="6060"/>
                </a:cubicBezTo>
                <a:cubicBezTo>
                  <a:pt x="14220" y="6060"/>
                  <a:pt x="14244" y="6010"/>
                  <a:pt x="14244" y="5947"/>
                </a:cubicBezTo>
                <a:cubicBezTo>
                  <a:pt x="14244" y="5885"/>
                  <a:pt x="14220" y="5834"/>
                  <a:pt x="14190" y="5834"/>
                </a:cubicBezTo>
                <a:close/>
                <a:moveTo>
                  <a:pt x="14190" y="5507"/>
                </a:moveTo>
                <a:cubicBezTo>
                  <a:pt x="14160" y="5507"/>
                  <a:pt x="14136" y="5558"/>
                  <a:pt x="14136" y="5620"/>
                </a:cubicBezTo>
                <a:cubicBezTo>
                  <a:pt x="14136" y="5683"/>
                  <a:pt x="14160" y="5733"/>
                  <a:pt x="14190" y="5733"/>
                </a:cubicBezTo>
                <a:cubicBezTo>
                  <a:pt x="14220" y="5733"/>
                  <a:pt x="14244" y="5683"/>
                  <a:pt x="14244" y="5620"/>
                </a:cubicBezTo>
                <a:cubicBezTo>
                  <a:pt x="14244" y="5558"/>
                  <a:pt x="14220" y="5507"/>
                  <a:pt x="14190" y="5507"/>
                </a:cubicBezTo>
                <a:close/>
                <a:moveTo>
                  <a:pt x="14035" y="6060"/>
                </a:moveTo>
                <a:cubicBezTo>
                  <a:pt x="14064" y="6060"/>
                  <a:pt x="14088" y="6010"/>
                  <a:pt x="14088" y="5947"/>
                </a:cubicBezTo>
                <a:cubicBezTo>
                  <a:pt x="14088" y="5885"/>
                  <a:pt x="14064" y="5834"/>
                  <a:pt x="14035" y="5834"/>
                </a:cubicBezTo>
                <a:cubicBezTo>
                  <a:pt x="14005" y="5834"/>
                  <a:pt x="13981" y="5885"/>
                  <a:pt x="13981" y="5947"/>
                </a:cubicBezTo>
                <a:cubicBezTo>
                  <a:pt x="13981" y="6010"/>
                  <a:pt x="14005" y="6060"/>
                  <a:pt x="14035" y="6060"/>
                </a:cubicBezTo>
                <a:close/>
                <a:moveTo>
                  <a:pt x="14035" y="5733"/>
                </a:moveTo>
                <a:cubicBezTo>
                  <a:pt x="14064" y="5733"/>
                  <a:pt x="14088" y="5683"/>
                  <a:pt x="14088" y="5620"/>
                </a:cubicBezTo>
                <a:cubicBezTo>
                  <a:pt x="14088" y="5558"/>
                  <a:pt x="14064" y="5507"/>
                  <a:pt x="14035" y="5507"/>
                </a:cubicBezTo>
                <a:cubicBezTo>
                  <a:pt x="14005" y="5507"/>
                  <a:pt x="13981" y="5558"/>
                  <a:pt x="13981" y="5620"/>
                </a:cubicBezTo>
                <a:cubicBezTo>
                  <a:pt x="13981" y="5683"/>
                  <a:pt x="14005" y="5733"/>
                  <a:pt x="14035" y="5733"/>
                </a:cubicBezTo>
                <a:close/>
                <a:moveTo>
                  <a:pt x="13881" y="5834"/>
                </a:moveTo>
                <a:cubicBezTo>
                  <a:pt x="13851" y="5834"/>
                  <a:pt x="13827" y="5885"/>
                  <a:pt x="13827" y="5947"/>
                </a:cubicBezTo>
                <a:cubicBezTo>
                  <a:pt x="13827" y="6010"/>
                  <a:pt x="13851" y="6060"/>
                  <a:pt x="13881" y="6060"/>
                </a:cubicBezTo>
                <a:cubicBezTo>
                  <a:pt x="13910" y="6060"/>
                  <a:pt x="13934" y="6010"/>
                  <a:pt x="13934" y="5947"/>
                </a:cubicBezTo>
                <a:cubicBezTo>
                  <a:pt x="13934" y="5885"/>
                  <a:pt x="13910" y="5834"/>
                  <a:pt x="13881" y="5834"/>
                </a:cubicBezTo>
                <a:close/>
                <a:moveTo>
                  <a:pt x="13881" y="5507"/>
                </a:moveTo>
                <a:cubicBezTo>
                  <a:pt x="13851" y="5507"/>
                  <a:pt x="13827" y="5558"/>
                  <a:pt x="13827" y="5620"/>
                </a:cubicBezTo>
                <a:cubicBezTo>
                  <a:pt x="13827" y="5683"/>
                  <a:pt x="13851" y="5733"/>
                  <a:pt x="13881" y="5733"/>
                </a:cubicBezTo>
                <a:cubicBezTo>
                  <a:pt x="13910" y="5733"/>
                  <a:pt x="13934" y="5683"/>
                  <a:pt x="13934" y="5620"/>
                </a:cubicBezTo>
                <a:cubicBezTo>
                  <a:pt x="13934" y="5558"/>
                  <a:pt x="13910" y="5507"/>
                  <a:pt x="13881" y="5507"/>
                </a:cubicBezTo>
                <a:close/>
                <a:moveTo>
                  <a:pt x="13728" y="5834"/>
                </a:moveTo>
                <a:cubicBezTo>
                  <a:pt x="13698" y="5834"/>
                  <a:pt x="13674" y="5885"/>
                  <a:pt x="13674" y="5947"/>
                </a:cubicBezTo>
                <a:cubicBezTo>
                  <a:pt x="13674" y="6010"/>
                  <a:pt x="13698" y="6060"/>
                  <a:pt x="13728" y="6060"/>
                </a:cubicBezTo>
                <a:cubicBezTo>
                  <a:pt x="13758" y="6060"/>
                  <a:pt x="13782" y="6010"/>
                  <a:pt x="13782" y="5947"/>
                </a:cubicBezTo>
                <a:cubicBezTo>
                  <a:pt x="13782" y="5885"/>
                  <a:pt x="13758" y="5834"/>
                  <a:pt x="13728" y="5834"/>
                </a:cubicBezTo>
                <a:close/>
                <a:moveTo>
                  <a:pt x="13728" y="5507"/>
                </a:moveTo>
                <a:cubicBezTo>
                  <a:pt x="13698" y="5507"/>
                  <a:pt x="13674" y="5558"/>
                  <a:pt x="13674" y="5620"/>
                </a:cubicBezTo>
                <a:cubicBezTo>
                  <a:pt x="13674" y="5683"/>
                  <a:pt x="13698" y="5733"/>
                  <a:pt x="13728" y="5733"/>
                </a:cubicBezTo>
                <a:cubicBezTo>
                  <a:pt x="13758" y="5733"/>
                  <a:pt x="13782" y="5683"/>
                  <a:pt x="13782" y="5620"/>
                </a:cubicBezTo>
                <a:cubicBezTo>
                  <a:pt x="13782" y="5558"/>
                  <a:pt x="13758" y="5507"/>
                  <a:pt x="13728" y="5507"/>
                </a:cubicBezTo>
                <a:close/>
                <a:moveTo>
                  <a:pt x="15111" y="5834"/>
                </a:moveTo>
                <a:cubicBezTo>
                  <a:pt x="15081" y="5834"/>
                  <a:pt x="15057" y="5885"/>
                  <a:pt x="15057" y="5947"/>
                </a:cubicBezTo>
                <a:cubicBezTo>
                  <a:pt x="15057" y="6010"/>
                  <a:pt x="15081" y="6060"/>
                  <a:pt x="15111" y="6060"/>
                </a:cubicBezTo>
                <a:cubicBezTo>
                  <a:pt x="15140" y="6060"/>
                  <a:pt x="15165" y="6010"/>
                  <a:pt x="15165" y="5947"/>
                </a:cubicBezTo>
                <a:cubicBezTo>
                  <a:pt x="15165" y="5885"/>
                  <a:pt x="15140" y="5834"/>
                  <a:pt x="15111" y="5834"/>
                </a:cubicBezTo>
                <a:close/>
                <a:moveTo>
                  <a:pt x="15111" y="5507"/>
                </a:moveTo>
                <a:cubicBezTo>
                  <a:pt x="15081" y="5507"/>
                  <a:pt x="15057" y="5558"/>
                  <a:pt x="15057" y="5620"/>
                </a:cubicBezTo>
                <a:cubicBezTo>
                  <a:pt x="15057" y="5683"/>
                  <a:pt x="15081" y="5733"/>
                  <a:pt x="15111" y="5733"/>
                </a:cubicBezTo>
                <a:cubicBezTo>
                  <a:pt x="15140" y="5733"/>
                  <a:pt x="15165" y="5683"/>
                  <a:pt x="15165" y="5620"/>
                </a:cubicBezTo>
                <a:cubicBezTo>
                  <a:pt x="15165" y="5558"/>
                  <a:pt x="15140" y="5507"/>
                  <a:pt x="15111" y="5507"/>
                </a:cubicBezTo>
                <a:close/>
                <a:moveTo>
                  <a:pt x="14958" y="5834"/>
                </a:moveTo>
                <a:cubicBezTo>
                  <a:pt x="14928" y="5834"/>
                  <a:pt x="14904" y="5885"/>
                  <a:pt x="14904" y="5947"/>
                </a:cubicBezTo>
                <a:cubicBezTo>
                  <a:pt x="14904" y="6010"/>
                  <a:pt x="14928" y="6060"/>
                  <a:pt x="14958" y="6060"/>
                </a:cubicBezTo>
                <a:cubicBezTo>
                  <a:pt x="14988" y="6060"/>
                  <a:pt x="15012" y="6010"/>
                  <a:pt x="15012" y="5947"/>
                </a:cubicBezTo>
                <a:cubicBezTo>
                  <a:pt x="15012" y="5885"/>
                  <a:pt x="14988" y="5834"/>
                  <a:pt x="14958" y="5834"/>
                </a:cubicBezTo>
                <a:close/>
                <a:moveTo>
                  <a:pt x="14958" y="5507"/>
                </a:moveTo>
                <a:cubicBezTo>
                  <a:pt x="14928" y="5507"/>
                  <a:pt x="14904" y="5558"/>
                  <a:pt x="14904" y="5620"/>
                </a:cubicBezTo>
                <a:cubicBezTo>
                  <a:pt x="14904" y="5683"/>
                  <a:pt x="14928" y="5733"/>
                  <a:pt x="14958" y="5733"/>
                </a:cubicBezTo>
                <a:cubicBezTo>
                  <a:pt x="14988" y="5733"/>
                  <a:pt x="15012" y="5683"/>
                  <a:pt x="15012" y="5620"/>
                </a:cubicBezTo>
                <a:cubicBezTo>
                  <a:pt x="15012" y="5558"/>
                  <a:pt x="14988" y="5507"/>
                  <a:pt x="14958" y="5507"/>
                </a:cubicBezTo>
                <a:close/>
                <a:moveTo>
                  <a:pt x="14803" y="5834"/>
                </a:moveTo>
                <a:cubicBezTo>
                  <a:pt x="14773" y="5834"/>
                  <a:pt x="14749" y="5885"/>
                  <a:pt x="14749" y="5947"/>
                </a:cubicBezTo>
                <a:cubicBezTo>
                  <a:pt x="14749" y="6010"/>
                  <a:pt x="14773" y="6060"/>
                  <a:pt x="14803" y="6060"/>
                </a:cubicBezTo>
                <a:cubicBezTo>
                  <a:pt x="14832" y="6060"/>
                  <a:pt x="14857" y="6010"/>
                  <a:pt x="14857" y="5947"/>
                </a:cubicBezTo>
                <a:cubicBezTo>
                  <a:pt x="14857" y="5885"/>
                  <a:pt x="14832" y="5834"/>
                  <a:pt x="14803" y="5834"/>
                </a:cubicBezTo>
                <a:close/>
                <a:moveTo>
                  <a:pt x="14803" y="5507"/>
                </a:moveTo>
                <a:cubicBezTo>
                  <a:pt x="14773" y="5507"/>
                  <a:pt x="14749" y="5558"/>
                  <a:pt x="14749" y="5620"/>
                </a:cubicBezTo>
                <a:cubicBezTo>
                  <a:pt x="14749" y="5683"/>
                  <a:pt x="14773" y="5733"/>
                  <a:pt x="14803" y="5733"/>
                </a:cubicBezTo>
                <a:cubicBezTo>
                  <a:pt x="14832" y="5733"/>
                  <a:pt x="14857" y="5683"/>
                  <a:pt x="14857" y="5620"/>
                </a:cubicBezTo>
                <a:cubicBezTo>
                  <a:pt x="14857" y="5558"/>
                  <a:pt x="14832" y="5507"/>
                  <a:pt x="14803" y="5507"/>
                </a:cubicBezTo>
                <a:close/>
                <a:moveTo>
                  <a:pt x="14649" y="5834"/>
                </a:moveTo>
                <a:cubicBezTo>
                  <a:pt x="14619" y="5834"/>
                  <a:pt x="14595" y="5885"/>
                  <a:pt x="14595" y="5947"/>
                </a:cubicBezTo>
                <a:cubicBezTo>
                  <a:pt x="14595" y="6010"/>
                  <a:pt x="14619" y="6060"/>
                  <a:pt x="14649" y="6060"/>
                </a:cubicBezTo>
                <a:cubicBezTo>
                  <a:pt x="14678" y="6060"/>
                  <a:pt x="14703" y="6010"/>
                  <a:pt x="14703" y="5947"/>
                </a:cubicBezTo>
                <a:cubicBezTo>
                  <a:pt x="14703" y="5885"/>
                  <a:pt x="14678" y="5834"/>
                  <a:pt x="14649" y="5834"/>
                </a:cubicBezTo>
                <a:close/>
                <a:moveTo>
                  <a:pt x="14649" y="5507"/>
                </a:moveTo>
                <a:cubicBezTo>
                  <a:pt x="14619" y="5507"/>
                  <a:pt x="14595" y="5558"/>
                  <a:pt x="14595" y="5620"/>
                </a:cubicBezTo>
                <a:cubicBezTo>
                  <a:pt x="14595" y="5683"/>
                  <a:pt x="14619" y="5733"/>
                  <a:pt x="14649" y="5733"/>
                </a:cubicBezTo>
                <a:cubicBezTo>
                  <a:pt x="14678" y="5733"/>
                  <a:pt x="14703" y="5683"/>
                  <a:pt x="14703" y="5620"/>
                </a:cubicBezTo>
                <a:cubicBezTo>
                  <a:pt x="14703" y="5558"/>
                  <a:pt x="14678" y="5507"/>
                  <a:pt x="14649" y="5507"/>
                </a:cubicBezTo>
                <a:close/>
                <a:moveTo>
                  <a:pt x="14496" y="5834"/>
                </a:moveTo>
                <a:cubicBezTo>
                  <a:pt x="14466" y="5834"/>
                  <a:pt x="14442" y="5885"/>
                  <a:pt x="14442" y="5947"/>
                </a:cubicBezTo>
                <a:cubicBezTo>
                  <a:pt x="14442" y="6010"/>
                  <a:pt x="14466" y="6060"/>
                  <a:pt x="14496" y="6060"/>
                </a:cubicBezTo>
                <a:cubicBezTo>
                  <a:pt x="14526" y="6060"/>
                  <a:pt x="14550" y="6010"/>
                  <a:pt x="14550" y="5947"/>
                </a:cubicBezTo>
                <a:cubicBezTo>
                  <a:pt x="14550" y="5885"/>
                  <a:pt x="14526" y="5834"/>
                  <a:pt x="14496" y="5834"/>
                </a:cubicBezTo>
                <a:close/>
                <a:moveTo>
                  <a:pt x="14496" y="5507"/>
                </a:moveTo>
                <a:cubicBezTo>
                  <a:pt x="14466" y="5507"/>
                  <a:pt x="14442" y="5558"/>
                  <a:pt x="14442" y="5620"/>
                </a:cubicBezTo>
                <a:cubicBezTo>
                  <a:pt x="14442" y="5683"/>
                  <a:pt x="14466" y="5733"/>
                  <a:pt x="14496" y="5733"/>
                </a:cubicBezTo>
                <a:cubicBezTo>
                  <a:pt x="14526" y="5733"/>
                  <a:pt x="14550" y="5683"/>
                  <a:pt x="14550" y="5620"/>
                </a:cubicBezTo>
                <a:cubicBezTo>
                  <a:pt x="14550" y="5558"/>
                  <a:pt x="14526" y="5507"/>
                  <a:pt x="14496" y="5507"/>
                </a:cubicBezTo>
                <a:close/>
                <a:moveTo>
                  <a:pt x="15726" y="9721"/>
                </a:moveTo>
                <a:cubicBezTo>
                  <a:pt x="15697" y="9721"/>
                  <a:pt x="15673" y="9772"/>
                  <a:pt x="15673" y="9834"/>
                </a:cubicBezTo>
                <a:cubicBezTo>
                  <a:pt x="15673" y="9897"/>
                  <a:pt x="15697" y="9947"/>
                  <a:pt x="15726" y="9947"/>
                </a:cubicBezTo>
                <a:cubicBezTo>
                  <a:pt x="15756" y="9947"/>
                  <a:pt x="15780" y="9897"/>
                  <a:pt x="15780" y="9834"/>
                </a:cubicBezTo>
                <a:cubicBezTo>
                  <a:pt x="15780" y="9772"/>
                  <a:pt x="15756" y="9721"/>
                  <a:pt x="15726" y="9721"/>
                </a:cubicBezTo>
                <a:close/>
                <a:moveTo>
                  <a:pt x="15726" y="9394"/>
                </a:moveTo>
                <a:cubicBezTo>
                  <a:pt x="15697" y="9394"/>
                  <a:pt x="15673" y="9445"/>
                  <a:pt x="15673" y="9507"/>
                </a:cubicBezTo>
                <a:cubicBezTo>
                  <a:pt x="15673" y="9570"/>
                  <a:pt x="15697" y="9621"/>
                  <a:pt x="15726" y="9621"/>
                </a:cubicBezTo>
                <a:cubicBezTo>
                  <a:pt x="15756" y="9621"/>
                  <a:pt x="15780" y="9570"/>
                  <a:pt x="15780" y="9507"/>
                </a:cubicBezTo>
                <a:cubicBezTo>
                  <a:pt x="15780" y="9445"/>
                  <a:pt x="15756" y="9394"/>
                  <a:pt x="15726" y="9394"/>
                </a:cubicBezTo>
                <a:close/>
                <a:moveTo>
                  <a:pt x="15726" y="9067"/>
                </a:moveTo>
                <a:cubicBezTo>
                  <a:pt x="15697" y="9067"/>
                  <a:pt x="15673" y="9118"/>
                  <a:pt x="15673" y="9181"/>
                </a:cubicBezTo>
                <a:cubicBezTo>
                  <a:pt x="15673" y="9243"/>
                  <a:pt x="15697" y="9294"/>
                  <a:pt x="15726" y="9294"/>
                </a:cubicBezTo>
                <a:cubicBezTo>
                  <a:pt x="15756" y="9294"/>
                  <a:pt x="15780" y="9243"/>
                  <a:pt x="15780" y="9181"/>
                </a:cubicBezTo>
                <a:cubicBezTo>
                  <a:pt x="15780" y="9118"/>
                  <a:pt x="15756" y="9067"/>
                  <a:pt x="15726" y="9067"/>
                </a:cubicBezTo>
                <a:close/>
                <a:moveTo>
                  <a:pt x="15726" y="8741"/>
                </a:moveTo>
                <a:cubicBezTo>
                  <a:pt x="15697" y="8741"/>
                  <a:pt x="15673" y="8791"/>
                  <a:pt x="15673" y="8854"/>
                </a:cubicBezTo>
                <a:cubicBezTo>
                  <a:pt x="15673" y="8916"/>
                  <a:pt x="15697" y="8967"/>
                  <a:pt x="15726" y="8967"/>
                </a:cubicBezTo>
                <a:cubicBezTo>
                  <a:pt x="15756" y="8967"/>
                  <a:pt x="15780" y="8916"/>
                  <a:pt x="15780" y="8854"/>
                </a:cubicBezTo>
                <a:cubicBezTo>
                  <a:pt x="15780" y="8791"/>
                  <a:pt x="15756" y="8741"/>
                  <a:pt x="15726" y="8741"/>
                </a:cubicBezTo>
                <a:close/>
                <a:moveTo>
                  <a:pt x="15571" y="9067"/>
                </a:moveTo>
                <a:cubicBezTo>
                  <a:pt x="15541" y="9067"/>
                  <a:pt x="15517" y="9118"/>
                  <a:pt x="15517" y="9181"/>
                </a:cubicBezTo>
                <a:cubicBezTo>
                  <a:pt x="15517" y="9243"/>
                  <a:pt x="15541" y="9294"/>
                  <a:pt x="15571" y="9294"/>
                </a:cubicBezTo>
                <a:cubicBezTo>
                  <a:pt x="15601" y="9294"/>
                  <a:pt x="15625" y="9243"/>
                  <a:pt x="15625" y="9181"/>
                </a:cubicBezTo>
                <a:cubicBezTo>
                  <a:pt x="15625" y="9118"/>
                  <a:pt x="15601" y="9067"/>
                  <a:pt x="15571" y="9067"/>
                </a:cubicBezTo>
                <a:close/>
                <a:moveTo>
                  <a:pt x="15571" y="8741"/>
                </a:moveTo>
                <a:cubicBezTo>
                  <a:pt x="15541" y="8741"/>
                  <a:pt x="15517" y="8791"/>
                  <a:pt x="15517" y="8854"/>
                </a:cubicBezTo>
                <a:cubicBezTo>
                  <a:pt x="15517" y="8916"/>
                  <a:pt x="15541" y="8967"/>
                  <a:pt x="15571" y="8967"/>
                </a:cubicBezTo>
                <a:cubicBezTo>
                  <a:pt x="15601" y="8967"/>
                  <a:pt x="15625" y="8916"/>
                  <a:pt x="15625" y="8854"/>
                </a:cubicBezTo>
                <a:cubicBezTo>
                  <a:pt x="15625" y="8791"/>
                  <a:pt x="15601" y="8741"/>
                  <a:pt x="15571" y="8741"/>
                </a:cubicBezTo>
                <a:close/>
                <a:moveTo>
                  <a:pt x="15417" y="8741"/>
                </a:moveTo>
                <a:cubicBezTo>
                  <a:pt x="15387" y="8741"/>
                  <a:pt x="15363" y="8791"/>
                  <a:pt x="15363" y="8854"/>
                </a:cubicBezTo>
                <a:cubicBezTo>
                  <a:pt x="15363" y="8916"/>
                  <a:pt x="15387" y="8967"/>
                  <a:pt x="15417" y="8967"/>
                </a:cubicBezTo>
                <a:cubicBezTo>
                  <a:pt x="15447" y="8967"/>
                  <a:pt x="15471" y="8916"/>
                  <a:pt x="15471" y="8854"/>
                </a:cubicBezTo>
                <a:cubicBezTo>
                  <a:pt x="15471" y="8791"/>
                  <a:pt x="15447" y="8741"/>
                  <a:pt x="15417" y="8741"/>
                </a:cubicBezTo>
                <a:close/>
                <a:moveTo>
                  <a:pt x="15264" y="8741"/>
                </a:moveTo>
                <a:cubicBezTo>
                  <a:pt x="15235" y="8741"/>
                  <a:pt x="15211" y="8791"/>
                  <a:pt x="15211" y="8854"/>
                </a:cubicBezTo>
                <a:cubicBezTo>
                  <a:pt x="15211" y="8916"/>
                  <a:pt x="15235" y="8967"/>
                  <a:pt x="15264" y="8967"/>
                </a:cubicBezTo>
                <a:cubicBezTo>
                  <a:pt x="15294" y="8967"/>
                  <a:pt x="15318" y="8916"/>
                  <a:pt x="15318" y="8854"/>
                </a:cubicBezTo>
                <a:cubicBezTo>
                  <a:pt x="15318" y="8791"/>
                  <a:pt x="15294" y="8741"/>
                  <a:pt x="15264" y="8741"/>
                </a:cubicBezTo>
                <a:close/>
                <a:moveTo>
                  <a:pt x="15726" y="8416"/>
                </a:moveTo>
                <a:cubicBezTo>
                  <a:pt x="15697" y="8416"/>
                  <a:pt x="15673" y="8467"/>
                  <a:pt x="15673" y="8529"/>
                </a:cubicBezTo>
                <a:cubicBezTo>
                  <a:pt x="15673" y="8592"/>
                  <a:pt x="15697" y="8642"/>
                  <a:pt x="15726" y="8642"/>
                </a:cubicBezTo>
                <a:cubicBezTo>
                  <a:pt x="15756" y="8642"/>
                  <a:pt x="15780" y="8592"/>
                  <a:pt x="15780" y="8529"/>
                </a:cubicBezTo>
                <a:cubicBezTo>
                  <a:pt x="15780" y="8467"/>
                  <a:pt x="15756" y="8416"/>
                  <a:pt x="15726" y="8416"/>
                </a:cubicBezTo>
                <a:close/>
                <a:moveTo>
                  <a:pt x="15726" y="8089"/>
                </a:moveTo>
                <a:cubicBezTo>
                  <a:pt x="15697" y="8089"/>
                  <a:pt x="15673" y="8140"/>
                  <a:pt x="15673" y="8202"/>
                </a:cubicBezTo>
                <a:cubicBezTo>
                  <a:pt x="15673" y="8265"/>
                  <a:pt x="15697" y="8315"/>
                  <a:pt x="15726" y="8315"/>
                </a:cubicBezTo>
                <a:cubicBezTo>
                  <a:pt x="15756" y="8315"/>
                  <a:pt x="15780" y="8265"/>
                  <a:pt x="15780" y="8202"/>
                </a:cubicBezTo>
                <a:cubicBezTo>
                  <a:pt x="15780" y="8140"/>
                  <a:pt x="15756" y="8089"/>
                  <a:pt x="15726" y="8089"/>
                </a:cubicBezTo>
                <a:close/>
                <a:moveTo>
                  <a:pt x="15571" y="8416"/>
                </a:moveTo>
                <a:cubicBezTo>
                  <a:pt x="15541" y="8416"/>
                  <a:pt x="15517" y="8467"/>
                  <a:pt x="15517" y="8529"/>
                </a:cubicBezTo>
                <a:cubicBezTo>
                  <a:pt x="15517" y="8592"/>
                  <a:pt x="15541" y="8642"/>
                  <a:pt x="15571" y="8642"/>
                </a:cubicBezTo>
                <a:cubicBezTo>
                  <a:pt x="15601" y="8642"/>
                  <a:pt x="15625" y="8592"/>
                  <a:pt x="15625" y="8529"/>
                </a:cubicBezTo>
                <a:cubicBezTo>
                  <a:pt x="15625" y="8467"/>
                  <a:pt x="15601" y="8416"/>
                  <a:pt x="15571" y="8416"/>
                </a:cubicBezTo>
                <a:close/>
                <a:moveTo>
                  <a:pt x="15571" y="8089"/>
                </a:moveTo>
                <a:cubicBezTo>
                  <a:pt x="15541" y="8089"/>
                  <a:pt x="15517" y="8140"/>
                  <a:pt x="15517" y="8202"/>
                </a:cubicBezTo>
                <a:cubicBezTo>
                  <a:pt x="15517" y="8265"/>
                  <a:pt x="15541" y="8315"/>
                  <a:pt x="15571" y="8315"/>
                </a:cubicBezTo>
                <a:cubicBezTo>
                  <a:pt x="15601" y="8315"/>
                  <a:pt x="15625" y="8265"/>
                  <a:pt x="15625" y="8202"/>
                </a:cubicBezTo>
                <a:cubicBezTo>
                  <a:pt x="15625" y="8140"/>
                  <a:pt x="15601" y="8089"/>
                  <a:pt x="15571" y="8089"/>
                </a:cubicBezTo>
                <a:close/>
                <a:moveTo>
                  <a:pt x="15417" y="8416"/>
                </a:moveTo>
                <a:cubicBezTo>
                  <a:pt x="15387" y="8416"/>
                  <a:pt x="15363" y="8467"/>
                  <a:pt x="15363" y="8529"/>
                </a:cubicBezTo>
                <a:cubicBezTo>
                  <a:pt x="15363" y="8592"/>
                  <a:pt x="15387" y="8642"/>
                  <a:pt x="15417" y="8642"/>
                </a:cubicBezTo>
                <a:cubicBezTo>
                  <a:pt x="15447" y="8642"/>
                  <a:pt x="15471" y="8592"/>
                  <a:pt x="15471" y="8529"/>
                </a:cubicBezTo>
                <a:cubicBezTo>
                  <a:pt x="15471" y="8467"/>
                  <a:pt x="15447" y="8416"/>
                  <a:pt x="15417" y="8416"/>
                </a:cubicBezTo>
                <a:close/>
                <a:moveTo>
                  <a:pt x="15417" y="8089"/>
                </a:moveTo>
                <a:cubicBezTo>
                  <a:pt x="15387" y="8089"/>
                  <a:pt x="15363" y="8140"/>
                  <a:pt x="15363" y="8202"/>
                </a:cubicBezTo>
                <a:cubicBezTo>
                  <a:pt x="15363" y="8265"/>
                  <a:pt x="15387" y="8315"/>
                  <a:pt x="15417" y="8315"/>
                </a:cubicBezTo>
                <a:cubicBezTo>
                  <a:pt x="15447" y="8315"/>
                  <a:pt x="15471" y="8265"/>
                  <a:pt x="15471" y="8202"/>
                </a:cubicBezTo>
                <a:cubicBezTo>
                  <a:pt x="15471" y="8140"/>
                  <a:pt x="15447" y="8089"/>
                  <a:pt x="15417" y="8089"/>
                </a:cubicBezTo>
                <a:close/>
                <a:moveTo>
                  <a:pt x="15264" y="8416"/>
                </a:moveTo>
                <a:cubicBezTo>
                  <a:pt x="15235" y="8416"/>
                  <a:pt x="15211" y="8467"/>
                  <a:pt x="15211" y="8529"/>
                </a:cubicBezTo>
                <a:cubicBezTo>
                  <a:pt x="15211" y="8592"/>
                  <a:pt x="15235" y="8642"/>
                  <a:pt x="15264" y="8642"/>
                </a:cubicBezTo>
                <a:cubicBezTo>
                  <a:pt x="15294" y="8642"/>
                  <a:pt x="15318" y="8592"/>
                  <a:pt x="15318" y="8529"/>
                </a:cubicBezTo>
                <a:cubicBezTo>
                  <a:pt x="15318" y="8467"/>
                  <a:pt x="15294" y="8416"/>
                  <a:pt x="15264" y="8416"/>
                </a:cubicBezTo>
                <a:close/>
                <a:moveTo>
                  <a:pt x="15264" y="8089"/>
                </a:moveTo>
                <a:cubicBezTo>
                  <a:pt x="15235" y="8089"/>
                  <a:pt x="15211" y="8140"/>
                  <a:pt x="15211" y="8202"/>
                </a:cubicBezTo>
                <a:cubicBezTo>
                  <a:pt x="15211" y="8265"/>
                  <a:pt x="15235" y="8315"/>
                  <a:pt x="15264" y="8315"/>
                </a:cubicBezTo>
                <a:cubicBezTo>
                  <a:pt x="15294" y="8315"/>
                  <a:pt x="15318" y="8265"/>
                  <a:pt x="15318" y="8202"/>
                </a:cubicBezTo>
                <a:cubicBezTo>
                  <a:pt x="15318" y="8140"/>
                  <a:pt x="15294" y="8089"/>
                  <a:pt x="15264" y="8089"/>
                </a:cubicBezTo>
                <a:close/>
                <a:moveTo>
                  <a:pt x="15726" y="7762"/>
                </a:moveTo>
                <a:cubicBezTo>
                  <a:pt x="15697" y="7762"/>
                  <a:pt x="15673" y="7813"/>
                  <a:pt x="15673" y="7875"/>
                </a:cubicBezTo>
                <a:cubicBezTo>
                  <a:pt x="15673" y="7938"/>
                  <a:pt x="15697" y="7989"/>
                  <a:pt x="15726" y="7989"/>
                </a:cubicBezTo>
                <a:cubicBezTo>
                  <a:pt x="15756" y="7989"/>
                  <a:pt x="15780" y="7938"/>
                  <a:pt x="15780" y="7875"/>
                </a:cubicBezTo>
                <a:cubicBezTo>
                  <a:pt x="15780" y="7813"/>
                  <a:pt x="15756" y="7762"/>
                  <a:pt x="15726" y="7762"/>
                </a:cubicBezTo>
                <a:close/>
                <a:moveTo>
                  <a:pt x="15726" y="7435"/>
                </a:moveTo>
                <a:cubicBezTo>
                  <a:pt x="15697" y="7435"/>
                  <a:pt x="15673" y="7486"/>
                  <a:pt x="15673" y="7549"/>
                </a:cubicBezTo>
                <a:cubicBezTo>
                  <a:pt x="15673" y="7611"/>
                  <a:pt x="15697" y="7662"/>
                  <a:pt x="15726" y="7662"/>
                </a:cubicBezTo>
                <a:cubicBezTo>
                  <a:pt x="15756" y="7662"/>
                  <a:pt x="15780" y="7611"/>
                  <a:pt x="15780" y="7549"/>
                </a:cubicBezTo>
                <a:cubicBezTo>
                  <a:pt x="15780" y="7486"/>
                  <a:pt x="15756" y="7435"/>
                  <a:pt x="15726" y="7435"/>
                </a:cubicBezTo>
                <a:close/>
                <a:moveTo>
                  <a:pt x="15571" y="7762"/>
                </a:moveTo>
                <a:cubicBezTo>
                  <a:pt x="15541" y="7762"/>
                  <a:pt x="15517" y="7813"/>
                  <a:pt x="15517" y="7875"/>
                </a:cubicBezTo>
                <a:cubicBezTo>
                  <a:pt x="15517" y="7938"/>
                  <a:pt x="15541" y="7989"/>
                  <a:pt x="15571" y="7989"/>
                </a:cubicBezTo>
                <a:cubicBezTo>
                  <a:pt x="15601" y="7989"/>
                  <a:pt x="15625" y="7938"/>
                  <a:pt x="15625" y="7875"/>
                </a:cubicBezTo>
                <a:cubicBezTo>
                  <a:pt x="15625" y="7813"/>
                  <a:pt x="15601" y="7762"/>
                  <a:pt x="15571" y="7762"/>
                </a:cubicBezTo>
                <a:close/>
                <a:moveTo>
                  <a:pt x="15571" y="7435"/>
                </a:moveTo>
                <a:cubicBezTo>
                  <a:pt x="15541" y="7435"/>
                  <a:pt x="15517" y="7486"/>
                  <a:pt x="15517" y="7549"/>
                </a:cubicBezTo>
                <a:cubicBezTo>
                  <a:pt x="15517" y="7611"/>
                  <a:pt x="15541" y="7662"/>
                  <a:pt x="15571" y="7662"/>
                </a:cubicBezTo>
                <a:cubicBezTo>
                  <a:pt x="15601" y="7662"/>
                  <a:pt x="15625" y="7611"/>
                  <a:pt x="15625" y="7549"/>
                </a:cubicBezTo>
                <a:cubicBezTo>
                  <a:pt x="15625" y="7486"/>
                  <a:pt x="15601" y="7435"/>
                  <a:pt x="15571" y="7435"/>
                </a:cubicBezTo>
                <a:close/>
                <a:moveTo>
                  <a:pt x="15417" y="7762"/>
                </a:moveTo>
                <a:cubicBezTo>
                  <a:pt x="15387" y="7762"/>
                  <a:pt x="15363" y="7813"/>
                  <a:pt x="15363" y="7875"/>
                </a:cubicBezTo>
                <a:cubicBezTo>
                  <a:pt x="15363" y="7938"/>
                  <a:pt x="15387" y="7989"/>
                  <a:pt x="15417" y="7989"/>
                </a:cubicBezTo>
                <a:cubicBezTo>
                  <a:pt x="15447" y="7989"/>
                  <a:pt x="15471" y="7938"/>
                  <a:pt x="15471" y="7875"/>
                </a:cubicBezTo>
                <a:cubicBezTo>
                  <a:pt x="15471" y="7813"/>
                  <a:pt x="15447" y="7762"/>
                  <a:pt x="15417" y="7762"/>
                </a:cubicBezTo>
                <a:close/>
                <a:moveTo>
                  <a:pt x="15417" y="7435"/>
                </a:moveTo>
                <a:cubicBezTo>
                  <a:pt x="15387" y="7435"/>
                  <a:pt x="15363" y="7486"/>
                  <a:pt x="15363" y="7549"/>
                </a:cubicBezTo>
                <a:cubicBezTo>
                  <a:pt x="15363" y="7611"/>
                  <a:pt x="15387" y="7662"/>
                  <a:pt x="15417" y="7662"/>
                </a:cubicBezTo>
                <a:cubicBezTo>
                  <a:pt x="15447" y="7662"/>
                  <a:pt x="15471" y="7611"/>
                  <a:pt x="15471" y="7549"/>
                </a:cubicBezTo>
                <a:cubicBezTo>
                  <a:pt x="15471" y="7486"/>
                  <a:pt x="15447" y="7435"/>
                  <a:pt x="15417" y="7435"/>
                </a:cubicBezTo>
                <a:close/>
                <a:moveTo>
                  <a:pt x="15264" y="7762"/>
                </a:moveTo>
                <a:cubicBezTo>
                  <a:pt x="15235" y="7762"/>
                  <a:pt x="15211" y="7813"/>
                  <a:pt x="15211" y="7875"/>
                </a:cubicBezTo>
                <a:cubicBezTo>
                  <a:pt x="15211" y="7938"/>
                  <a:pt x="15235" y="7989"/>
                  <a:pt x="15264" y="7989"/>
                </a:cubicBezTo>
                <a:cubicBezTo>
                  <a:pt x="15294" y="7989"/>
                  <a:pt x="15318" y="7938"/>
                  <a:pt x="15318" y="7875"/>
                </a:cubicBezTo>
                <a:cubicBezTo>
                  <a:pt x="15318" y="7813"/>
                  <a:pt x="15294" y="7762"/>
                  <a:pt x="15264" y="7762"/>
                </a:cubicBezTo>
                <a:close/>
                <a:moveTo>
                  <a:pt x="15264" y="7435"/>
                </a:moveTo>
                <a:cubicBezTo>
                  <a:pt x="15235" y="7435"/>
                  <a:pt x="15211" y="7486"/>
                  <a:pt x="15211" y="7549"/>
                </a:cubicBezTo>
                <a:cubicBezTo>
                  <a:pt x="15211" y="7611"/>
                  <a:pt x="15235" y="7662"/>
                  <a:pt x="15264" y="7662"/>
                </a:cubicBezTo>
                <a:cubicBezTo>
                  <a:pt x="15294" y="7662"/>
                  <a:pt x="15318" y="7611"/>
                  <a:pt x="15318" y="7549"/>
                </a:cubicBezTo>
                <a:cubicBezTo>
                  <a:pt x="15318" y="7486"/>
                  <a:pt x="15294" y="7435"/>
                  <a:pt x="15264" y="7435"/>
                </a:cubicBezTo>
                <a:close/>
                <a:moveTo>
                  <a:pt x="15726" y="7126"/>
                </a:moveTo>
                <a:cubicBezTo>
                  <a:pt x="15697" y="7126"/>
                  <a:pt x="15673" y="7176"/>
                  <a:pt x="15673" y="7239"/>
                </a:cubicBezTo>
                <a:cubicBezTo>
                  <a:pt x="15673" y="7301"/>
                  <a:pt x="15697" y="7352"/>
                  <a:pt x="15726" y="7352"/>
                </a:cubicBezTo>
                <a:cubicBezTo>
                  <a:pt x="15756" y="7352"/>
                  <a:pt x="15780" y="7301"/>
                  <a:pt x="15780" y="7239"/>
                </a:cubicBezTo>
                <a:cubicBezTo>
                  <a:pt x="15780" y="7176"/>
                  <a:pt x="15756" y="7126"/>
                  <a:pt x="15726" y="7126"/>
                </a:cubicBezTo>
                <a:close/>
                <a:moveTo>
                  <a:pt x="15726" y="6799"/>
                </a:moveTo>
                <a:cubicBezTo>
                  <a:pt x="15697" y="6799"/>
                  <a:pt x="15673" y="6849"/>
                  <a:pt x="15673" y="6912"/>
                </a:cubicBezTo>
                <a:cubicBezTo>
                  <a:pt x="15673" y="6974"/>
                  <a:pt x="15697" y="7025"/>
                  <a:pt x="15726" y="7025"/>
                </a:cubicBezTo>
                <a:cubicBezTo>
                  <a:pt x="15756" y="7025"/>
                  <a:pt x="15780" y="6974"/>
                  <a:pt x="15780" y="6912"/>
                </a:cubicBezTo>
                <a:cubicBezTo>
                  <a:pt x="15780" y="6849"/>
                  <a:pt x="15756" y="6799"/>
                  <a:pt x="15726" y="6799"/>
                </a:cubicBezTo>
                <a:close/>
                <a:moveTo>
                  <a:pt x="15571" y="7126"/>
                </a:moveTo>
                <a:cubicBezTo>
                  <a:pt x="15541" y="7126"/>
                  <a:pt x="15517" y="7176"/>
                  <a:pt x="15517" y="7239"/>
                </a:cubicBezTo>
                <a:cubicBezTo>
                  <a:pt x="15517" y="7301"/>
                  <a:pt x="15541" y="7352"/>
                  <a:pt x="15571" y="7352"/>
                </a:cubicBezTo>
                <a:cubicBezTo>
                  <a:pt x="15601" y="7352"/>
                  <a:pt x="15625" y="7301"/>
                  <a:pt x="15625" y="7239"/>
                </a:cubicBezTo>
                <a:cubicBezTo>
                  <a:pt x="15625" y="7176"/>
                  <a:pt x="15601" y="7126"/>
                  <a:pt x="15571" y="7126"/>
                </a:cubicBezTo>
                <a:close/>
                <a:moveTo>
                  <a:pt x="15571" y="6799"/>
                </a:moveTo>
                <a:cubicBezTo>
                  <a:pt x="15541" y="6799"/>
                  <a:pt x="15517" y="6849"/>
                  <a:pt x="15517" y="6912"/>
                </a:cubicBezTo>
                <a:cubicBezTo>
                  <a:pt x="15517" y="6974"/>
                  <a:pt x="15541" y="7025"/>
                  <a:pt x="15571" y="7025"/>
                </a:cubicBezTo>
                <a:cubicBezTo>
                  <a:pt x="15601" y="7025"/>
                  <a:pt x="15625" y="6974"/>
                  <a:pt x="15625" y="6912"/>
                </a:cubicBezTo>
                <a:cubicBezTo>
                  <a:pt x="15625" y="6849"/>
                  <a:pt x="15601" y="6799"/>
                  <a:pt x="15571" y="6799"/>
                </a:cubicBezTo>
                <a:close/>
                <a:moveTo>
                  <a:pt x="15417" y="7126"/>
                </a:moveTo>
                <a:cubicBezTo>
                  <a:pt x="15387" y="7126"/>
                  <a:pt x="15363" y="7176"/>
                  <a:pt x="15363" y="7239"/>
                </a:cubicBezTo>
                <a:cubicBezTo>
                  <a:pt x="15363" y="7301"/>
                  <a:pt x="15387" y="7352"/>
                  <a:pt x="15417" y="7352"/>
                </a:cubicBezTo>
                <a:cubicBezTo>
                  <a:pt x="15447" y="7352"/>
                  <a:pt x="15471" y="7301"/>
                  <a:pt x="15471" y="7239"/>
                </a:cubicBezTo>
                <a:cubicBezTo>
                  <a:pt x="15471" y="7176"/>
                  <a:pt x="15447" y="7126"/>
                  <a:pt x="15417" y="7126"/>
                </a:cubicBezTo>
                <a:close/>
                <a:moveTo>
                  <a:pt x="15417" y="6799"/>
                </a:moveTo>
                <a:cubicBezTo>
                  <a:pt x="15387" y="6799"/>
                  <a:pt x="15363" y="6849"/>
                  <a:pt x="15363" y="6912"/>
                </a:cubicBezTo>
                <a:cubicBezTo>
                  <a:pt x="15363" y="6974"/>
                  <a:pt x="15387" y="7025"/>
                  <a:pt x="15417" y="7025"/>
                </a:cubicBezTo>
                <a:cubicBezTo>
                  <a:pt x="15447" y="7025"/>
                  <a:pt x="15471" y="6974"/>
                  <a:pt x="15471" y="6912"/>
                </a:cubicBezTo>
                <a:cubicBezTo>
                  <a:pt x="15471" y="6849"/>
                  <a:pt x="15447" y="6799"/>
                  <a:pt x="15417" y="6799"/>
                </a:cubicBezTo>
                <a:close/>
                <a:moveTo>
                  <a:pt x="15264" y="7126"/>
                </a:moveTo>
                <a:cubicBezTo>
                  <a:pt x="15235" y="7126"/>
                  <a:pt x="15211" y="7176"/>
                  <a:pt x="15211" y="7239"/>
                </a:cubicBezTo>
                <a:cubicBezTo>
                  <a:pt x="15211" y="7301"/>
                  <a:pt x="15235" y="7352"/>
                  <a:pt x="15264" y="7352"/>
                </a:cubicBezTo>
                <a:cubicBezTo>
                  <a:pt x="15294" y="7352"/>
                  <a:pt x="15318" y="7301"/>
                  <a:pt x="15318" y="7239"/>
                </a:cubicBezTo>
                <a:cubicBezTo>
                  <a:pt x="15318" y="7176"/>
                  <a:pt x="15294" y="7126"/>
                  <a:pt x="15264" y="7126"/>
                </a:cubicBezTo>
                <a:close/>
                <a:moveTo>
                  <a:pt x="15264" y="6799"/>
                </a:moveTo>
                <a:cubicBezTo>
                  <a:pt x="15235" y="6799"/>
                  <a:pt x="15211" y="6849"/>
                  <a:pt x="15211" y="6912"/>
                </a:cubicBezTo>
                <a:cubicBezTo>
                  <a:pt x="15211" y="6974"/>
                  <a:pt x="15235" y="7025"/>
                  <a:pt x="15264" y="7025"/>
                </a:cubicBezTo>
                <a:cubicBezTo>
                  <a:pt x="15294" y="7025"/>
                  <a:pt x="15318" y="6974"/>
                  <a:pt x="15318" y="6912"/>
                </a:cubicBezTo>
                <a:cubicBezTo>
                  <a:pt x="15318" y="6849"/>
                  <a:pt x="15294" y="6799"/>
                  <a:pt x="15264" y="6799"/>
                </a:cubicBezTo>
                <a:close/>
                <a:moveTo>
                  <a:pt x="15726" y="6472"/>
                </a:moveTo>
                <a:cubicBezTo>
                  <a:pt x="15697" y="6472"/>
                  <a:pt x="15673" y="6522"/>
                  <a:pt x="15673" y="6585"/>
                </a:cubicBezTo>
                <a:cubicBezTo>
                  <a:pt x="15673" y="6647"/>
                  <a:pt x="15697" y="6698"/>
                  <a:pt x="15726" y="6698"/>
                </a:cubicBezTo>
                <a:cubicBezTo>
                  <a:pt x="15756" y="6698"/>
                  <a:pt x="15780" y="6647"/>
                  <a:pt x="15780" y="6585"/>
                </a:cubicBezTo>
                <a:cubicBezTo>
                  <a:pt x="15780" y="6522"/>
                  <a:pt x="15756" y="6472"/>
                  <a:pt x="15726" y="6472"/>
                </a:cubicBezTo>
                <a:close/>
                <a:moveTo>
                  <a:pt x="15726" y="6145"/>
                </a:moveTo>
                <a:cubicBezTo>
                  <a:pt x="15697" y="6145"/>
                  <a:pt x="15673" y="6196"/>
                  <a:pt x="15673" y="6258"/>
                </a:cubicBezTo>
                <a:cubicBezTo>
                  <a:pt x="15673" y="6321"/>
                  <a:pt x="15697" y="6371"/>
                  <a:pt x="15726" y="6371"/>
                </a:cubicBezTo>
                <a:cubicBezTo>
                  <a:pt x="15756" y="6371"/>
                  <a:pt x="15780" y="6321"/>
                  <a:pt x="15780" y="6258"/>
                </a:cubicBezTo>
                <a:cubicBezTo>
                  <a:pt x="15780" y="6196"/>
                  <a:pt x="15756" y="6145"/>
                  <a:pt x="15726" y="6145"/>
                </a:cubicBezTo>
                <a:close/>
                <a:moveTo>
                  <a:pt x="15571" y="6472"/>
                </a:moveTo>
                <a:cubicBezTo>
                  <a:pt x="15541" y="6472"/>
                  <a:pt x="15517" y="6522"/>
                  <a:pt x="15517" y="6585"/>
                </a:cubicBezTo>
                <a:cubicBezTo>
                  <a:pt x="15517" y="6647"/>
                  <a:pt x="15541" y="6698"/>
                  <a:pt x="15571" y="6698"/>
                </a:cubicBezTo>
                <a:cubicBezTo>
                  <a:pt x="15601" y="6698"/>
                  <a:pt x="15625" y="6647"/>
                  <a:pt x="15625" y="6585"/>
                </a:cubicBezTo>
                <a:cubicBezTo>
                  <a:pt x="15625" y="6522"/>
                  <a:pt x="15601" y="6472"/>
                  <a:pt x="15571" y="6472"/>
                </a:cubicBezTo>
                <a:close/>
                <a:moveTo>
                  <a:pt x="15571" y="6145"/>
                </a:moveTo>
                <a:cubicBezTo>
                  <a:pt x="15541" y="6145"/>
                  <a:pt x="15517" y="6196"/>
                  <a:pt x="15517" y="6258"/>
                </a:cubicBezTo>
                <a:cubicBezTo>
                  <a:pt x="15517" y="6321"/>
                  <a:pt x="15541" y="6371"/>
                  <a:pt x="15571" y="6371"/>
                </a:cubicBezTo>
                <a:cubicBezTo>
                  <a:pt x="15601" y="6371"/>
                  <a:pt x="15625" y="6321"/>
                  <a:pt x="15625" y="6258"/>
                </a:cubicBezTo>
                <a:cubicBezTo>
                  <a:pt x="15625" y="6196"/>
                  <a:pt x="15601" y="6145"/>
                  <a:pt x="15571" y="6145"/>
                </a:cubicBezTo>
                <a:close/>
                <a:moveTo>
                  <a:pt x="15417" y="6472"/>
                </a:moveTo>
                <a:cubicBezTo>
                  <a:pt x="15387" y="6472"/>
                  <a:pt x="15363" y="6522"/>
                  <a:pt x="15363" y="6585"/>
                </a:cubicBezTo>
                <a:cubicBezTo>
                  <a:pt x="15363" y="6647"/>
                  <a:pt x="15387" y="6698"/>
                  <a:pt x="15417" y="6698"/>
                </a:cubicBezTo>
                <a:cubicBezTo>
                  <a:pt x="15447" y="6698"/>
                  <a:pt x="15471" y="6647"/>
                  <a:pt x="15471" y="6585"/>
                </a:cubicBezTo>
                <a:cubicBezTo>
                  <a:pt x="15471" y="6522"/>
                  <a:pt x="15447" y="6472"/>
                  <a:pt x="15417" y="6472"/>
                </a:cubicBezTo>
                <a:close/>
                <a:moveTo>
                  <a:pt x="15417" y="6145"/>
                </a:moveTo>
                <a:cubicBezTo>
                  <a:pt x="15387" y="6145"/>
                  <a:pt x="15363" y="6196"/>
                  <a:pt x="15363" y="6258"/>
                </a:cubicBezTo>
                <a:cubicBezTo>
                  <a:pt x="15363" y="6321"/>
                  <a:pt x="15387" y="6371"/>
                  <a:pt x="15417" y="6371"/>
                </a:cubicBezTo>
                <a:cubicBezTo>
                  <a:pt x="15447" y="6371"/>
                  <a:pt x="15471" y="6321"/>
                  <a:pt x="15471" y="6258"/>
                </a:cubicBezTo>
                <a:cubicBezTo>
                  <a:pt x="15471" y="6196"/>
                  <a:pt x="15447" y="6145"/>
                  <a:pt x="15417" y="6145"/>
                </a:cubicBezTo>
                <a:close/>
                <a:moveTo>
                  <a:pt x="15264" y="6472"/>
                </a:moveTo>
                <a:cubicBezTo>
                  <a:pt x="15235" y="6472"/>
                  <a:pt x="15211" y="6522"/>
                  <a:pt x="15211" y="6585"/>
                </a:cubicBezTo>
                <a:cubicBezTo>
                  <a:pt x="15211" y="6647"/>
                  <a:pt x="15235" y="6698"/>
                  <a:pt x="15264" y="6698"/>
                </a:cubicBezTo>
                <a:cubicBezTo>
                  <a:pt x="15294" y="6698"/>
                  <a:pt x="15318" y="6647"/>
                  <a:pt x="15318" y="6585"/>
                </a:cubicBezTo>
                <a:cubicBezTo>
                  <a:pt x="15318" y="6522"/>
                  <a:pt x="15294" y="6472"/>
                  <a:pt x="15264" y="6472"/>
                </a:cubicBezTo>
                <a:close/>
                <a:moveTo>
                  <a:pt x="15264" y="6145"/>
                </a:moveTo>
                <a:cubicBezTo>
                  <a:pt x="15235" y="6145"/>
                  <a:pt x="15211" y="6196"/>
                  <a:pt x="15211" y="6258"/>
                </a:cubicBezTo>
                <a:cubicBezTo>
                  <a:pt x="15211" y="6321"/>
                  <a:pt x="15235" y="6371"/>
                  <a:pt x="15264" y="6371"/>
                </a:cubicBezTo>
                <a:cubicBezTo>
                  <a:pt x="15294" y="6371"/>
                  <a:pt x="15318" y="6321"/>
                  <a:pt x="15318" y="6258"/>
                </a:cubicBezTo>
                <a:cubicBezTo>
                  <a:pt x="15318" y="6196"/>
                  <a:pt x="15294" y="6145"/>
                  <a:pt x="15264" y="6145"/>
                </a:cubicBezTo>
                <a:close/>
                <a:moveTo>
                  <a:pt x="14345" y="9721"/>
                </a:moveTo>
                <a:cubicBezTo>
                  <a:pt x="14315" y="9721"/>
                  <a:pt x="14291" y="9772"/>
                  <a:pt x="14291" y="9834"/>
                </a:cubicBezTo>
                <a:cubicBezTo>
                  <a:pt x="14291" y="9897"/>
                  <a:pt x="14315" y="9947"/>
                  <a:pt x="14345" y="9947"/>
                </a:cubicBezTo>
                <a:cubicBezTo>
                  <a:pt x="14374" y="9947"/>
                  <a:pt x="14398" y="9897"/>
                  <a:pt x="14398" y="9834"/>
                </a:cubicBezTo>
                <a:cubicBezTo>
                  <a:pt x="14398" y="9772"/>
                  <a:pt x="14374" y="9721"/>
                  <a:pt x="14345" y="9721"/>
                </a:cubicBezTo>
                <a:close/>
                <a:moveTo>
                  <a:pt x="14345" y="9394"/>
                </a:moveTo>
                <a:cubicBezTo>
                  <a:pt x="14315" y="9394"/>
                  <a:pt x="14291" y="9445"/>
                  <a:pt x="14291" y="9507"/>
                </a:cubicBezTo>
                <a:cubicBezTo>
                  <a:pt x="14291" y="9570"/>
                  <a:pt x="14315" y="9621"/>
                  <a:pt x="14345" y="9621"/>
                </a:cubicBezTo>
                <a:cubicBezTo>
                  <a:pt x="14374" y="9621"/>
                  <a:pt x="14398" y="9570"/>
                  <a:pt x="14398" y="9507"/>
                </a:cubicBezTo>
                <a:cubicBezTo>
                  <a:pt x="14398" y="9445"/>
                  <a:pt x="14374" y="9394"/>
                  <a:pt x="14345" y="9394"/>
                </a:cubicBezTo>
                <a:close/>
                <a:moveTo>
                  <a:pt x="14189" y="9721"/>
                </a:moveTo>
                <a:cubicBezTo>
                  <a:pt x="14160" y="9721"/>
                  <a:pt x="14135" y="9772"/>
                  <a:pt x="14135" y="9834"/>
                </a:cubicBezTo>
                <a:cubicBezTo>
                  <a:pt x="14135" y="9897"/>
                  <a:pt x="14160" y="9947"/>
                  <a:pt x="14189" y="9947"/>
                </a:cubicBezTo>
                <a:cubicBezTo>
                  <a:pt x="14219" y="9947"/>
                  <a:pt x="14243" y="9897"/>
                  <a:pt x="14243" y="9834"/>
                </a:cubicBezTo>
                <a:cubicBezTo>
                  <a:pt x="14243" y="9772"/>
                  <a:pt x="14219" y="9721"/>
                  <a:pt x="14189" y="9721"/>
                </a:cubicBezTo>
                <a:close/>
                <a:moveTo>
                  <a:pt x="14189" y="9394"/>
                </a:moveTo>
                <a:cubicBezTo>
                  <a:pt x="14160" y="9394"/>
                  <a:pt x="14135" y="9445"/>
                  <a:pt x="14135" y="9507"/>
                </a:cubicBezTo>
                <a:cubicBezTo>
                  <a:pt x="14135" y="9570"/>
                  <a:pt x="14160" y="9621"/>
                  <a:pt x="14189" y="9621"/>
                </a:cubicBezTo>
                <a:cubicBezTo>
                  <a:pt x="14219" y="9621"/>
                  <a:pt x="14243" y="9570"/>
                  <a:pt x="14243" y="9507"/>
                </a:cubicBezTo>
                <a:cubicBezTo>
                  <a:pt x="14243" y="9445"/>
                  <a:pt x="14219" y="9394"/>
                  <a:pt x="14189" y="9394"/>
                </a:cubicBezTo>
                <a:close/>
                <a:moveTo>
                  <a:pt x="14345" y="9067"/>
                </a:moveTo>
                <a:cubicBezTo>
                  <a:pt x="14315" y="9067"/>
                  <a:pt x="14291" y="9118"/>
                  <a:pt x="14291" y="9181"/>
                </a:cubicBezTo>
                <a:cubicBezTo>
                  <a:pt x="14291" y="9243"/>
                  <a:pt x="14315" y="9294"/>
                  <a:pt x="14345" y="9294"/>
                </a:cubicBezTo>
                <a:cubicBezTo>
                  <a:pt x="14374" y="9294"/>
                  <a:pt x="14398" y="9243"/>
                  <a:pt x="14398" y="9181"/>
                </a:cubicBezTo>
                <a:cubicBezTo>
                  <a:pt x="14398" y="9118"/>
                  <a:pt x="14374" y="9067"/>
                  <a:pt x="14345" y="9067"/>
                </a:cubicBezTo>
                <a:close/>
                <a:moveTo>
                  <a:pt x="14053" y="8741"/>
                </a:moveTo>
                <a:cubicBezTo>
                  <a:pt x="14023" y="8741"/>
                  <a:pt x="13999" y="8791"/>
                  <a:pt x="13999" y="8854"/>
                </a:cubicBezTo>
                <a:cubicBezTo>
                  <a:pt x="13999" y="8916"/>
                  <a:pt x="14023" y="8967"/>
                  <a:pt x="14053" y="8967"/>
                </a:cubicBezTo>
                <a:cubicBezTo>
                  <a:pt x="14082" y="8967"/>
                  <a:pt x="14106" y="8916"/>
                  <a:pt x="14106" y="8854"/>
                </a:cubicBezTo>
                <a:cubicBezTo>
                  <a:pt x="14106" y="8791"/>
                  <a:pt x="14082" y="8741"/>
                  <a:pt x="14053" y="8741"/>
                </a:cubicBezTo>
                <a:close/>
                <a:moveTo>
                  <a:pt x="13897" y="8741"/>
                </a:moveTo>
                <a:cubicBezTo>
                  <a:pt x="13868" y="8741"/>
                  <a:pt x="13844" y="8791"/>
                  <a:pt x="13844" y="8854"/>
                </a:cubicBezTo>
                <a:cubicBezTo>
                  <a:pt x="13844" y="8916"/>
                  <a:pt x="13868" y="8967"/>
                  <a:pt x="13897" y="8967"/>
                </a:cubicBezTo>
                <a:cubicBezTo>
                  <a:pt x="13927" y="8967"/>
                  <a:pt x="13951" y="8916"/>
                  <a:pt x="13951" y="8854"/>
                </a:cubicBezTo>
                <a:cubicBezTo>
                  <a:pt x="13951" y="8791"/>
                  <a:pt x="13927" y="8741"/>
                  <a:pt x="13897" y="8741"/>
                </a:cubicBezTo>
                <a:close/>
                <a:moveTo>
                  <a:pt x="14345" y="8741"/>
                </a:moveTo>
                <a:cubicBezTo>
                  <a:pt x="14315" y="8741"/>
                  <a:pt x="14291" y="8791"/>
                  <a:pt x="14291" y="8854"/>
                </a:cubicBezTo>
                <a:cubicBezTo>
                  <a:pt x="14291" y="8916"/>
                  <a:pt x="14315" y="8967"/>
                  <a:pt x="14345" y="8967"/>
                </a:cubicBezTo>
                <a:cubicBezTo>
                  <a:pt x="14374" y="8967"/>
                  <a:pt x="14398" y="8916"/>
                  <a:pt x="14398" y="8854"/>
                </a:cubicBezTo>
                <a:cubicBezTo>
                  <a:pt x="14398" y="8791"/>
                  <a:pt x="14374" y="8741"/>
                  <a:pt x="14345" y="8741"/>
                </a:cubicBezTo>
                <a:close/>
                <a:moveTo>
                  <a:pt x="14189" y="9067"/>
                </a:moveTo>
                <a:cubicBezTo>
                  <a:pt x="14160" y="9067"/>
                  <a:pt x="14135" y="9118"/>
                  <a:pt x="14135" y="9181"/>
                </a:cubicBezTo>
                <a:cubicBezTo>
                  <a:pt x="14135" y="9243"/>
                  <a:pt x="14160" y="9294"/>
                  <a:pt x="14189" y="9294"/>
                </a:cubicBezTo>
                <a:cubicBezTo>
                  <a:pt x="14219" y="9294"/>
                  <a:pt x="14243" y="9243"/>
                  <a:pt x="14243" y="9181"/>
                </a:cubicBezTo>
                <a:cubicBezTo>
                  <a:pt x="14243" y="9118"/>
                  <a:pt x="14219" y="9067"/>
                  <a:pt x="14189" y="9067"/>
                </a:cubicBezTo>
                <a:close/>
                <a:moveTo>
                  <a:pt x="14189" y="8741"/>
                </a:moveTo>
                <a:cubicBezTo>
                  <a:pt x="14160" y="8741"/>
                  <a:pt x="14135" y="8791"/>
                  <a:pt x="14135" y="8854"/>
                </a:cubicBezTo>
                <a:cubicBezTo>
                  <a:pt x="14135" y="8916"/>
                  <a:pt x="14160" y="8967"/>
                  <a:pt x="14189" y="8967"/>
                </a:cubicBezTo>
                <a:cubicBezTo>
                  <a:pt x="14219" y="8967"/>
                  <a:pt x="14243" y="8916"/>
                  <a:pt x="14243" y="8854"/>
                </a:cubicBezTo>
                <a:cubicBezTo>
                  <a:pt x="14243" y="8791"/>
                  <a:pt x="14219" y="8741"/>
                  <a:pt x="14189" y="8741"/>
                </a:cubicBezTo>
                <a:close/>
                <a:moveTo>
                  <a:pt x="14035" y="9067"/>
                </a:moveTo>
                <a:cubicBezTo>
                  <a:pt x="14006" y="9067"/>
                  <a:pt x="13981" y="9118"/>
                  <a:pt x="13981" y="9181"/>
                </a:cubicBezTo>
                <a:cubicBezTo>
                  <a:pt x="13981" y="9243"/>
                  <a:pt x="14006" y="9294"/>
                  <a:pt x="14035" y="9294"/>
                </a:cubicBezTo>
                <a:cubicBezTo>
                  <a:pt x="14065" y="9294"/>
                  <a:pt x="14089" y="9243"/>
                  <a:pt x="14089" y="9181"/>
                </a:cubicBezTo>
                <a:cubicBezTo>
                  <a:pt x="14089" y="9118"/>
                  <a:pt x="14065" y="9067"/>
                  <a:pt x="14035" y="9067"/>
                </a:cubicBezTo>
                <a:close/>
                <a:moveTo>
                  <a:pt x="14958" y="9394"/>
                </a:moveTo>
                <a:cubicBezTo>
                  <a:pt x="14928" y="9394"/>
                  <a:pt x="14904" y="9445"/>
                  <a:pt x="14904" y="9507"/>
                </a:cubicBezTo>
                <a:cubicBezTo>
                  <a:pt x="14904" y="9570"/>
                  <a:pt x="14928" y="9621"/>
                  <a:pt x="14958" y="9621"/>
                </a:cubicBezTo>
                <a:cubicBezTo>
                  <a:pt x="14988" y="9621"/>
                  <a:pt x="15012" y="9570"/>
                  <a:pt x="15012" y="9507"/>
                </a:cubicBezTo>
                <a:cubicBezTo>
                  <a:pt x="15012" y="9445"/>
                  <a:pt x="14988" y="9394"/>
                  <a:pt x="14958" y="9394"/>
                </a:cubicBezTo>
                <a:close/>
                <a:moveTo>
                  <a:pt x="14803" y="9721"/>
                </a:moveTo>
                <a:cubicBezTo>
                  <a:pt x="14773" y="9721"/>
                  <a:pt x="14749" y="9772"/>
                  <a:pt x="14749" y="9834"/>
                </a:cubicBezTo>
                <a:cubicBezTo>
                  <a:pt x="14749" y="9897"/>
                  <a:pt x="14773" y="9947"/>
                  <a:pt x="14803" y="9947"/>
                </a:cubicBezTo>
                <a:cubicBezTo>
                  <a:pt x="14832" y="9947"/>
                  <a:pt x="14857" y="9897"/>
                  <a:pt x="14857" y="9834"/>
                </a:cubicBezTo>
                <a:cubicBezTo>
                  <a:pt x="14857" y="9772"/>
                  <a:pt x="14832" y="9721"/>
                  <a:pt x="14803" y="9721"/>
                </a:cubicBezTo>
                <a:close/>
                <a:moveTo>
                  <a:pt x="14803" y="9394"/>
                </a:moveTo>
                <a:cubicBezTo>
                  <a:pt x="14773" y="9394"/>
                  <a:pt x="14749" y="9445"/>
                  <a:pt x="14749" y="9507"/>
                </a:cubicBezTo>
                <a:cubicBezTo>
                  <a:pt x="14749" y="9570"/>
                  <a:pt x="14773" y="9621"/>
                  <a:pt x="14803" y="9621"/>
                </a:cubicBezTo>
                <a:cubicBezTo>
                  <a:pt x="14832" y="9621"/>
                  <a:pt x="14857" y="9570"/>
                  <a:pt x="14857" y="9507"/>
                </a:cubicBezTo>
                <a:cubicBezTo>
                  <a:pt x="14857" y="9445"/>
                  <a:pt x="14832" y="9394"/>
                  <a:pt x="14803" y="9394"/>
                </a:cubicBezTo>
                <a:close/>
                <a:moveTo>
                  <a:pt x="14649" y="9721"/>
                </a:moveTo>
                <a:cubicBezTo>
                  <a:pt x="14619" y="9721"/>
                  <a:pt x="14595" y="9772"/>
                  <a:pt x="14595" y="9834"/>
                </a:cubicBezTo>
                <a:cubicBezTo>
                  <a:pt x="14595" y="9897"/>
                  <a:pt x="14619" y="9947"/>
                  <a:pt x="14649" y="9947"/>
                </a:cubicBezTo>
                <a:cubicBezTo>
                  <a:pt x="14678" y="9947"/>
                  <a:pt x="14703" y="9897"/>
                  <a:pt x="14703" y="9834"/>
                </a:cubicBezTo>
                <a:cubicBezTo>
                  <a:pt x="14703" y="9772"/>
                  <a:pt x="14678" y="9721"/>
                  <a:pt x="14649" y="9721"/>
                </a:cubicBezTo>
                <a:close/>
                <a:moveTo>
                  <a:pt x="14649" y="9394"/>
                </a:moveTo>
                <a:cubicBezTo>
                  <a:pt x="14619" y="9394"/>
                  <a:pt x="14595" y="9445"/>
                  <a:pt x="14595" y="9507"/>
                </a:cubicBezTo>
                <a:cubicBezTo>
                  <a:pt x="14595" y="9570"/>
                  <a:pt x="14619" y="9621"/>
                  <a:pt x="14649" y="9621"/>
                </a:cubicBezTo>
                <a:cubicBezTo>
                  <a:pt x="14678" y="9621"/>
                  <a:pt x="14703" y="9570"/>
                  <a:pt x="14703" y="9507"/>
                </a:cubicBezTo>
                <a:cubicBezTo>
                  <a:pt x="14703" y="9445"/>
                  <a:pt x="14678" y="9394"/>
                  <a:pt x="14649" y="9394"/>
                </a:cubicBezTo>
                <a:close/>
                <a:moveTo>
                  <a:pt x="14496" y="9721"/>
                </a:moveTo>
                <a:cubicBezTo>
                  <a:pt x="14466" y="9721"/>
                  <a:pt x="14442" y="9772"/>
                  <a:pt x="14442" y="9834"/>
                </a:cubicBezTo>
                <a:cubicBezTo>
                  <a:pt x="14442" y="9897"/>
                  <a:pt x="14466" y="9947"/>
                  <a:pt x="14496" y="9947"/>
                </a:cubicBezTo>
                <a:cubicBezTo>
                  <a:pt x="14526" y="9947"/>
                  <a:pt x="14550" y="9897"/>
                  <a:pt x="14550" y="9834"/>
                </a:cubicBezTo>
                <a:cubicBezTo>
                  <a:pt x="14550" y="9772"/>
                  <a:pt x="14526" y="9721"/>
                  <a:pt x="14496" y="9721"/>
                </a:cubicBezTo>
                <a:close/>
                <a:moveTo>
                  <a:pt x="14496" y="9394"/>
                </a:moveTo>
                <a:cubicBezTo>
                  <a:pt x="14466" y="9394"/>
                  <a:pt x="14442" y="9445"/>
                  <a:pt x="14442" y="9507"/>
                </a:cubicBezTo>
                <a:cubicBezTo>
                  <a:pt x="14442" y="9570"/>
                  <a:pt x="14466" y="9621"/>
                  <a:pt x="14496" y="9621"/>
                </a:cubicBezTo>
                <a:cubicBezTo>
                  <a:pt x="14526" y="9621"/>
                  <a:pt x="14550" y="9570"/>
                  <a:pt x="14550" y="9507"/>
                </a:cubicBezTo>
                <a:cubicBezTo>
                  <a:pt x="14550" y="9445"/>
                  <a:pt x="14526" y="9394"/>
                  <a:pt x="14496" y="9394"/>
                </a:cubicBezTo>
                <a:close/>
                <a:moveTo>
                  <a:pt x="15111" y="9067"/>
                </a:moveTo>
                <a:cubicBezTo>
                  <a:pt x="15081" y="9067"/>
                  <a:pt x="15057" y="9118"/>
                  <a:pt x="15057" y="9181"/>
                </a:cubicBezTo>
                <a:cubicBezTo>
                  <a:pt x="15057" y="9243"/>
                  <a:pt x="15081" y="9294"/>
                  <a:pt x="15111" y="9294"/>
                </a:cubicBezTo>
                <a:cubicBezTo>
                  <a:pt x="15140" y="9294"/>
                  <a:pt x="15165" y="9243"/>
                  <a:pt x="15165" y="9181"/>
                </a:cubicBezTo>
                <a:cubicBezTo>
                  <a:pt x="15165" y="9118"/>
                  <a:pt x="15140" y="9067"/>
                  <a:pt x="15111" y="9067"/>
                </a:cubicBezTo>
                <a:close/>
                <a:moveTo>
                  <a:pt x="15111" y="8741"/>
                </a:moveTo>
                <a:cubicBezTo>
                  <a:pt x="15081" y="8741"/>
                  <a:pt x="15057" y="8791"/>
                  <a:pt x="15057" y="8854"/>
                </a:cubicBezTo>
                <a:cubicBezTo>
                  <a:pt x="15057" y="8916"/>
                  <a:pt x="15081" y="8967"/>
                  <a:pt x="15111" y="8967"/>
                </a:cubicBezTo>
                <a:cubicBezTo>
                  <a:pt x="15140" y="8967"/>
                  <a:pt x="15165" y="8916"/>
                  <a:pt x="15165" y="8854"/>
                </a:cubicBezTo>
                <a:cubicBezTo>
                  <a:pt x="15165" y="8791"/>
                  <a:pt x="15140" y="8741"/>
                  <a:pt x="15111" y="8741"/>
                </a:cubicBezTo>
                <a:close/>
                <a:moveTo>
                  <a:pt x="14958" y="9067"/>
                </a:moveTo>
                <a:cubicBezTo>
                  <a:pt x="14928" y="9067"/>
                  <a:pt x="14904" y="9118"/>
                  <a:pt x="14904" y="9181"/>
                </a:cubicBezTo>
                <a:cubicBezTo>
                  <a:pt x="14904" y="9243"/>
                  <a:pt x="14928" y="9294"/>
                  <a:pt x="14958" y="9294"/>
                </a:cubicBezTo>
                <a:cubicBezTo>
                  <a:pt x="14988" y="9294"/>
                  <a:pt x="15012" y="9243"/>
                  <a:pt x="15012" y="9181"/>
                </a:cubicBezTo>
                <a:cubicBezTo>
                  <a:pt x="15012" y="9118"/>
                  <a:pt x="14988" y="9067"/>
                  <a:pt x="14958" y="9067"/>
                </a:cubicBezTo>
                <a:close/>
                <a:moveTo>
                  <a:pt x="14958" y="8741"/>
                </a:moveTo>
                <a:cubicBezTo>
                  <a:pt x="14928" y="8741"/>
                  <a:pt x="14904" y="8791"/>
                  <a:pt x="14904" y="8854"/>
                </a:cubicBezTo>
                <a:cubicBezTo>
                  <a:pt x="14904" y="8916"/>
                  <a:pt x="14928" y="8967"/>
                  <a:pt x="14958" y="8967"/>
                </a:cubicBezTo>
                <a:cubicBezTo>
                  <a:pt x="14988" y="8967"/>
                  <a:pt x="15012" y="8916"/>
                  <a:pt x="15012" y="8854"/>
                </a:cubicBezTo>
                <a:cubicBezTo>
                  <a:pt x="15012" y="8791"/>
                  <a:pt x="14988" y="8741"/>
                  <a:pt x="14958" y="8741"/>
                </a:cubicBezTo>
                <a:close/>
                <a:moveTo>
                  <a:pt x="14803" y="9067"/>
                </a:moveTo>
                <a:cubicBezTo>
                  <a:pt x="14773" y="9067"/>
                  <a:pt x="14749" y="9118"/>
                  <a:pt x="14749" y="9181"/>
                </a:cubicBezTo>
                <a:cubicBezTo>
                  <a:pt x="14749" y="9243"/>
                  <a:pt x="14773" y="9294"/>
                  <a:pt x="14803" y="9294"/>
                </a:cubicBezTo>
                <a:cubicBezTo>
                  <a:pt x="14832" y="9294"/>
                  <a:pt x="14857" y="9243"/>
                  <a:pt x="14857" y="9181"/>
                </a:cubicBezTo>
                <a:cubicBezTo>
                  <a:pt x="14857" y="9118"/>
                  <a:pt x="14832" y="9067"/>
                  <a:pt x="14803" y="9067"/>
                </a:cubicBezTo>
                <a:close/>
                <a:moveTo>
                  <a:pt x="14803" y="8741"/>
                </a:moveTo>
                <a:cubicBezTo>
                  <a:pt x="14773" y="8741"/>
                  <a:pt x="14749" y="8791"/>
                  <a:pt x="14749" y="8854"/>
                </a:cubicBezTo>
                <a:cubicBezTo>
                  <a:pt x="14749" y="8916"/>
                  <a:pt x="14773" y="8967"/>
                  <a:pt x="14803" y="8967"/>
                </a:cubicBezTo>
                <a:cubicBezTo>
                  <a:pt x="14832" y="8967"/>
                  <a:pt x="14857" y="8916"/>
                  <a:pt x="14857" y="8854"/>
                </a:cubicBezTo>
                <a:cubicBezTo>
                  <a:pt x="14857" y="8791"/>
                  <a:pt x="14832" y="8741"/>
                  <a:pt x="14803" y="8741"/>
                </a:cubicBezTo>
                <a:close/>
                <a:moveTo>
                  <a:pt x="14649" y="9067"/>
                </a:moveTo>
                <a:cubicBezTo>
                  <a:pt x="14619" y="9067"/>
                  <a:pt x="14595" y="9118"/>
                  <a:pt x="14595" y="9181"/>
                </a:cubicBezTo>
                <a:cubicBezTo>
                  <a:pt x="14595" y="9243"/>
                  <a:pt x="14619" y="9294"/>
                  <a:pt x="14649" y="9294"/>
                </a:cubicBezTo>
                <a:cubicBezTo>
                  <a:pt x="14678" y="9294"/>
                  <a:pt x="14703" y="9243"/>
                  <a:pt x="14703" y="9181"/>
                </a:cubicBezTo>
                <a:cubicBezTo>
                  <a:pt x="14703" y="9118"/>
                  <a:pt x="14678" y="9067"/>
                  <a:pt x="14649" y="9067"/>
                </a:cubicBezTo>
                <a:close/>
                <a:moveTo>
                  <a:pt x="14649" y="8741"/>
                </a:moveTo>
                <a:cubicBezTo>
                  <a:pt x="14619" y="8741"/>
                  <a:pt x="14595" y="8791"/>
                  <a:pt x="14595" y="8854"/>
                </a:cubicBezTo>
                <a:cubicBezTo>
                  <a:pt x="14595" y="8916"/>
                  <a:pt x="14619" y="8967"/>
                  <a:pt x="14649" y="8967"/>
                </a:cubicBezTo>
                <a:cubicBezTo>
                  <a:pt x="14678" y="8967"/>
                  <a:pt x="14703" y="8916"/>
                  <a:pt x="14703" y="8854"/>
                </a:cubicBezTo>
                <a:cubicBezTo>
                  <a:pt x="14703" y="8791"/>
                  <a:pt x="14678" y="8741"/>
                  <a:pt x="14649" y="8741"/>
                </a:cubicBezTo>
                <a:close/>
                <a:moveTo>
                  <a:pt x="14496" y="9067"/>
                </a:moveTo>
                <a:cubicBezTo>
                  <a:pt x="14466" y="9067"/>
                  <a:pt x="14442" y="9118"/>
                  <a:pt x="14442" y="9181"/>
                </a:cubicBezTo>
                <a:cubicBezTo>
                  <a:pt x="14442" y="9243"/>
                  <a:pt x="14466" y="9294"/>
                  <a:pt x="14496" y="9294"/>
                </a:cubicBezTo>
                <a:cubicBezTo>
                  <a:pt x="14526" y="9294"/>
                  <a:pt x="14550" y="9243"/>
                  <a:pt x="14550" y="9181"/>
                </a:cubicBezTo>
                <a:cubicBezTo>
                  <a:pt x="14550" y="9118"/>
                  <a:pt x="14526" y="9067"/>
                  <a:pt x="14496" y="9067"/>
                </a:cubicBezTo>
                <a:close/>
                <a:moveTo>
                  <a:pt x="14496" y="8741"/>
                </a:moveTo>
                <a:cubicBezTo>
                  <a:pt x="14466" y="8741"/>
                  <a:pt x="14442" y="8791"/>
                  <a:pt x="14442" y="8854"/>
                </a:cubicBezTo>
                <a:cubicBezTo>
                  <a:pt x="14442" y="8916"/>
                  <a:pt x="14466" y="8967"/>
                  <a:pt x="14496" y="8967"/>
                </a:cubicBezTo>
                <a:cubicBezTo>
                  <a:pt x="14526" y="8967"/>
                  <a:pt x="14550" y="8916"/>
                  <a:pt x="14550" y="8854"/>
                </a:cubicBezTo>
                <a:cubicBezTo>
                  <a:pt x="14550" y="8791"/>
                  <a:pt x="14526" y="8741"/>
                  <a:pt x="14496" y="8741"/>
                </a:cubicBezTo>
                <a:close/>
                <a:moveTo>
                  <a:pt x="14343" y="8416"/>
                </a:moveTo>
                <a:cubicBezTo>
                  <a:pt x="14313" y="8416"/>
                  <a:pt x="14289" y="8467"/>
                  <a:pt x="14289" y="8529"/>
                </a:cubicBezTo>
                <a:cubicBezTo>
                  <a:pt x="14289" y="8592"/>
                  <a:pt x="14313" y="8642"/>
                  <a:pt x="14343" y="8642"/>
                </a:cubicBezTo>
                <a:cubicBezTo>
                  <a:pt x="14372" y="8642"/>
                  <a:pt x="14396" y="8592"/>
                  <a:pt x="14396" y="8529"/>
                </a:cubicBezTo>
                <a:cubicBezTo>
                  <a:pt x="14396" y="8467"/>
                  <a:pt x="14372" y="8416"/>
                  <a:pt x="14343" y="8416"/>
                </a:cubicBezTo>
                <a:close/>
                <a:moveTo>
                  <a:pt x="14343" y="8089"/>
                </a:moveTo>
                <a:cubicBezTo>
                  <a:pt x="14313" y="8089"/>
                  <a:pt x="14289" y="8140"/>
                  <a:pt x="14289" y="8202"/>
                </a:cubicBezTo>
                <a:cubicBezTo>
                  <a:pt x="14289" y="8265"/>
                  <a:pt x="14313" y="8315"/>
                  <a:pt x="14343" y="8315"/>
                </a:cubicBezTo>
                <a:cubicBezTo>
                  <a:pt x="14372" y="8315"/>
                  <a:pt x="14396" y="8265"/>
                  <a:pt x="14396" y="8202"/>
                </a:cubicBezTo>
                <a:cubicBezTo>
                  <a:pt x="14396" y="8140"/>
                  <a:pt x="14372" y="8089"/>
                  <a:pt x="14343" y="8089"/>
                </a:cubicBezTo>
                <a:close/>
                <a:moveTo>
                  <a:pt x="13891" y="8642"/>
                </a:moveTo>
                <a:cubicBezTo>
                  <a:pt x="13921" y="8642"/>
                  <a:pt x="13945" y="8592"/>
                  <a:pt x="13945" y="8529"/>
                </a:cubicBezTo>
                <a:cubicBezTo>
                  <a:pt x="13945" y="8467"/>
                  <a:pt x="13921" y="8416"/>
                  <a:pt x="13891" y="8416"/>
                </a:cubicBezTo>
                <a:cubicBezTo>
                  <a:pt x="13861" y="8416"/>
                  <a:pt x="13837" y="8467"/>
                  <a:pt x="13837" y="8529"/>
                </a:cubicBezTo>
                <a:cubicBezTo>
                  <a:pt x="13837" y="8592"/>
                  <a:pt x="13861" y="8642"/>
                  <a:pt x="13891" y="8642"/>
                </a:cubicBezTo>
                <a:close/>
                <a:moveTo>
                  <a:pt x="13736" y="8416"/>
                </a:moveTo>
                <a:cubicBezTo>
                  <a:pt x="13706" y="8416"/>
                  <a:pt x="13682" y="8467"/>
                  <a:pt x="13682" y="8529"/>
                </a:cubicBezTo>
                <a:cubicBezTo>
                  <a:pt x="13682" y="8592"/>
                  <a:pt x="13706" y="8642"/>
                  <a:pt x="13736" y="8642"/>
                </a:cubicBezTo>
                <a:cubicBezTo>
                  <a:pt x="13765" y="8642"/>
                  <a:pt x="13790" y="8592"/>
                  <a:pt x="13790" y="8529"/>
                </a:cubicBezTo>
                <a:cubicBezTo>
                  <a:pt x="13790" y="8467"/>
                  <a:pt x="13765" y="8416"/>
                  <a:pt x="13736" y="8416"/>
                </a:cubicBezTo>
                <a:close/>
                <a:moveTo>
                  <a:pt x="14190" y="8416"/>
                </a:moveTo>
                <a:cubicBezTo>
                  <a:pt x="14160" y="8416"/>
                  <a:pt x="14136" y="8467"/>
                  <a:pt x="14136" y="8529"/>
                </a:cubicBezTo>
                <a:cubicBezTo>
                  <a:pt x="14136" y="8592"/>
                  <a:pt x="14160" y="8642"/>
                  <a:pt x="14190" y="8642"/>
                </a:cubicBezTo>
                <a:cubicBezTo>
                  <a:pt x="14220" y="8642"/>
                  <a:pt x="14244" y="8592"/>
                  <a:pt x="14244" y="8529"/>
                </a:cubicBezTo>
                <a:cubicBezTo>
                  <a:pt x="14244" y="8467"/>
                  <a:pt x="14220" y="8416"/>
                  <a:pt x="14190" y="8416"/>
                </a:cubicBezTo>
                <a:close/>
                <a:moveTo>
                  <a:pt x="14190" y="8089"/>
                </a:moveTo>
                <a:cubicBezTo>
                  <a:pt x="14160" y="8089"/>
                  <a:pt x="14136" y="8140"/>
                  <a:pt x="14136" y="8202"/>
                </a:cubicBezTo>
                <a:cubicBezTo>
                  <a:pt x="14136" y="8265"/>
                  <a:pt x="14160" y="8315"/>
                  <a:pt x="14190" y="8315"/>
                </a:cubicBezTo>
                <a:cubicBezTo>
                  <a:pt x="14220" y="8315"/>
                  <a:pt x="14244" y="8265"/>
                  <a:pt x="14244" y="8202"/>
                </a:cubicBezTo>
                <a:cubicBezTo>
                  <a:pt x="14244" y="8140"/>
                  <a:pt x="14220" y="8089"/>
                  <a:pt x="14190" y="8089"/>
                </a:cubicBezTo>
                <a:close/>
                <a:moveTo>
                  <a:pt x="14035" y="8642"/>
                </a:moveTo>
                <a:cubicBezTo>
                  <a:pt x="14064" y="8642"/>
                  <a:pt x="14088" y="8592"/>
                  <a:pt x="14088" y="8529"/>
                </a:cubicBezTo>
                <a:cubicBezTo>
                  <a:pt x="14088" y="8467"/>
                  <a:pt x="14064" y="8416"/>
                  <a:pt x="14035" y="8416"/>
                </a:cubicBezTo>
                <a:cubicBezTo>
                  <a:pt x="14005" y="8416"/>
                  <a:pt x="13981" y="8467"/>
                  <a:pt x="13981" y="8529"/>
                </a:cubicBezTo>
                <a:cubicBezTo>
                  <a:pt x="13981" y="8592"/>
                  <a:pt x="14005" y="8642"/>
                  <a:pt x="14035" y="8642"/>
                </a:cubicBezTo>
                <a:close/>
                <a:moveTo>
                  <a:pt x="14035" y="8315"/>
                </a:moveTo>
                <a:cubicBezTo>
                  <a:pt x="14064" y="8315"/>
                  <a:pt x="14088" y="8265"/>
                  <a:pt x="14088" y="8202"/>
                </a:cubicBezTo>
                <a:cubicBezTo>
                  <a:pt x="14088" y="8140"/>
                  <a:pt x="14064" y="8089"/>
                  <a:pt x="14035" y="8089"/>
                </a:cubicBezTo>
                <a:cubicBezTo>
                  <a:pt x="14005" y="8089"/>
                  <a:pt x="13981" y="8140"/>
                  <a:pt x="13981" y="8202"/>
                </a:cubicBezTo>
                <a:cubicBezTo>
                  <a:pt x="13981" y="8265"/>
                  <a:pt x="14005" y="8315"/>
                  <a:pt x="14035" y="8315"/>
                </a:cubicBezTo>
                <a:close/>
                <a:moveTo>
                  <a:pt x="13881" y="8315"/>
                </a:moveTo>
                <a:cubicBezTo>
                  <a:pt x="13910" y="8315"/>
                  <a:pt x="13934" y="8265"/>
                  <a:pt x="13934" y="8202"/>
                </a:cubicBezTo>
                <a:cubicBezTo>
                  <a:pt x="13934" y="8140"/>
                  <a:pt x="13910" y="8089"/>
                  <a:pt x="13881" y="8089"/>
                </a:cubicBezTo>
                <a:cubicBezTo>
                  <a:pt x="13851" y="8089"/>
                  <a:pt x="13827" y="8140"/>
                  <a:pt x="13827" y="8202"/>
                </a:cubicBezTo>
                <a:cubicBezTo>
                  <a:pt x="13827" y="8265"/>
                  <a:pt x="13851" y="8315"/>
                  <a:pt x="13881" y="8315"/>
                </a:cubicBezTo>
                <a:close/>
                <a:moveTo>
                  <a:pt x="13728" y="8315"/>
                </a:moveTo>
                <a:cubicBezTo>
                  <a:pt x="13758" y="8315"/>
                  <a:pt x="13782" y="8265"/>
                  <a:pt x="13782" y="8202"/>
                </a:cubicBezTo>
                <a:cubicBezTo>
                  <a:pt x="13782" y="8140"/>
                  <a:pt x="13758" y="8089"/>
                  <a:pt x="13728" y="8089"/>
                </a:cubicBezTo>
                <a:cubicBezTo>
                  <a:pt x="13698" y="8089"/>
                  <a:pt x="13674" y="8140"/>
                  <a:pt x="13674" y="8202"/>
                </a:cubicBezTo>
                <a:cubicBezTo>
                  <a:pt x="13674" y="8265"/>
                  <a:pt x="13698" y="8315"/>
                  <a:pt x="13728" y="8315"/>
                </a:cubicBezTo>
                <a:close/>
                <a:moveTo>
                  <a:pt x="13109" y="8651"/>
                </a:moveTo>
                <a:cubicBezTo>
                  <a:pt x="13139" y="8651"/>
                  <a:pt x="13163" y="8600"/>
                  <a:pt x="13163" y="8538"/>
                </a:cubicBezTo>
                <a:cubicBezTo>
                  <a:pt x="13163" y="8476"/>
                  <a:pt x="13139" y="8425"/>
                  <a:pt x="13109" y="8425"/>
                </a:cubicBezTo>
                <a:cubicBezTo>
                  <a:pt x="13079" y="8425"/>
                  <a:pt x="13055" y="8476"/>
                  <a:pt x="13055" y="8538"/>
                </a:cubicBezTo>
                <a:cubicBezTo>
                  <a:pt x="13055" y="8600"/>
                  <a:pt x="13079" y="8651"/>
                  <a:pt x="13109" y="8651"/>
                </a:cubicBezTo>
                <a:close/>
                <a:moveTo>
                  <a:pt x="13263" y="8425"/>
                </a:moveTo>
                <a:cubicBezTo>
                  <a:pt x="13233" y="8425"/>
                  <a:pt x="13209" y="8476"/>
                  <a:pt x="13209" y="8538"/>
                </a:cubicBezTo>
                <a:cubicBezTo>
                  <a:pt x="13209" y="8600"/>
                  <a:pt x="13233" y="8651"/>
                  <a:pt x="13263" y="8651"/>
                </a:cubicBezTo>
                <a:cubicBezTo>
                  <a:pt x="13292" y="8651"/>
                  <a:pt x="13316" y="8600"/>
                  <a:pt x="13316" y="8538"/>
                </a:cubicBezTo>
                <a:cubicBezTo>
                  <a:pt x="13316" y="8476"/>
                  <a:pt x="13292" y="8425"/>
                  <a:pt x="13263" y="8425"/>
                </a:cubicBezTo>
                <a:close/>
                <a:moveTo>
                  <a:pt x="13109" y="8315"/>
                </a:moveTo>
                <a:cubicBezTo>
                  <a:pt x="13139" y="8315"/>
                  <a:pt x="13163" y="8264"/>
                  <a:pt x="13163" y="8202"/>
                </a:cubicBezTo>
                <a:cubicBezTo>
                  <a:pt x="13163" y="8139"/>
                  <a:pt x="13139" y="8089"/>
                  <a:pt x="13109" y="8089"/>
                </a:cubicBezTo>
                <a:cubicBezTo>
                  <a:pt x="13079" y="8089"/>
                  <a:pt x="13055" y="8139"/>
                  <a:pt x="13055" y="8202"/>
                </a:cubicBezTo>
                <a:cubicBezTo>
                  <a:pt x="13055" y="8264"/>
                  <a:pt x="13079" y="8315"/>
                  <a:pt x="13109" y="8315"/>
                </a:cubicBezTo>
                <a:close/>
                <a:moveTo>
                  <a:pt x="12956" y="8315"/>
                </a:moveTo>
                <a:cubicBezTo>
                  <a:pt x="12986" y="8315"/>
                  <a:pt x="13010" y="8264"/>
                  <a:pt x="13010" y="8202"/>
                </a:cubicBezTo>
                <a:cubicBezTo>
                  <a:pt x="13010" y="8139"/>
                  <a:pt x="12986" y="8089"/>
                  <a:pt x="12956" y="8089"/>
                </a:cubicBezTo>
                <a:cubicBezTo>
                  <a:pt x="12927" y="8089"/>
                  <a:pt x="12903" y="8139"/>
                  <a:pt x="12903" y="8202"/>
                </a:cubicBezTo>
                <a:cubicBezTo>
                  <a:pt x="12903" y="8264"/>
                  <a:pt x="12927" y="8315"/>
                  <a:pt x="12956" y="8315"/>
                </a:cubicBezTo>
                <a:close/>
                <a:moveTo>
                  <a:pt x="12801" y="8089"/>
                </a:moveTo>
                <a:cubicBezTo>
                  <a:pt x="12771" y="8089"/>
                  <a:pt x="12747" y="8139"/>
                  <a:pt x="12747" y="8202"/>
                </a:cubicBezTo>
                <a:cubicBezTo>
                  <a:pt x="12747" y="8264"/>
                  <a:pt x="12771" y="8315"/>
                  <a:pt x="12801" y="8315"/>
                </a:cubicBezTo>
                <a:cubicBezTo>
                  <a:pt x="12831" y="8315"/>
                  <a:pt x="12855" y="8264"/>
                  <a:pt x="12855" y="8202"/>
                </a:cubicBezTo>
                <a:cubicBezTo>
                  <a:pt x="12855" y="8139"/>
                  <a:pt x="12831" y="8089"/>
                  <a:pt x="12801" y="8089"/>
                </a:cubicBezTo>
                <a:close/>
                <a:moveTo>
                  <a:pt x="12647" y="8315"/>
                </a:moveTo>
                <a:cubicBezTo>
                  <a:pt x="12677" y="8315"/>
                  <a:pt x="12701" y="8264"/>
                  <a:pt x="12701" y="8202"/>
                </a:cubicBezTo>
                <a:cubicBezTo>
                  <a:pt x="12701" y="8139"/>
                  <a:pt x="12677" y="8089"/>
                  <a:pt x="12647" y="8089"/>
                </a:cubicBezTo>
                <a:cubicBezTo>
                  <a:pt x="12617" y="8089"/>
                  <a:pt x="12593" y="8139"/>
                  <a:pt x="12593" y="8202"/>
                </a:cubicBezTo>
                <a:cubicBezTo>
                  <a:pt x="12593" y="8264"/>
                  <a:pt x="12617" y="8315"/>
                  <a:pt x="12647" y="8315"/>
                </a:cubicBezTo>
                <a:close/>
                <a:moveTo>
                  <a:pt x="13263" y="8089"/>
                </a:moveTo>
                <a:cubicBezTo>
                  <a:pt x="13233" y="8089"/>
                  <a:pt x="13209" y="8139"/>
                  <a:pt x="13209" y="8202"/>
                </a:cubicBezTo>
                <a:cubicBezTo>
                  <a:pt x="13209" y="8264"/>
                  <a:pt x="13233" y="8315"/>
                  <a:pt x="13263" y="8315"/>
                </a:cubicBezTo>
                <a:cubicBezTo>
                  <a:pt x="13292" y="8315"/>
                  <a:pt x="13316" y="8264"/>
                  <a:pt x="13316" y="8202"/>
                </a:cubicBezTo>
                <a:cubicBezTo>
                  <a:pt x="13316" y="8139"/>
                  <a:pt x="13292" y="8089"/>
                  <a:pt x="13263" y="8089"/>
                </a:cubicBezTo>
                <a:close/>
                <a:moveTo>
                  <a:pt x="13109" y="7989"/>
                </a:moveTo>
                <a:cubicBezTo>
                  <a:pt x="13139" y="7989"/>
                  <a:pt x="13163" y="7938"/>
                  <a:pt x="13163" y="7875"/>
                </a:cubicBezTo>
                <a:cubicBezTo>
                  <a:pt x="13163" y="7813"/>
                  <a:pt x="13139" y="7762"/>
                  <a:pt x="13109" y="7762"/>
                </a:cubicBezTo>
                <a:cubicBezTo>
                  <a:pt x="13079" y="7762"/>
                  <a:pt x="13055" y="7813"/>
                  <a:pt x="13055" y="7875"/>
                </a:cubicBezTo>
                <a:cubicBezTo>
                  <a:pt x="13055" y="7938"/>
                  <a:pt x="13079" y="7989"/>
                  <a:pt x="13109" y="7989"/>
                </a:cubicBezTo>
                <a:close/>
                <a:moveTo>
                  <a:pt x="13109" y="7662"/>
                </a:moveTo>
                <a:cubicBezTo>
                  <a:pt x="13139" y="7662"/>
                  <a:pt x="13163" y="7611"/>
                  <a:pt x="13163" y="7549"/>
                </a:cubicBezTo>
                <a:cubicBezTo>
                  <a:pt x="13163" y="7486"/>
                  <a:pt x="13139" y="7435"/>
                  <a:pt x="13109" y="7435"/>
                </a:cubicBezTo>
                <a:cubicBezTo>
                  <a:pt x="13079" y="7435"/>
                  <a:pt x="13055" y="7486"/>
                  <a:pt x="13055" y="7549"/>
                </a:cubicBezTo>
                <a:cubicBezTo>
                  <a:pt x="13055" y="7611"/>
                  <a:pt x="13079" y="7662"/>
                  <a:pt x="13109" y="7662"/>
                </a:cubicBezTo>
                <a:close/>
                <a:moveTo>
                  <a:pt x="12956" y="7989"/>
                </a:moveTo>
                <a:cubicBezTo>
                  <a:pt x="12986" y="7989"/>
                  <a:pt x="13010" y="7938"/>
                  <a:pt x="13010" y="7875"/>
                </a:cubicBezTo>
                <a:cubicBezTo>
                  <a:pt x="13010" y="7813"/>
                  <a:pt x="12986" y="7762"/>
                  <a:pt x="12956" y="7762"/>
                </a:cubicBezTo>
                <a:cubicBezTo>
                  <a:pt x="12927" y="7762"/>
                  <a:pt x="12903" y="7813"/>
                  <a:pt x="12903" y="7875"/>
                </a:cubicBezTo>
                <a:cubicBezTo>
                  <a:pt x="12903" y="7938"/>
                  <a:pt x="12927" y="7989"/>
                  <a:pt x="12956" y="7989"/>
                </a:cubicBezTo>
                <a:close/>
                <a:moveTo>
                  <a:pt x="12956" y="7662"/>
                </a:moveTo>
                <a:cubicBezTo>
                  <a:pt x="12986" y="7662"/>
                  <a:pt x="13010" y="7611"/>
                  <a:pt x="13010" y="7549"/>
                </a:cubicBezTo>
                <a:cubicBezTo>
                  <a:pt x="13010" y="7486"/>
                  <a:pt x="12986" y="7435"/>
                  <a:pt x="12956" y="7435"/>
                </a:cubicBezTo>
                <a:cubicBezTo>
                  <a:pt x="12927" y="7435"/>
                  <a:pt x="12903" y="7486"/>
                  <a:pt x="12903" y="7549"/>
                </a:cubicBezTo>
                <a:cubicBezTo>
                  <a:pt x="12903" y="7611"/>
                  <a:pt x="12927" y="7662"/>
                  <a:pt x="12956" y="7662"/>
                </a:cubicBezTo>
                <a:close/>
                <a:moveTo>
                  <a:pt x="12801" y="7762"/>
                </a:moveTo>
                <a:cubicBezTo>
                  <a:pt x="12771" y="7762"/>
                  <a:pt x="12747" y="7813"/>
                  <a:pt x="12747" y="7875"/>
                </a:cubicBezTo>
                <a:cubicBezTo>
                  <a:pt x="12747" y="7938"/>
                  <a:pt x="12771" y="7989"/>
                  <a:pt x="12801" y="7989"/>
                </a:cubicBezTo>
                <a:cubicBezTo>
                  <a:pt x="12831" y="7989"/>
                  <a:pt x="12855" y="7938"/>
                  <a:pt x="12855" y="7875"/>
                </a:cubicBezTo>
                <a:cubicBezTo>
                  <a:pt x="12855" y="7813"/>
                  <a:pt x="12831" y="7762"/>
                  <a:pt x="12801" y="7762"/>
                </a:cubicBezTo>
                <a:close/>
                <a:moveTo>
                  <a:pt x="12801" y="7435"/>
                </a:moveTo>
                <a:cubicBezTo>
                  <a:pt x="12771" y="7435"/>
                  <a:pt x="12747" y="7486"/>
                  <a:pt x="12747" y="7549"/>
                </a:cubicBezTo>
                <a:cubicBezTo>
                  <a:pt x="12747" y="7611"/>
                  <a:pt x="12771" y="7662"/>
                  <a:pt x="12801" y="7662"/>
                </a:cubicBezTo>
                <a:cubicBezTo>
                  <a:pt x="12831" y="7662"/>
                  <a:pt x="12855" y="7611"/>
                  <a:pt x="12855" y="7549"/>
                </a:cubicBezTo>
                <a:cubicBezTo>
                  <a:pt x="12855" y="7486"/>
                  <a:pt x="12831" y="7435"/>
                  <a:pt x="12801" y="7435"/>
                </a:cubicBezTo>
                <a:close/>
                <a:moveTo>
                  <a:pt x="12647" y="7989"/>
                </a:moveTo>
                <a:cubicBezTo>
                  <a:pt x="12677" y="7989"/>
                  <a:pt x="12701" y="7938"/>
                  <a:pt x="12701" y="7875"/>
                </a:cubicBezTo>
                <a:cubicBezTo>
                  <a:pt x="12701" y="7813"/>
                  <a:pt x="12677" y="7762"/>
                  <a:pt x="12647" y="7762"/>
                </a:cubicBezTo>
                <a:cubicBezTo>
                  <a:pt x="12617" y="7762"/>
                  <a:pt x="12593" y="7813"/>
                  <a:pt x="12593" y="7875"/>
                </a:cubicBezTo>
                <a:cubicBezTo>
                  <a:pt x="12593" y="7938"/>
                  <a:pt x="12617" y="7989"/>
                  <a:pt x="12647" y="7989"/>
                </a:cubicBezTo>
                <a:close/>
                <a:moveTo>
                  <a:pt x="12647" y="7662"/>
                </a:moveTo>
                <a:cubicBezTo>
                  <a:pt x="12677" y="7662"/>
                  <a:pt x="12701" y="7611"/>
                  <a:pt x="12701" y="7549"/>
                </a:cubicBezTo>
                <a:cubicBezTo>
                  <a:pt x="12701" y="7486"/>
                  <a:pt x="12677" y="7435"/>
                  <a:pt x="12647" y="7435"/>
                </a:cubicBezTo>
                <a:cubicBezTo>
                  <a:pt x="12617" y="7435"/>
                  <a:pt x="12593" y="7486"/>
                  <a:pt x="12593" y="7549"/>
                </a:cubicBezTo>
                <a:cubicBezTo>
                  <a:pt x="12593" y="7611"/>
                  <a:pt x="12617" y="7662"/>
                  <a:pt x="12647" y="7662"/>
                </a:cubicBezTo>
                <a:close/>
                <a:moveTo>
                  <a:pt x="12495" y="7662"/>
                </a:moveTo>
                <a:cubicBezTo>
                  <a:pt x="12524" y="7662"/>
                  <a:pt x="12548" y="7611"/>
                  <a:pt x="12548" y="7549"/>
                </a:cubicBezTo>
                <a:cubicBezTo>
                  <a:pt x="12548" y="7486"/>
                  <a:pt x="12524" y="7435"/>
                  <a:pt x="12495" y="7435"/>
                </a:cubicBezTo>
                <a:cubicBezTo>
                  <a:pt x="12465" y="7435"/>
                  <a:pt x="12441" y="7486"/>
                  <a:pt x="12441" y="7549"/>
                </a:cubicBezTo>
                <a:cubicBezTo>
                  <a:pt x="12441" y="7611"/>
                  <a:pt x="12465" y="7662"/>
                  <a:pt x="12495" y="7662"/>
                </a:cubicBezTo>
                <a:close/>
                <a:moveTo>
                  <a:pt x="13109" y="7352"/>
                </a:moveTo>
                <a:cubicBezTo>
                  <a:pt x="13139" y="7352"/>
                  <a:pt x="13163" y="7301"/>
                  <a:pt x="13163" y="7239"/>
                </a:cubicBezTo>
                <a:cubicBezTo>
                  <a:pt x="13163" y="7176"/>
                  <a:pt x="13139" y="7126"/>
                  <a:pt x="13109" y="7126"/>
                </a:cubicBezTo>
                <a:cubicBezTo>
                  <a:pt x="13079" y="7126"/>
                  <a:pt x="13055" y="7176"/>
                  <a:pt x="13055" y="7239"/>
                </a:cubicBezTo>
                <a:cubicBezTo>
                  <a:pt x="13055" y="7301"/>
                  <a:pt x="13079" y="7352"/>
                  <a:pt x="13109" y="7352"/>
                </a:cubicBezTo>
                <a:close/>
                <a:moveTo>
                  <a:pt x="13109" y="7025"/>
                </a:moveTo>
                <a:cubicBezTo>
                  <a:pt x="13139" y="7025"/>
                  <a:pt x="13163" y="6974"/>
                  <a:pt x="13163" y="6912"/>
                </a:cubicBezTo>
                <a:cubicBezTo>
                  <a:pt x="13163" y="6849"/>
                  <a:pt x="13139" y="6799"/>
                  <a:pt x="13109" y="6799"/>
                </a:cubicBezTo>
                <a:cubicBezTo>
                  <a:pt x="13079" y="6799"/>
                  <a:pt x="13055" y="6849"/>
                  <a:pt x="13055" y="6912"/>
                </a:cubicBezTo>
                <a:cubicBezTo>
                  <a:pt x="13055" y="6974"/>
                  <a:pt x="13079" y="7025"/>
                  <a:pt x="13109" y="7025"/>
                </a:cubicBezTo>
                <a:close/>
                <a:moveTo>
                  <a:pt x="12956" y="7352"/>
                </a:moveTo>
                <a:cubicBezTo>
                  <a:pt x="12986" y="7352"/>
                  <a:pt x="13010" y="7301"/>
                  <a:pt x="13010" y="7239"/>
                </a:cubicBezTo>
                <a:cubicBezTo>
                  <a:pt x="13010" y="7176"/>
                  <a:pt x="12986" y="7126"/>
                  <a:pt x="12956" y="7126"/>
                </a:cubicBezTo>
                <a:cubicBezTo>
                  <a:pt x="12927" y="7126"/>
                  <a:pt x="12903" y="7176"/>
                  <a:pt x="12903" y="7239"/>
                </a:cubicBezTo>
                <a:cubicBezTo>
                  <a:pt x="12903" y="7301"/>
                  <a:pt x="12927" y="7352"/>
                  <a:pt x="12956" y="7352"/>
                </a:cubicBezTo>
                <a:close/>
                <a:moveTo>
                  <a:pt x="12956" y="7025"/>
                </a:moveTo>
                <a:cubicBezTo>
                  <a:pt x="12986" y="7025"/>
                  <a:pt x="13010" y="6974"/>
                  <a:pt x="13010" y="6912"/>
                </a:cubicBezTo>
                <a:cubicBezTo>
                  <a:pt x="13010" y="6849"/>
                  <a:pt x="12986" y="6799"/>
                  <a:pt x="12956" y="6799"/>
                </a:cubicBezTo>
                <a:cubicBezTo>
                  <a:pt x="12927" y="6799"/>
                  <a:pt x="12903" y="6849"/>
                  <a:pt x="12903" y="6912"/>
                </a:cubicBezTo>
                <a:cubicBezTo>
                  <a:pt x="12903" y="6974"/>
                  <a:pt x="12927" y="7025"/>
                  <a:pt x="12956" y="7025"/>
                </a:cubicBezTo>
                <a:close/>
                <a:moveTo>
                  <a:pt x="12801" y="7126"/>
                </a:moveTo>
                <a:cubicBezTo>
                  <a:pt x="12771" y="7126"/>
                  <a:pt x="12747" y="7176"/>
                  <a:pt x="12747" y="7239"/>
                </a:cubicBezTo>
                <a:cubicBezTo>
                  <a:pt x="12747" y="7301"/>
                  <a:pt x="12771" y="7352"/>
                  <a:pt x="12801" y="7352"/>
                </a:cubicBezTo>
                <a:cubicBezTo>
                  <a:pt x="12831" y="7352"/>
                  <a:pt x="12855" y="7301"/>
                  <a:pt x="12855" y="7239"/>
                </a:cubicBezTo>
                <a:cubicBezTo>
                  <a:pt x="12855" y="7176"/>
                  <a:pt x="12831" y="7126"/>
                  <a:pt x="12801" y="7126"/>
                </a:cubicBezTo>
                <a:close/>
                <a:moveTo>
                  <a:pt x="12801" y="6799"/>
                </a:moveTo>
                <a:cubicBezTo>
                  <a:pt x="12771" y="6799"/>
                  <a:pt x="12747" y="6849"/>
                  <a:pt x="12747" y="6912"/>
                </a:cubicBezTo>
                <a:cubicBezTo>
                  <a:pt x="12747" y="6974"/>
                  <a:pt x="12771" y="7025"/>
                  <a:pt x="12801" y="7025"/>
                </a:cubicBezTo>
                <a:cubicBezTo>
                  <a:pt x="12831" y="7025"/>
                  <a:pt x="12855" y="6974"/>
                  <a:pt x="12855" y="6912"/>
                </a:cubicBezTo>
                <a:cubicBezTo>
                  <a:pt x="12855" y="6849"/>
                  <a:pt x="12831" y="6799"/>
                  <a:pt x="12801" y="6799"/>
                </a:cubicBezTo>
                <a:close/>
                <a:moveTo>
                  <a:pt x="12647" y="7352"/>
                </a:moveTo>
                <a:cubicBezTo>
                  <a:pt x="12677" y="7352"/>
                  <a:pt x="12701" y="7301"/>
                  <a:pt x="12701" y="7239"/>
                </a:cubicBezTo>
                <a:cubicBezTo>
                  <a:pt x="12701" y="7176"/>
                  <a:pt x="12677" y="7126"/>
                  <a:pt x="12647" y="7126"/>
                </a:cubicBezTo>
                <a:cubicBezTo>
                  <a:pt x="12617" y="7126"/>
                  <a:pt x="12593" y="7176"/>
                  <a:pt x="12593" y="7239"/>
                </a:cubicBezTo>
                <a:cubicBezTo>
                  <a:pt x="12593" y="7301"/>
                  <a:pt x="12617" y="7352"/>
                  <a:pt x="12647" y="7352"/>
                </a:cubicBezTo>
                <a:close/>
                <a:moveTo>
                  <a:pt x="12647" y="7025"/>
                </a:moveTo>
                <a:cubicBezTo>
                  <a:pt x="12677" y="7025"/>
                  <a:pt x="12701" y="6974"/>
                  <a:pt x="12701" y="6912"/>
                </a:cubicBezTo>
                <a:cubicBezTo>
                  <a:pt x="12701" y="6849"/>
                  <a:pt x="12677" y="6799"/>
                  <a:pt x="12647" y="6799"/>
                </a:cubicBezTo>
                <a:cubicBezTo>
                  <a:pt x="12617" y="6799"/>
                  <a:pt x="12593" y="6849"/>
                  <a:pt x="12593" y="6912"/>
                </a:cubicBezTo>
                <a:cubicBezTo>
                  <a:pt x="12593" y="6974"/>
                  <a:pt x="12617" y="7025"/>
                  <a:pt x="12647" y="7025"/>
                </a:cubicBezTo>
                <a:close/>
                <a:moveTo>
                  <a:pt x="12350" y="7126"/>
                </a:moveTo>
                <a:cubicBezTo>
                  <a:pt x="12320" y="7126"/>
                  <a:pt x="12296" y="7176"/>
                  <a:pt x="12296" y="7239"/>
                </a:cubicBezTo>
                <a:cubicBezTo>
                  <a:pt x="12296" y="7301"/>
                  <a:pt x="12320" y="7352"/>
                  <a:pt x="12350" y="7352"/>
                </a:cubicBezTo>
                <a:cubicBezTo>
                  <a:pt x="12380" y="7352"/>
                  <a:pt x="12404" y="7301"/>
                  <a:pt x="12404" y="7239"/>
                </a:cubicBezTo>
                <a:cubicBezTo>
                  <a:pt x="12404" y="7176"/>
                  <a:pt x="12380" y="7126"/>
                  <a:pt x="12350" y="7126"/>
                </a:cubicBezTo>
                <a:close/>
                <a:moveTo>
                  <a:pt x="12350" y="6799"/>
                </a:moveTo>
                <a:cubicBezTo>
                  <a:pt x="12320" y="6799"/>
                  <a:pt x="12296" y="6849"/>
                  <a:pt x="12296" y="6912"/>
                </a:cubicBezTo>
                <a:cubicBezTo>
                  <a:pt x="12296" y="6974"/>
                  <a:pt x="12320" y="7025"/>
                  <a:pt x="12350" y="7025"/>
                </a:cubicBezTo>
                <a:cubicBezTo>
                  <a:pt x="12380" y="7025"/>
                  <a:pt x="12404" y="6974"/>
                  <a:pt x="12404" y="6912"/>
                </a:cubicBezTo>
                <a:cubicBezTo>
                  <a:pt x="12404" y="6849"/>
                  <a:pt x="12380" y="6799"/>
                  <a:pt x="12350" y="6799"/>
                </a:cubicBezTo>
                <a:close/>
                <a:moveTo>
                  <a:pt x="12034" y="9915"/>
                </a:moveTo>
                <a:cubicBezTo>
                  <a:pt x="12063" y="9915"/>
                  <a:pt x="12087" y="9865"/>
                  <a:pt x="12087" y="9802"/>
                </a:cubicBezTo>
                <a:cubicBezTo>
                  <a:pt x="12087" y="9740"/>
                  <a:pt x="12063" y="9689"/>
                  <a:pt x="12034" y="9689"/>
                </a:cubicBezTo>
                <a:cubicBezTo>
                  <a:pt x="12004" y="9689"/>
                  <a:pt x="11980" y="9740"/>
                  <a:pt x="11980" y="9802"/>
                </a:cubicBezTo>
                <a:cubicBezTo>
                  <a:pt x="11980" y="9865"/>
                  <a:pt x="12004" y="9915"/>
                  <a:pt x="12034" y="9915"/>
                </a:cubicBezTo>
                <a:close/>
                <a:moveTo>
                  <a:pt x="12035" y="9602"/>
                </a:moveTo>
                <a:cubicBezTo>
                  <a:pt x="12065" y="9602"/>
                  <a:pt x="12089" y="9551"/>
                  <a:pt x="12089" y="9489"/>
                </a:cubicBezTo>
                <a:cubicBezTo>
                  <a:pt x="12089" y="9426"/>
                  <a:pt x="12065" y="9376"/>
                  <a:pt x="12035" y="9376"/>
                </a:cubicBezTo>
                <a:cubicBezTo>
                  <a:pt x="12005" y="9376"/>
                  <a:pt x="11981" y="9426"/>
                  <a:pt x="11981" y="9489"/>
                </a:cubicBezTo>
                <a:cubicBezTo>
                  <a:pt x="11981" y="9551"/>
                  <a:pt x="12005" y="9602"/>
                  <a:pt x="12035" y="9602"/>
                </a:cubicBezTo>
                <a:close/>
                <a:moveTo>
                  <a:pt x="12195" y="9915"/>
                </a:moveTo>
                <a:cubicBezTo>
                  <a:pt x="12225" y="9915"/>
                  <a:pt x="12249" y="9865"/>
                  <a:pt x="12249" y="9802"/>
                </a:cubicBezTo>
                <a:cubicBezTo>
                  <a:pt x="12249" y="9740"/>
                  <a:pt x="12225" y="9689"/>
                  <a:pt x="12195" y="9689"/>
                </a:cubicBezTo>
                <a:cubicBezTo>
                  <a:pt x="12165" y="9689"/>
                  <a:pt x="12141" y="9740"/>
                  <a:pt x="12141" y="9802"/>
                </a:cubicBezTo>
                <a:cubicBezTo>
                  <a:pt x="12141" y="9865"/>
                  <a:pt x="12165" y="9915"/>
                  <a:pt x="12195" y="9915"/>
                </a:cubicBezTo>
                <a:close/>
                <a:moveTo>
                  <a:pt x="12196" y="6787"/>
                </a:moveTo>
                <a:cubicBezTo>
                  <a:pt x="12167" y="6787"/>
                  <a:pt x="12143" y="6838"/>
                  <a:pt x="12143" y="6901"/>
                </a:cubicBezTo>
                <a:cubicBezTo>
                  <a:pt x="12143" y="6963"/>
                  <a:pt x="12167" y="7014"/>
                  <a:pt x="12196" y="7014"/>
                </a:cubicBezTo>
                <a:cubicBezTo>
                  <a:pt x="12226" y="7014"/>
                  <a:pt x="12250" y="6963"/>
                  <a:pt x="12250" y="6901"/>
                </a:cubicBezTo>
                <a:cubicBezTo>
                  <a:pt x="12250" y="6838"/>
                  <a:pt x="12226" y="6787"/>
                  <a:pt x="12196" y="6787"/>
                </a:cubicBezTo>
                <a:close/>
                <a:moveTo>
                  <a:pt x="12196" y="7100"/>
                </a:moveTo>
                <a:cubicBezTo>
                  <a:pt x="12167" y="7100"/>
                  <a:pt x="12143" y="7151"/>
                  <a:pt x="12143" y="7213"/>
                </a:cubicBezTo>
                <a:cubicBezTo>
                  <a:pt x="12143" y="7276"/>
                  <a:pt x="12167" y="7326"/>
                  <a:pt x="12196" y="7326"/>
                </a:cubicBezTo>
                <a:cubicBezTo>
                  <a:pt x="12226" y="7326"/>
                  <a:pt x="12250" y="7276"/>
                  <a:pt x="12250" y="7213"/>
                </a:cubicBezTo>
                <a:cubicBezTo>
                  <a:pt x="12250" y="7151"/>
                  <a:pt x="12226" y="7100"/>
                  <a:pt x="12196" y="7100"/>
                </a:cubicBezTo>
                <a:close/>
                <a:moveTo>
                  <a:pt x="12196" y="8732"/>
                </a:moveTo>
                <a:cubicBezTo>
                  <a:pt x="12167" y="8732"/>
                  <a:pt x="12143" y="8783"/>
                  <a:pt x="12143" y="8846"/>
                </a:cubicBezTo>
                <a:cubicBezTo>
                  <a:pt x="12143" y="8908"/>
                  <a:pt x="12167" y="8959"/>
                  <a:pt x="12196" y="8959"/>
                </a:cubicBezTo>
                <a:cubicBezTo>
                  <a:pt x="12226" y="8959"/>
                  <a:pt x="12250" y="8908"/>
                  <a:pt x="12250" y="8846"/>
                </a:cubicBezTo>
                <a:cubicBezTo>
                  <a:pt x="12250" y="8783"/>
                  <a:pt x="12226" y="8732"/>
                  <a:pt x="12196" y="8732"/>
                </a:cubicBezTo>
                <a:close/>
                <a:moveTo>
                  <a:pt x="12196" y="9376"/>
                </a:moveTo>
                <a:cubicBezTo>
                  <a:pt x="12167" y="9376"/>
                  <a:pt x="12143" y="9426"/>
                  <a:pt x="12143" y="9489"/>
                </a:cubicBezTo>
                <a:cubicBezTo>
                  <a:pt x="12143" y="9551"/>
                  <a:pt x="12167" y="9602"/>
                  <a:pt x="12196" y="9602"/>
                </a:cubicBezTo>
                <a:cubicBezTo>
                  <a:pt x="12226" y="9602"/>
                  <a:pt x="12250" y="9551"/>
                  <a:pt x="12250" y="9489"/>
                </a:cubicBezTo>
                <a:cubicBezTo>
                  <a:pt x="12250" y="9426"/>
                  <a:pt x="12226" y="9376"/>
                  <a:pt x="12196" y="9376"/>
                </a:cubicBezTo>
                <a:close/>
                <a:moveTo>
                  <a:pt x="12196" y="9040"/>
                </a:moveTo>
                <a:cubicBezTo>
                  <a:pt x="12167" y="9040"/>
                  <a:pt x="12143" y="9091"/>
                  <a:pt x="12143" y="9153"/>
                </a:cubicBezTo>
                <a:cubicBezTo>
                  <a:pt x="12143" y="9216"/>
                  <a:pt x="12167" y="9266"/>
                  <a:pt x="12196" y="9266"/>
                </a:cubicBezTo>
                <a:cubicBezTo>
                  <a:pt x="12226" y="9266"/>
                  <a:pt x="12250" y="9216"/>
                  <a:pt x="12250" y="9153"/>
                </a:cubicBezTo>
                <a:cubicBezTo>
                  <a:pt x="12250" y="9091"/>
                  <a:pt x="12226" y="9040"/>
                  <a:pt x="12196" y="9040"/>
                </a:cubicBezTo>
                <a:close/>
                <a:moveTo>
                  <a:pt x="12196" y="8084"/>
                </a:moveTo>
                <a:cubicBezTo>
                  <a:pt x="12167" y="8084"/>
                  <a:pt x="12143" y="8135"/>
                  <a:pt x="12143" y="8197"/>
                </a:cubicBezTo>
                <a:cubicBezTo>
                  <a:pt x="12143" y="8260"/>
                  <a:pt x="12167" y="8311"/>
                  <a:pt x="12196" y="8311"/>
                </a:cubicBezTo>
                <a:cubicBezTo>
                  <a:pt x="12226" y="8311"/>
                  <a:pt x="12250" y="8260"/>
                  <a:pt x="12250" y="8197"/>
                </a:cubicBezTo>
                <a:cubicBezTo>
                  <a:pt x="12250" y="8135"/>
                  <a:pt x="12226" y="8084"/>
                  <a:pt x="12196" y="8084"/>
                </a:cubicBezTo>
                <a:close/>
                <a:moveTo>
                  <a:pt x="12196" y="8392"/>
                </a:moveTo>
                <a:cubicBezTo>
                  <a:pt x="12167" y="8392"/>
                  <a:pt x="12143" y="8443"/>
                  <a:pt x="12143" y="8505"/>
                </a:cubicBezTo>
                <a:cubicBezTo>
                  <a:pt x="12143" y="8568"/>
                  <a:pt x="12167" y="8618"/>
                  <a:pt x="12196" y="8618"/>
                </a:cubicBezTo>
                <a:cubicBezTo>
                  <a:pt x="12226" y="8618"/>
                  <a:pt x="12250" y="8568"/>
                  <a:pt x="12250" y="8505"/>
                </a:cubicBezTo>
                <a:cubicBezTo>
                  <a:pt x="12250" y="8443"/>
                  <a:pt x="12226" y="8392"/>
                  <a:pt x="12196" y="8392"/>
                </a:cubicBezTo>
                <a:close/>
                <a:moveTo>
                  <a:pt x="12196" y="7426"/>
                </a:moveTo>
                <a:cubicBezTo>
                  <a:pt x="12167" y="7426"/>
                  <a:pt x="12143" y="7477"/>
                  <a:pt x="12143" y="7539"/>
                </a:cubicBezTo>
                <a:cubicBezTo>
                  <a:pt x="12143" y="7602"/>
                  <a:pt x="12167" y="7653"/>
                  <a:pt x="12196" y="7653"/>
                </a:cubicBezTo>
                <a:cubicBezTo>
                  <a:pt x="12226" y="7653"/>
                  <a:pt x="12250" y="7602"/>
                  <a:pt x="12250" y="7539"/>
                </a:cubicBezTo>
                <a:cubicBezTo>
                  <a:pt x="12250" y="7477"/>
                  <a:pt x="12226" y="7426"/>
                  <a:pt x="12196" y="7426"/>
                </a:cubicBezTo>
                <a:close/>
                <a:moveTo>
                  <a:pt x="12196" y="7734"/>
                </a:moveTo>
                <a:cubicBezTo>
                  <a:pt x="12167" y="7734"/>
                  <a:pt x="12143" y="7785"/>
                  <a:pt x="12143" y="7847"/>
                </a:cubicBezTo>
                <a:cubicBezTo>
                  <a:pt x="12143" y="7910"/>
                  <a:pt x="12167" y="7960"/>
                  <a:pt x="12196" y="7960"/>
                </a:cubicBezTo>
                <a:cubicBezTo>
                  <a:pt x="12226" y="7960"/>
                  <a:pt x="12250" y="7910"/>
                  <a:pt x="12250" y="7847"/>
                </a:cubicBezTo>
                <a:cubicBezTo>
                  <a:pt x="12250" y="7785"/>
                  <a:pt x="12226" y="7734"/>
                  <a:pt x="12196" y="7734"/>
                </a:cubicBezTo>
                <a:close/>
                <a:moveTo>
                  <a:pt x="12195" y="6698"/>
                </a:moveTo>
                <a:cubicBezTo>
                  <a:pt x="12225" y="6698"/>
                  <a:pt x="12249" y="6647"/>
                  <a:pt x="12249" y="6585"/>
                </a:cubicBezTo>
                <a:cubicBezTo>
                  <a:pt x="12249" y="6522"/>
                  <a:pt x="12225" y="6472"/>
                  <a:pt x="12195" y="6472"/>
                </a:cubicBezTo>
                <a:cubicBezTo>
                  <a:pt x="12165" y="6472"/>
                  <a:pt x="12141" y="6522"/>
                  <a:pt x="12141" y="6585"/>
                </a:cubicBezTo>
                <a:cubicBezTo>
                  <a:pt x="12141" y="6647"/>
                  <a:pt x="12165" y="6698"/>
                  <a:pt x="12195" y="6698"/>
                </a:cubicBezTo>
                <a:close/>
                <a:moveTo>
                  <a:pt x="12350" y="6472"/>
                </a:moveTo>
                <a:cubicBezTo>
                  <a:pt x="12320" y="6472"/>
                  <a:pt x="12296" y="6522"/>
                  <a:pt x="12296" y="6585"/>
                </a:cubicBezTo>
                <a:cubicBezTo>
                  <a:pt x="12296" y="6647"/>
                  <a:pt x="12320" y="6698"/>
                  <a:pt x="12350" y="6698"/>
                </a:cubicBezTo>
                <a:cubicBezTo>
                  <a:pt x="12380" y="6698"/>
                  <a:pt x="12404" y="6647"/>
                  <a:pt x="12404" y="6585"/>
                </a:cubicBezTo>
                <a:cubicBezTo>
                  <a:pt x="12404" y="6522"/>
                  <a:pt x="12380" y="6472"/>
                  <a:pt x="12350" y="6472"/>
                </a:cubicBezTo>
                <a:close/>
                <a:moveTo>
                  <a:pt x="12350" y="6145"/>
                </a:moveTo>
                <a:cubicBezTo>
                  <a:pt x="12320" y="6145"/>
                  <a:pt x="12296" y="6196"/>
                  <a:pt x="12296" y="6258"/>
                </a:cubicBezTo>
                <a:cubicBezTo>
                  <a:pt x="12296" y="6321"/>
                  <a:pt x="12320" y="6371"/>
                  <a:pt x="12350" y="6371"/>
                </a:cubicBezTo>
                <a:cubicBezTo>
                  <a:pt x="12380" y="6371"/>
                  <a:pt x="12404" y="6321"/>
                  <a:pt x="12404" y="6258"/>
                </a:cubicBezTo>
                <a:cubicBezTo>
                  <a:pt x="12404" y="6196"/>
                  <a:pt x="12380" y="6145"/>
                  <a:pt x="12350" y="6145"/>
                </a:cubicBezTo>
                <a:close/>
                <a:moveTo>
                  <a:pt x="12495" y="7352"/>
                </a:moveTo>
                <a:cubicBezTo>
                  <a:pt x="12524" y="7352"/>
                  <a:pt x="12548" y="7301"/>
                  <a:pt x="12548" y="7239"/>
                </a:cubicBezTo>
                <a:cubicBezTo>
                  <a:pt x="12548" y="7176"/>
                  <a:pt x="12524" y="7126"/>
                  <a:pt x="12495" y="7126"/>
                </a:cubicBezTo>
                <a:cubicBezTo>
                  <a:pt x="12465" y="7126"/>
                  <a:pt x="12441" y="7176"/>
                  <a:pt x="12441" y="7239"/>
                </a:cubicBezTo>
                <a:cubicBezTo>
                  <a:pt x="12441" y="7301"/>
                  <a:pt x="12465" y="7352"/>
                  <a:pt x="12495" y="7352"/>
                </a:cubicBezTo>
                <a:close/>
                <a:moveTo>
                  <a:pt x="12495" y="7025"/>
                </a:moveTo>
                <a:cubicBezTo>
                  <a:pt x="12524" y="7025"/>
                  <a:pt x="12548" y="6974"/>
                  <a:pt x="12548" y="6912"/>
                </a:cubicBezTo>
                <a:cubicBezTo>
                  <a:pt x="12548" y="6849"/>
                  <a:pt x="12524" y="6799"/>
                  <a:pt x="12495" y="6799"/>
                </a:cubicBezTo>
                <a:cubicBezTo>
                  <a:pt x="12465" y="6799"/>
                  <a:pt x="12441" y="6849"/>
                  <a:pt x="12441" y="6912"/>
                </a:cubicBezTo>
                <a:cubicBezTo>
                  <a:pt x="12441" y="6974"/>
                  <a:pt x="12465" y="7025"/>
                  <a:pt x="12495" y="7025"/>
                </a:cubicBezTo>
                <a:close/>
                <a:moveTo>
                  <a:pt x="13109" y="6698"/>
                </a:moveTo>
                <a:cubicBezTo>
                  <a:pt x="13139" y="6698"/>
                  <a:pt x="13163" y="6647"/>
                  <a:pt x="13163" y="6585"/>
                </a:cubicBezTo>
                <a:cubicBezTo>
                  <a:pt x="13163" y="6522"/>
                  <a:pt x="13139" y="6472"/>
                  <a:pt x="13109" y="6472"/>
                </a:cubicBezTo>
                <a:cubicBezTo>
                  <a:pt x="13079" y="6472"/>
                  <a:pt x="13055" y="6522"/>
                  <a:pt x="13055" y="6585"/>
                </a:cubicBezTo>
                <a:cubicBezTo>
                  <a:pt x="13055" y="6647"/>
                  <a:pt x="13079" y="6698"/>
                  <a:pt x="13109" y="6698"/>
                </a:cubicBezTo>
                <a:close/>
                <a:moveTo>
                  <a:pt x="13109" y="6371"/>
                </a:moveTo>
                <a:cubicBezTo>
                  <a:pt x="13139" y="6371"/>
                  <a:pt x="13163" y="6321"/>
                  <a:pt x="13163" y="6258"/>
                </a:cubicBezTo>
                <a:cubicBezTo>
                  <a:pt x="13163" y="6196"/>
                  <a:pt x="13139" y="6145"/>
                  <a:pt x="13109" y="6145"/>
                </a:cubicBezTo>
                <a:cubicBezTo>
                  <a:pt x="13079" y="6145"/>
                  <a:pt x="13055" y="6196"/>
                  <a:pt x="13055" y="6258"/>
                </a:cubicBezTo>
                <a:cubicBezTo>
                  <a:pt x="13055" y="6321"/>
                  <a:pt x="13079" y="6371"/>
                  <a:pt x="13109" y="6371"/>
                </a:cubicBezTo>
                <a:close/>
                <a:moveTo>
                  <a:pt x="12956" y="6698"/>
                </a:moveTo>
                <a:cubicBezTo>
                  <a:pt x="12986" y="6698"/>
                  <a:pt x="13010" y="6647"/>
                  <a:pt x="13010" y="6585"/>
                </a:cubicBezTo>
                <a:cubicBezTo>
                  <a:pt x="13010" y="6522"/>
                  <a:pt x="12986" y="6472"/>
                  <a:pt x="12956" y="6472"/>
                </a:cubicBezTo>
                <a:cubicBezTo>
                  <a:pt x="12927" y="6472"/>
                  <a:pt x="12903" y="6522"/>
                  <a:pt x="12903" y="6585"/>
                </a:cubicBezTo>
                <a:cubicBezTo>
                  <a:pt x="12903" y="6647"/>
                  <a:pt x="12927" y="6698"/>
                  <a:pt x="12956" y="6698"/>
                </a:cubicBezTo>
                <a:close/>
                <a:moveTo>
                  <a:pt x="12956" y="6371"/>
                </a:moveTo>
                <a:cubicBezTo>
                  <a:pt x="12986" y="6371"/>
                  <a:pt x="13010" y="6321"/>
                  <a:pt x="13010" y="6258"/>
                </a:cubicBezTo>
                <a:cubicBezTo>
                  <a:pt x="13010" y="6196"/>
                  <a:pt x="12986" y="6145"/>
                  <a:pt x="12956" y="6145"/>
                </a:cubicBezTo>
                <a:cubicBezTo>
                  <a:pt x="12927" y="6145"/>
                  <a:pt x="12903" y="6196"/>
                  <a:pt x="12903" y="6258"/>
                </a:cubicBezTo>
                <a:cubicBezTo>
                  <a:pt x="12903" y="6321"/>
                  <a:pt x="12927" y="6371"/>
                  <a:pt x="12956" y="6371"/>
                </a:cubicBezTo>
                <a:close/>
                <a:moveTo>
                  <a:pt x="12801" y="6472"/>
                </a:moveTo>
                <a:cubicBezTo>
                  <a:pt x="12771" y="6472"/>
                  <a:pt x="12747" y="6522"/>
                  <a:pt x="12747" y="6585"/>
                </a:cubicBezTo>
                <a:cubicBezTo>
                  <a:pt x="12747" y="6647"/>
                  <a:pt x="12771" y="6698"/>
                  <a:pt x="12801" y="6698"/>
                </a:cubicBezTo>
                <a:cubicBezTo>
                  <a:pt x="12831" y="6698"/>
                  <a:pt x="12855" y="6647"/>
                  <a:pt x="12855" y="6585"/>
                </a:cubicBezTo>
                <a:cubicBezTo>
                  <a:pt x="12855" y="6522"/>
                  <a:pt x="12831" y="6472"/>
                  <a:pt x="12801" y="6472"/>
                </a:cubicBezTo>
                <a:close/>
                <a:moveTo>
                  <a:pt x="12801" y="6145"/>
                </a:moveTo>
                <a:cubicBezTo>
                  <a:pt x="12771" y="6145"/>
                  <a:pt x="12747" y="6196"/>
                  <a:pt x="12747" y="6258"/>
                </a:cubicBezTo>
                <a:cubicBezTo>
                  <a:pt x="12747" y="6321"/>
                  <a:pt x="12771" y="6371"/>
                  <a:pt x="12801" y="6371"/>
                </a:cubicBezTo>
                <a:cubicBezTo>
                  <a:pt x="12831" y="6371"/>
                  <a:pt x="12855" y="6321"/>
                  <a:pt x="12855" y="6258"/>
                </a:cubicBezTo>
                <a:cubicBezTo>
                  <a:pt x="12855" y="6196"/>
                  <a:pt x="12831" y="6145"/>
                  <a:pt x="12801" y="6145"/>
                </a:cubicBezTo>
                <a:close/>
                <a:moveTo>
                  <a:pt x="12647" y="6698"/>
                </a:moveTo>
                <a:cubicBezTo>
                  <a:pt x="12677" y="6698"/>
                  <a:pt x="12701" y="6647"/>
                  <a:pt x="12701" y="6585"/>
                </a:cubicBezTo>
                <a:cubicBezTo>
                  <a:pt x="12701" y="6522"/>
                  <a:pt x="12677" y="6472"/>
                  <a:pt x="12647" y="6472"/>
                </a:cubicBezTo>
                <a:cubicBezTo>
                  <a:pt x="12617" y="6472"/>
                  <a:pt x="12593" y="6522"/>
                  <a:pt x="12593" y="6585"/>
                </a:cubicBezTo>
                <a:cubicBezTo>
                  <a:pt x="12593" y="6647"/>
                  <a:pt x="12617" y="6698"/>
                  <a:pt x="12647" y="6698"/>
                </a:cubicBezTo>
                <a:close/>
                <a:moveTo>
                  <a:pt x="12647" y="6371"/>
                </a:moveTo>
                <a:cubicBezTo>
                  <a:pt x="12677" y="6371"/>
                  <a:pt x="12701" y="6321"/>
                  <a:pt x="12701" y="6258"/>
                </a:cubicBezTo>
                <a:cubicBezTo>
                  <a:pt x="12701" y="6196"/>
                  <a:pt x="12677" y="6145"/>
                  <a:pt x="12647" y="6145"/>
                </a:cubicBezTo>
                <a:cubicBezTo>
                  <a:pt x="12617" y="6145"/>
                  <a:pt x="12593" y="6196"/>
                  <a:pt x="12593" y="6258"/>
                </a:cubicBezTo>
                <a:cubicBezTo>
                  <a:pt x="12593" y="6321"/>
                  <a:pt x="12617" y="6371"/>
                  <a:pt x="12647" y="6371"/>
                </a:cubicBezTo>
                <a:close/>
                <a:moveTo>
                  <a:pt x="12495" y="6698"/>
                </a:moveTo>
                <a:cubicBezTo>
                  <a:pt x="12524" y="6698"/>
                  <a:pt x="12548" y="6647"/>
                  <a:pt x="12548" y="6585"/>
                </a:cubicBezTo>
                <a:cubicBezTo>
                  <a:pt x="12548" y="6522"/>
                  <a:pt x="12524" y="6472"/>
                  <a:pt x="12495" y="6472"/>
                </a:cubicBezTo>
                <a:cubicBezTo>
                  <a:pt x="12465" y="6472"/>
                  <a:pt x="12441" y="6522"/>
                  <a:pt x="12441" y="6585"/>
                </a:cubicBezTo>
                <a:cubicBezTo>
                  <a:pt x="12441" y="6647"/>
                  <a:pt x="12465" y="6698"/>
                  <a:pt x="12495" y="6698"/>
                </a:cubicBezTo>
                <a:close/>
                <a:moveTo>
                  <a:pt x="12495" y="6371"/>
                </a:moveTo>
                <a:cubicBezTo>
                  <a:pt x="12524" y="6371"/>
                  <a:pt x="12548" y="6321"/>
                  <a:pt x="12548" y="6258"/>
                </a:cubicBezTo>
                <a:cubicBezTo>
                  <a:pt x="12548" y="6196"/>
                  <a:pt x="12524" y="6145"/>
                  <a:pt x="12495" y="6145"/>
                </a:cubicBezTo>
                <a:cubicBezTo>
                  <a:pt x="12465" y="6145"/>
                  <a:pt x="12441" y="6196"/>
                  <a:pt x="12441" y="6258"/>
                </a:cubicBezTo>
                <a:cubicBezTo>
                  <a:pt x="12441" y="6321"/>
                  <a:pt x="12465" y="6371"/>
                  <a:pt x="12495" y="6371"/>
                </a:cubicBezTo>
                <a:close/>
                <a:moveTo>
                  <a:pt x="13569" y="8411"/>
                </a:moveTo>
                <a:cubicBezTo>
                  <a:pt x="13540" y="8411"/>
                  <a:pt x="13516" y="8461"/>
                  <a:pt x="13516" y="8524"/>
                </a:cubicBezTo>
                <a:cubicBezTo>
                  <a:pt x="13516" y="8586"/>
                  <a:pt x="13540" y="8637"/>
                  <a:pt x="13569" y="8637"/>
                </a:cubicBezTo>
                <a:cubicBezTo>
                  <a:pt x="13599" y="8637"/>
                  <a:pt x="13623" y="8586"/>
                  <a:pt x="13623" y="8524"/>
                </a:cubicBezTo>
                <a:cubicBezTo>
                  <a:pt x="13623" y="8461"/>
                  <a:pt x="13599" y="8411"/>
                  <a:pt x="13569" y="8411"/>
                </a:cubicBezTo>
                <a:close/>
                <a:moveTo>
                  <a:pt x="13569" y="8084"/>
                </a:moveTo>
                <a:cubicBezTo>
                  <a:pt x="13540" y="8084"/>
                  <a:pt x="13516" y="8134"/>
                  <a:pt x="13516" y="8197"/>
                </a:cubicBezTo>
                <a:cubicBezTo>
                  <a:pt x="13516" y="8259"/>
                  <a:pt x="13540" y="8310"/>
                  <a:pt x="13569" y="8310"/>
                </a:cubicBezTo>
                <a:cubicBezTo>
                  <a:pt x="13599" y="8310"/>
                  <a:pt x="13623" y="8259"/>
                  <a:pt x="13623" y="8197"/>
                </a:cubicBezTo>
                <a:cubicBezTo>
                  <a:pt x="13623" y="8134"/>
                  <a:pt x="13599" y="8084"/>
                  <a:pt x="13569" y="8084"/>
                </a:cubicBezTo>
                <a:close/>
                <a:moveTo>
                  <a:pt x="13415" y="8411"/>
                </a:moveTo>
                <a:cubicBezTo>
                  <a:pt x="13386" y="8411"/>
                  <a:pt x="13362" y="8461"/>
                  <a:pt x="13362" y="8524"/>
                </a:cubicBezTo>
                <a:cubicBezTo>
                  <a:pt x="13362" y="8586"/>
                  <a:pt x="13386" y="8637"/>
                  <a:pt x="13415" y="8637"/>
                </a:cubicBezTo>
                <a:cubicBezTo>
                  <a:pt x="13445" y="8637"/>
                  <a:pt x="13469" y="8586"/>
                  <a:pt x="13469" y="8524"/>
                </a:cubicBezTo>
                <a:cubicBezTo>
                  <a:pt x="13469" y="8461"/>
                  <a:pt x="13445" y="8411"/>
                  <a:pt x="13415" y="8411"/>
                </a:cubicBezTo>
                <a:close/>
                <a:moveTo>
                  <a:pt x="13415" y="8084"/>
                </a:moveTo>
                <a:cubicBezTo>
                  <a:pt x="13386" y="8084"/>
                  <a:pt x="13362" y="8134"/>
                  <a:pt x="13362" y="8197"/>
                </a:cubicBezTo>
                <a:cubicBezTo>
                  <a:pt x="13362" y="8259"/>
                  <a:pt x="13386" y="8310"/>
                  <a:pt x="13415" y="8310"/>
                </a:cubicBezTo>
                <a:cubicBezTo>
                  <a:pt x="13445" y="8310"/>
                  <a:pt x="13469" y="8259"/>
                  <a:pt x="13469" y="8197"/>
                </a:cubicBezTo>
                <a:cubicBezTo>
                  <a:pt x="13469" y="8134"/>
                  <a:pt x="13445" y="8084"/>
                  <a:pt x="13415" y="8084"/>
                </a:cubicBezTo>
                <a:close/>
                <a:moveTo>
                  <a:pt x="13569" y="7762"/>
                </a:moveTo>
                <a:cubicBezTo>
                  <a:pt x="13540" y="7762"/>
                  <a:pt x="13516" y="7813"/>
                  <a:pt x="13516" y="7875"/>
                </a:cubicBezTo>
                <a:cubicBezTo>
                  <a:pt x="13516" y="7938"/>
                  <a:pt x="13540" y="7989"/>
                  <a:pt x="13569" y="7989"/>
                </a:cubicBezTo>
                <a:cubicBezTo>
                  <a:pt x="13599" y="7989"/>
                  <a:pt x="13623" y="7938"/>
                  <a:pt x="13623" y="7875"/>
                </a:cubicBezTo>
                <a:cubicBezTo>
                  <a:pt x="13623" y="7813"/>
                  <a:pt x="13599" y="7762"/>
                  <a:pt x="13569" y="7762"/>
                </a:cubicBezTo>
                <a:close/>
                <a:moveTo>
                  <a:pt x="13569" y="7435"/>
                </a:moveTo>
                <a:cubicBezTo>
                  <a:pt x="13540" y="7435"/>
                  <a:pt x="13516" y="7486"/>
                  <a:pt x="13516" y="7549"/>
                </a:cubicBezTo>
                <a:cubicBezTo>
                  <a:pt x="13516" y="7611"/>
                  <a:pt x="13540" y="7662"/>
                  <a:pt x="13569" y="7662"/>
                </a:cubicBezTo>
                <a:cubicBezTo>
                  <a:pt x="13599" y="7662"/>
                  <a:pt x="13623" y="7611"/>
                  <a:pt x="13623" y="7549"/>
                </a:cubicBezTo>
                <a:cubicBezTo>
                  <a:pt x="13623" y="7486"/>
                  <a:pt x="13599" y="7435"/>
                  <a:pt x="13569" y="7435"/>
                </a:cubicBezTo>
                <a:close/>
                <a:moveTo>
                  <a:pt x="13415" y="7762"/>
                </a:moveTo>
                <a:cubicBezTo>
                  <a:pt x="13386" y="7762"/>
                  <a:pt x="13362" y="7813"/>
                  <a:pt x="13362" y="7875"/>
                </a:cubicBezTo>
                <a:cubicBezTo>
                  <a:pt x="13362" y="7938"/>
                  <a:pt x="13386" y="7989"/>
                  <a:pt x="13415" y="7989"/>
                </a:cubicBezTo>
                <a:cubicBezTo>
                  <a:pt x="13445" y="7989"/>
                  <a:pt x="13469" y="7938"/>
                  <a:pt x="13469" y="7875"/>
                </a:cubicBezTo>
                <a:cubicBezTo>
                  <a:pt x="13469" y="7813"/>
                  <a:pt x="13445" y="7762"/>
                  <a:pt x="13415" y="7762"/>
                </a:cubicBezTo>
                <a:close/>
                <a:moveTo>
                  <a:pt x="13415" y="7435"/>
                </a:moveTo>
                <a:cubicBezTo>
                  <a:pt x="13386" y="7435"/>
                  <a:pt x="13362" y="7486"/>
                  <a:pt x="13362" y="7549"/>
                </a:cubicBezTo>
                <a:cubicBezTo>
                  <a:pt x="13362" y="7611"/>
                  <a:pt x="13386" y="7662"/>
                  <a:pt x="13415" y="7662"/>
                </a:cubicBezTo>
                <a:cubicBezTo>
                  <a:pt x="13445" y="7662"/>
                  <a:pt x="13469" y="7611"/>
                  <a:pt x="13469" y="7549"/>
                </a:cubicBezTo>
                <a:cubicBezTo>
                  <a:pt x="13469" y="7486"/>
                  <a:pt x="13445" y="7435"/>
                  <a:pt x="13415" y="7435"/>
                </a:cubicBezTo>
                <a:close/>
                <a:moveTo>
                  <a:pt x="13263" y="7762"/>
                </a:moveTo>
                <a:cubicBezTo>
                  <a:pt x="13233" y="7762"/>
                  <a:pt x="13209" y="7813"/>
                  <a:pt x="13209" y="7875"/>
                </a:cubicBezTo>
                <a:cubicBezTo>
                  <a:pt x="13209" y="7938"/>
                  <a:pt x="13233" y="7989"/>
                  <a:pt x="13263" y="7989"/>
                </a:cubicBezTo>
                <a:cubicBezTo>
                  <a:pt x="13292" y="7989"/>
                  <a:pt x="13316" y="7938"/>
                  <a:pt x="13316" y="7875"/>
                </a:cubicBezTo>
                <a:cubicBezTo>
                  <a:pt x="13316" y="7813"/>
                  <a:pt x="13292" y="7762"/>
                  <a:pt x="13263" y="7762"/>
                </a:cubicBezTo>
                <a:close/>
                <a:moveTo>
                  <a:pt x="13263" y="7435"/>
                </a:moveTo>
                <a:cubicBezTo>
                  <a:pt x="13233" y="7435"/>
                  <a:pt x="13209" y="7486"/>
                  <a:pt x="13209" y="7549"/>
                </a:cubicBezTo>
                <a:cubicBezTo>
                  <a:pt x="13209" y="7611"/>
                  <a:pt x="13233" y="7662"/>
                  <a:pt x="13263" y="7662"/>
                </a:cubicBezTo>
                <a:cubicBezTo>
                  <a:pt x="13292" y="7662"/>
                  <a:pt x="13316" y="7611"/>
                  <a:pt x="13316" y="7549"/>
                </a:cubicBezTo>
                <a:cubicBezTo>
                  <a:pt x="13316" y="7486"/>
                  <a:pt x="13292" y="7435"/>
                  <a:pt x="13263" y="7435"/>
                </a:cubicBezTo>
                <a:close/>
                <a:moveTo>
                  <a:pt x="13569" y="7126"/>
                </a:moveTo>
                <a:cubicBezTo>
                  <a:pt x="13540" y="7126"/>
                  <a:pt x="13516" y="7176"/>
                  <a:pt x="13516" y="7239"/>
                </a:cubicBezTo>
                <a:cubicBezTo>
                  <a:pt x="13516" y="7301"/>
                  <a:pt x="13540" y="7352"/>
                  <a:pt x="13569" y="7352"/>
                </a:cubicBezTo>
                <a:cubicBezTo>
                  <a:pt x="13599" y="7352"/>
                  <a:pt x="13623" y="7301"/>
                  <a:pt x="13623" y="7239"/>
                </a:cubicBezTo>
                <a:cubicBezTo>
                  <a:pt x="13623" y="7176"/>
                  <a:pt x="13599" y="7126"/>
                  <a:pt x="13569" y="7126"/>
                </a:cubicBezTo>
                <a:close/>
                <a:moveTo>
                  <a:pt x="13569" y="6799"/>
                </a:moveTo>
                <a:cubicBezTo>
                  <a:pt x="13540" y="6799"/>
                  <a:pt x="13516" y="6849"/>
                  <a:pt x="13516" y="6912"/>
                </a:cubicBezTo>
                <a:cubicBezTo>
                  <a:pt x="13516" y="6974"/>
                  <a:pt x="13540" y="7025"/>
                  <a:pt x="13569" y="7025"/>
                </a:cubicBezTo>
                <a:cubicBezTo>
                  <a:pt x="13599" y="7025"/>
                  <a:pt x="13623" y="6974"/>
                  <a:pt x="13623" y="6912"/>
                </a:cubicBezTo>
                <a:cubicBezTo>
                  <a:pt x="13623" y="6849"/>
                  <a:pt x="13599" y="6799"/>
                  <a:pt x="13569" y="6799"/>
                </a:cubicBezTo>
                <a:close/>
                <a:moveTo>
                  <a:pt x="13415" y="7126"/>
                </a:moveTo>
                <a:cubicBezTo>
                  <a:pt x="13386" y="7126"/>
                  <a:pt x="13362" y="7176"/>
                  <a:pt x="13362" y="7239"/>
                </a:cubicBezTo>
                <a:cubicBezTo>
                  <a:pt x="13362" y="7301"/>
                  <a:pt x="13386" y="7352"/>
                  <a:pt x="13415" y="7352"/>
                </a:cubicBezTo>
                <a:cubicBezTo>
                  <a:pt x="13445" y="7352"/>
                  <a:pt x="13469" y="7301"/>
                  <a:pt x="13469" y="7239"/>
                </a:cubicBezTo>
                <a:cubicBezTo>
                  <a:pt x="13469" y="7176"/>
                  <a:pt x="13445" y="7126"/>
                  <a:pt x="13415" y="7126"/>
                </a:cubicBezTo>
                <a:close/>
                <a:moveTo>
                  <a:pt x="13415" y="6799"/>
                </a:moveTo>
                <a:cubicBezTo>
                  <a:pt x="13386" y="6799"/>
                  <a:pt x="13362" y="6849"/>
                  <a:pt x="13362" y="6912"/>
                </a:cubicBezTo>
                <a:cubicBezTo>
                  <a:pt x="13362" y="6974"/>
                  <a:pt x="13386" y="7025"/>
                  <a:pt x="13415" y="7025"/>
                </a:cubicBezTo>
                <a:cubicBezTo>
                  <a:pt x="13445" y="7025"/>
                  <a:pt x="13469" y="6974"/>
                  <a:pt x="13469" y="6912"/>
                </a:cubicBezTo>
                <a:cubicBezTo>
                  <a:pt x="13469" y="6849"/>
                  <a:pt x="13445" y="6799"/>
                  <a:pt x="13415" y="6799"/>
                </a:cubicBezTo>
                <a:close/>
                <a:moveTo>
                  <a:pt x="13263" y="7126"/>
                </a:moveTo>
                <a:cubicBezTo>
                  <a:pt x="13233" y="7126"/>
                  <a:pt x="13209" y="7176"/>
                  <a:pt x="13209" y="7239"/>
                </a:cubicBezTo>
                <a:cubicBezTo>
                  <a:pt x="13209" y="7301"/>
                  <a:pt x="13233" y="7352"/>
                  <a:pt x="13263" y="7352"/>
                </a:cubicBezTo>
                <a:cubicBezTo>
                  <a:pt x="13292" y="7352"/>
                  <a:pt x="13316" y="7301"/>
                  <a:pt x="13316" y="7239"/>
                </a:cubicBezTo>
                <a:cubicBezTo>
                  <a:pt x="13316" y="7176"/>
                  <a:pt x="13292" y="7126"/>
                  <a:pt x="13263" y="7126"/>
                </a:cubicBezTo>
                <a:close/>
                <a:moveTo>
                  <a:pt x="13263" y="6799"/>
                </a:moveTo>
                <a:cubicBezTo>
                  <a:pt x="13233" y="6799"/>
                  <a:pt x="13209" y="6849"/>
                  <a:pt x="13209" y="6912"/>
                </a:cubicBezTo>
                <a:cubicBezTo>
                  <a:pt x="13209" y="6974"/>
                  <a:pt x="13233" y="7025"/>
                  <a:pt x="13263" y="7025"/>
                </a:cubicBezTo>
                <a:cubicBezTo>
                  <a:pt x="13292" y="7025"/>
                  <a:pt x="13316" y="6974"/>
                  <a:pt x="13316" y="6912"/>
                </a:cubicBezTo>
                <a:cubicBezTo>
                  <a:pt x="13316" y="6849"/>
                  <a:pt x="13292" y="6799"/>
                  <a:pt x="13263" y="6799"/>
                </a:cubicBezTo>
                <a:close/>
                <a:moveTo>
                  <a:pt x="13569" y="6472"/>
                </a:moveTo>
                <a:cubicBezTo>
                  <a:pt x="13540" y="6472"/>
                  <a:pt x="13516" y="6522"/>
                  <a:pt x="13516" y="6585"/>
                </a:cubicBezTo>
                <a:cubicBezTo>
                  <a:pt x="13516" y="6647"/>
                  <a:pt x="13540" y="6698"/>
                  <a:pt x="13569" y="6698"/>
                </a:cubicBezTo>
                <a:cubicBezTo>
                  <a:pt x="13599" y="6698"/>
                  <a:pt x="13623" y="6647"/>
                  <a:pt x="13623" y="6585"/>
                </a:cubicBezTo>
                <a:cubicBezTo>
                  <a:pt x="13623" y="6522"/>
                  <a:pt x="13599" y="6472"/>
                  <a:pt x="13569" y="6472"/>
                </a:cubicBezTo>
                <a:close/>
                <a:moveTo>
                  <a:pt x="13569" y="6145"/>
                </a:moveTo>
                <a:cubicBezTo>
                  <a:pt x="13540" y="6145"/>
                  <a:pt x="13516" y="6196"/>
                  <a:pt x="13516" y="6258"/>
                </a:cubicBezTo>
                <a:cubicBezTo>
                  <a:pt x="13516" y="6321"/>
                  <a:pt x="13540" y="6371"/>
                  <a:pt x="13569" y="6371"/>
                </a:cubicBezTo>
                <a:cubicBezTo>
                  <a:pt x="13599" y="6371"/>
                  <a:pt x="13623" y="6321"/>
                  <a:pt x="13623" y="6258"/>
                </a:cubicBezTo>
                <a:cubicBezTo>
                  <a:pt x="13623" y="6196"/>
                  <a:pt x="13599" y="6145"/>
                  <a:pt x="13569" y="6145"/>
                </a:cubicBezTo>
                <a:close/>
                <a:moveTo>
                  <a:pt x="13415" y="6472"/>
                </a:moveTo>
                <a:cubicBezTo>
                  <a:pt x="13386" y="6472"/>
                  <a:pt x="13362" y="6522"/>
                  <a:pt x="13362" y="6585"/>
                </a:cubicBezTo>
                <a:cubicBezTo>
                  <a:pt x="13362" y="6647"/>
                  <a:pt x="13386" y="6698"/>
                  <a:pt x="13415" y="6698"/>
                </a:cubicBezTo>
                <a:cubicBezTo>
                  <a:pt x="13445" y="6698"/>
                  <a:pt x="13469" y="6647"/>
                  <a:pt x="13469" y="6585"/>
                </a:cubicBezTo>
                <a:cubicBezTo>
                  <a:pt x="13469" y="6522"/>
                  <a:pt x="13445" y="6472"/>
                  <a:pt x="13415" y="6472"/>
                </a:cubicBezTo>
                <a:close/>
                <a:moveTo>
                  <a:pt x="13415" y="6145"/>
                </a:moveTo>
                <a:cubicBezTo>
                  <a:pt x="13386" y="6145"/>
                  <a:pt x="13362" y="6196"/>
                  <a:pt x="13362" y="6258"/>
                </a:cubicBezTo>
                <a:cubicBezTo>
                  <a:pt x="13362" y="6321"/>
                  <a:pt x="13386" y="6371"/>
                  <a:pt x="13415" y="6371"/>
                </a:cubicBezTo>
                <a:cubicBezTo>
                  <a:pt x="13445" y="6371"/>
                  <a:pt x="13469" y="6321"/>
                  <a:pt x="13469" y="6258"/>
                </a:cubicBezTo>
                <a:cubicBezTo>
                  <a:pt x="13469" y="6196"/>
                  <a:pt x="13445" y="6145"/>
                  <a:pt x="13415" y="6145"/>
                </a:cubicBezTo>
                <a:close/>
                <a:moveTo>
                  <a:pt x="13263" y="6472"/>
                </a:moveTo>
                <a:cubicBezTo>
                  <a:pt x="13233" y="6472"/>
                  <a:pt x="13209" y="6522"/>
                  <a:pt x="13209" y="6585"/>
                </a:cubicBezTo>
                <a:cubicBezTo>
                  <a:pt x="13209" y="6647"/>
                  <a:pt x="13233" y="6698"/>
                  <a:pt x="13263" y="6698"/>
                </a:cubicBezTo>
                <a:cubicBezTo>
                  <a:pt x="13292" y="6698"/>
                  <a:pt x="13316" y="6647"/>
                  <a:pt x="13316" y="6585"/>
                </a:cubicBezTo>
                <a:cubicBezTo>
                  <a:pt x="13316" y="6522"/>
                  <a:pt x="13292" y="6472"/>
                  <a:pt x="13263" y="6472"/>
                </a:cubicBezTo>
                <a:close/>
                <a:moveTo>
                  <a:pt x="13263" y="6145"/>
                </a:moveTo>
                <a:cubicBezTo>
                  <a:pt x="13233" y="6145"/>
                  <a:pt x="13209" y="6196"/>
                  <a:pt x="13209" y="6258"/>
                </a:cubicBezTo>
                <a:cubicBezTo>
                  <a:pt x="13209" y="6321"/>
                  <a:pt x="13233" y="6371"/>
                  <a:pt x="13263" y="6371"/>
                </a:cubicBezTo>
                <a:cubicBezTo>
                  <a:pt x="13292" y="6371"/>
                  <a:pt x="13316" y="6321"/>
                  <a:pt x="13316" y="6258"/>
                </a:cubicBezTo>
                <a:cubicBezTo>
                  <a:pt x="13316" y="6196"/>
                  <a:pt x="13292" y="6145"/>
                  <a:pt x="13263" y="6145"/>
                </a:cubicBezTo>
                <a:close/>
                <a:moveTo>
                  <a:pt x="14343" y="7762"/>
                </a:moveTo>
                <a:cubicBezTo>
                  <a:pt x="14313" y="7762"/>
                  <a:pt x="14289" y="7813"/>
                  <a:pt x="14289" y="7875"/>
                </a:cubicBezTo>
                <a:cubicBezTo>
                  <a:pt x="14289" y="7938"/>
                  <a:pt x="14313" y="7989"/>
                  <a:pt x="14343" y="7989"/>
                </a:cubicBezTo>
                <a:cubicBezTo>
                  <a:pt x="14372" y="7989"/>
                  <a:pt x="14396" y="7938"/>
                  <a:pt x="14396" y="7875"/>
                </a:cubicBezTo>
                <a:cubicBezTo>
                  <a:pt x="14396" y="7813"/>
                  <a:pt x="14372" y="7762"/>
                  <a:pt x="14343" y="7762"/>
                </a:cubicBezTo>
                <a:close/>
                <a:moveTo>
                  <a:pt x="14343" y="7435"/>
                </a:moveTo>
                <a:cubicBezTo>
                  <a:pt x="14313" y="7435"/>
                  <a:pt x="14289" y="7486"/>
                  <a:pt x="14289" y="7549"/>
                </a:cubicBezTo>
                <a:cubicBezTo>
                  <a:pt x="14289" y="7611"/>
                  <a:pt x="14313" y="7662"/>
                  <a:pt x="14343" y="7662"/>
                </a:cubicBezTo>
                <a:cubicBezTo>
                  <a:pt x="14372" y="7662"/>
                  <a:pt x="14396" y="7611"/>
                  <a:pt x="14396" y="7549"/>
                </a:cubicBezTo>
                <a:cubicBezTo>
                  <a:pt x="14396" y="7486"/>
                  <a:pt x="14372" y="7435"/>
                  <a:pt x="14343" y="7435"/>
                </a:cubicBezTo>
                <a:close/>
                <a:moveTo>
                  <a:pt x="14190" y="7762"/>
                </a:moveTo>
                <a:cubicBezTo>
                  <a:pt x="14160" y="7762"/>
                  <a:pt x="14136" y="7813"/>
                  <a:pt x="14136" y="7875"/>
                </a:cubicBezTo>
                <a:cubicBezTo>
                  <a:pt x="14136" y="7938"/>
                  <a:pt x="14160" y="7989"/>
                  <a:pt x="14190" y="7989"/>
                </a:cubicBezTo>
                <a:cubicBezTo>
                  <a:pt x="14220" y="7989"/>
                  <a:pt x="14244" y="7938"/>
                  <a:pt x="14244" y="7875"/>
                </a:cubicBezTo>
                <a:cubicBezTo>
                  <a:pt x="14244" y="7813"/>
                  <a:pt x="14220" y="7762"/>
                  <a:pt x="14190" y="7762"/>
                </a:cubicBezTo>
                <a:close/>
                <a:moveTo>
                  <a:pt x="14190" y="7435"/>
                </a:moveTo>
                <a:cubicBezTo>
                  <a:pt x="14160" y="7435"/>
                  <a:pt x="14136" y="7486"/>
                  <a:pt x="14136" y="7549"/>
                </a:cubicBezTo>
                <a:cubicBezTo>
                  <a:pt x="14136" y="7611"/>
                  <a:pt x="14160" y="7662"/>
                  <a:pt x="14190" y="7662"/>
                </a:cubicBezTo>
                <a:cubicBezTo>
                  <a:pt x="14220" y="7662"/>
                  <a:pt x="14244" y="7611"/>
                  <a:pt x="14244" y="7549"/>
                </a:cubicBezTo>
                <a:cubicBezTo>
                  <a:pt x="14244" y="7486"/>
                  <a:pt x="14220" y="7435"/>
                  <a:pt x="14190" y="7435"/>
                </a:cubicBezTo>
                <a:close/>
                <a:moveTo>
                  <a:pt x="14035" y="7989"/>
                </a:moveTo>
                <a:cubicBezTo>
                  <a:pt x="14064" y="7989"/>
                  <a:pt x="14088" y="7938"/>
                  <a:pt x="14088" y="7875"/>
                </a:cubicBezTo>
                <a:cubicBezTo>
                  <a:pt x="14088" y="7813"/>
                  <a:pt x="14064" y="7762"/>
                  <a:pt x="14035" y="7762"/>
                </a:cubicBezTo>
                <a:cubicBezTo>
                  <a:pt x="14005" y="7762"/>
                  <a:pt x="13981" y="7813"/>
                  <a:pt x="13981" y="7875"/>
                </a:cubicBezTo>
                <a:cubicBezTo>
                  <a:pt x="13981" y="7938"/>
                  <a:pt x="14005" y="7989"/>
                  <a:pt x="14035" y="7989"/>
                </a:cubicBezTo>
                <a:close/>
                <a:moveTo>
                  <a:pt x="14035" y="7662"/>
                </a:moveTo>
                <a:cubicBezTo>
                  <a:pt x="14064" y="7662"/>
                  <a:pt x="14088" y="7611"/>
                  <a:pt x="14088" y="7549"/>
                </a:cubicBezTo>
                <a:cubicBezTo>
                  <a:pt x="14088" y="7486"/>
                  <a:pt x="14064" y="7435"/>
                  <a:pt x="14035" y="7435"/>
                </a:cubicBezTo>
                <a:cubicBezTo>
                  <a:pt x="14005" y="7435"/>
                  <a:pt x="13981" y="7486"/>
                  <a:pt x="13981" y="7549"/>
                </a:cubicBezTo>
                <a:cubicBezTo>
                  <a:pt x="13981" y="7611"/>
                  <a:pt x="14005" y="7662"/>
                  <a:pt x="14035" y="7662"/>
                </a:cubicBezTo>
                <a:close/>
                <a:moveTo>
                  <a:pt x="13881" y="7762"/>
                </a:moveTo>
                <a:cubicBezTo>
                  <a:pt x="13851" y="7762"/>
                  <a:pt x="13827" y="7813"/>
                  <a:pt x="13827" y="7875"/>
                </a:cubicBezTo>
                <a:cubicBezTo>
                  <a:pt x="13827" y="7938"/>
                  <a:pt x="13851" y="7989"/>
                  <a:pt x="13881" y="7989"/>
                </a:cubicBezTo>
                <a:cubicBezTo>
                  <a:pt x="13910" y="7989"/>
                  <a:pt x="13934" y="7938"/>
                  <a:pt x="13934" y="7875"/>
                </a:cubicBezTo>
                <a:cubicBezTo>
                  <a:pt x="13934" y="7813"/>
                  <a:pt x="13910" y="7762"/>
                  <a:pt x="13881" y="7762"/>
                </a:cubicBezTo>
                <a:close/>
                <a:moveTo>
                  <a:pt x="13881" y="7435"/>
                </a:moveTo>
                <a:cubicBezTo>
                  <a:pt x="13851" y="7435"/>
                  <a:pt x="13827" y="7486"/>
                  <a:pt x="13827" y="7549"/>
                </a:cubicBezTo>
                <a:cubicBezTo>
                  <a:pt x="13827" y="7611"/>
                  <a:pt x="13851" y="7662"/>
                  <a:pt x="13881" y="7662"/>
                </a:cubicBezTo>
                <a:cubicBezTo>
                  <a:pt x="13910" y="7662"/>
                  <a:pt x="13934" y="7611"/>
                  <a:pt x="13934" y="7549"/>
                </a:cubicBezTo>
                <a:cubicBezTo>
                  <a:pt x="13934" y="7486"/>
                  <a:pt x="13910" y="7435"/>
                  <a:pt x="13881" y="7435"/>
                </a:cubicBezTo>
                <a:close/>
                <a:moveTo>
                  <a:pt x="13728" y="7762"/>
                </a:moveTo>
                <a:cubicBezTo>
                  <a:pt x="13698" y="7762"/>
                  <a:pt x="13674" y="7813"/>
                  <a:pt x="13674" y="7875"/>
                </a:cubicBezTo>
                <a:cubicBezTo>
                  <a:pt x="13674" y="7938"/>
                  <a:pt x="13698" y="7989"/>
                  <a:pt x="13728" y="7989"/>
                </a:cubicBezTo>
                <a:cubicBezTo>
                  <a:pt x="13758" y="7989"/>
                  <a:pt x="13782" y="7938"/>
                  <a:pt x="13782" y="7875"/>
                </a:cubicBezTo>
                <a:cubicBezTo>
                  <a:pt x="13782" y="7813"/>
                  <a:pt x="13758" y="7762"/>
                  <a:pt x="13728" y="7762"/>
                </a:cubicBezTo>
                <a:close/>
                <a:moveTo>
                  <a:pt x="13728" y="7435"/>
                </a:moveTo>
                <a:cubicBezTo>
                  <a:pt x="13698" y="7435"/>
                  <a:pt x="13674" y="7486"/>
                  <a:pt x="13674" y="7549"/>
                </a:cubicBezTo>
                <a:cubicBezTo>
                  <a:pt x="13674" y="7611"/>
                  <a:pt x="13698" y="7662"/>
                  <a:pt x="13728" y="7662"/>
                </a:cubicBezTo>
                <a:cubicBezTo>
                  <a:pt x="13758" y="7662"/>
                  <a:pt x="13782" y="7611"/>
                  <a:pt x="13782" y="7549"/>
                </a:cubicBezTo>
                <a:cubicBezTo>
                  <a:pt x="13782" y="7486"/>
                  <a:pt x="13758" y="7435"/>
                  <a:pt x="13728" y="7435"/>
                </a:cubicBezTo>
                <a:close/>
                <a:moveTo>
                  <a:pt x="14343" y="7126"/>
                </a:moveTo>
                <a:cubicBezTo>
                  <a:pt x="14313" y="7126"/>
                  <a:pt x="14289" y="7176"/>
                  <a:pt x="14289" y="7239"/>
                </a:cubicBezTo>
                <a:cubicBezTo>
                  <a:pt x="14289" y="7301"/>
                  <a:pt x="14313" y="7352"/>
                  <a:pt x="14343" y="7352"/>
                </a:cubicBezTo>
                <a:cubicBezTo>
                  <a:pt x="14372" y="7352"/>
                  <a:pt x="14396" y="7301"/>
                  <a:pt x="14396" y="7239"/>
                </a:cubicBezTo>
                <a:cubicBezTo>
                  <a:pt x="14396" y="7176"/>
                  <a:pt x="14372" y="7126"/>
                  <a:pt x="14343" y="7126"/>
                </a:cubicBezTo>
                <a:close/>
                <a:moveTo>
                  <a:pt x="14343" y="6799"/>
                </a:moveTo>
                <a:cubicBezTo>
                  <a:pt x="14313" y="6799"/>
                  <a:pt x="14289" y="6849"/>
                  <a:pt x="14289" y="6912"/>
                </a:cubicBezTo>
                <a:cubicBezTo>
                  <a:pt x="14289" y="6974"/>
                  <a:pt x="14313" y="7025"/>
                  <a:pt x="14343" y="7025"/>
                </a:cubicBezTo>
                <a:cubicBezTo>
                  <a:pt x="14372" y="7025"/>
                  <a:pt x="14396" y="6974"/>
                  <a:pt x="14396" y="6912"/>
                </a:cubicBezTo>
                <a:cubicBezTo>
                  <a:pt x="14396" y="6849"/>
                  <a:pt x="14372" y="6799"/>
                  <a:pt x="14343" y="6799"/>
                </a:cubicBezTo>
                <a:close/>
                <a:moveTo>
                  <a:pt x="14190" y="7126"/>
                </a:moveTo>
                <a:cubicBezTo>
                  <a:pt x="14160" y="7126"/>
                  <a:pt x="14136" y="7176"/>
                  <a:pt x="14136" y="7239"/>
                </a:cubicBezTo>
                <a:cubicBezTo>
                  <a:pt x="14136" y="7301"/>
                  <a:pt x="14160" y="7352"/>
                  <a:pt x="14190" y="7352"/>
                </a:cubicBezTo>
                <a:cubicBezTo>
                  <a:pt x="14220" y="7352"/>
                  <a:pt x="14244" y="7301"/>
                  <a:pt x="14244" y="7239"/>
                </a:cubicBezTo>
                <a:cubicBezTo>
                  <a:pt x="14244" y="7176"/>
                  <a:pt x="14220" y="7126"/>
                  <a:pt x="14190" y="7126"/>
                </a:cubicBezTo>
                <a:close/>
                <a:moveTo>
                  <a:pt x="14190" y="6799"/>
                </a:moveTo>
                <a:cubicBezTo>
                  <a:pt x="14160" y="6799"/>
                  <a:pt x="14136" y="6849"/>
                  <a:pt x="14136" y="6912"/>
                </a:cubicBezTo>
                <a:cubicBezTo>
                  <a:pt x="14136" y="6974"/>
                  <a:pt x="14160" y="7025"/>
                  <a:pt x="14190" y="7025"/>
                </a:cubicBezTo>
                <a:cubicBezTo>
                  <a:pt x="14220" y="7025"/>
                  <a:pt x="14244" y="6974"/>
                  <a:pt x="14244" y="6912"/>
                </a:cubicBezTo>
                <a:cubicBezTo>
                  <a:pt x="14244" y="6849"/>
                  <a:pt x="14220" y="6799"/>
                  <a:pt x="14190" y="6799"/>
                </a:cubicBezTo>
                <a:close/>
                <a:moveTo>
                  <a:pt x="14035" y="7352"/>
                </a:moveTo>
                <a:cubicBezTo>
                  <a:pt x="14064" y="7352"/>
                  <a:pt x="14088" y="7301"/>
                  <a:pt x="14088" y="7239"/>
                </a:cubicBezTo>
                <a:cubicBezTo>
                  <a:pt x="14088" y="7176"/>
                  <a:pt x="14064" y="7126"/>
                  <a:pt x="14035" y="7126"/>
                </a:cubicBezTo>
                <a:cubicBezTo>
                  <a:pt x="14005" y="7126"/>
                  <a:pt x="13981" y="7176"/>
                  <a:pt x="13981" y="7239"/>
                </a:cubicBezTo>
                <a:cubicBezTo>
                  <a:pt x="13981" y="7301"/>
                  <a:pt x="14005" y="7352"/>
                  <a:pt x="14035" y="7352"/>
                </a:cubicBezTo>
                <a:close/>
                <a:moveTo>
                  <a:pt x="14035" y="7025"/>
                </a:moveTo>
                <a:cubicBezTo>
                  <a:pt x="14064" y="7025"/>
                  <a:pt x="14088" y="6974"/>
                  <a:pt x="14088" y="6912"/>
                </a:cubicBezTo>
                <a:cubicBezTo>
                  <a:pt x="14088" y="6849"/>
                  <a:pt x="14064" y="6799"/>
                  <a:pt x="14035" y="6799"/>
                </a:cubicBezTo>
                <a:cubicBezTo>
                  <a:pt x="14005" y="6799"/>
                  <a:pt x="13981" y="6849"/>
                  <a:pt x="13981" y="6912"/>
                </a:cubicBezTo>
                <a:cubicBezTo>
                  <a:pt x="13981" y="6974"/>
                  <a:pt x="14005" y="7025"/>
                  <a:pt x="14035" y="7025"/>
                </a:cubicBezTo>
                <a:close/>
                <a:moveTo>
                  <a:pt x="13881" y="7126"/>
                </a:moveTo>
                <a:cubicBezTo>
                  <a:pt x="13851" y="7126"/>
                  <a:pt x="13827" y="7176"/>
                  <a:pt x="13827" y="7239"/>
                </a:cubicBezTo>
                <a:cubicBezTo>
                  <a:pt x="13827" y="7301"/>
                  <a:pt x="13851" y="7352"/>
                  <a:pt x="13881" y="7352"/>
                </a:cubicBezTo>
                <a:cubicBezTo>
                  <a:pt x="13910" y="7352"/>
                  <a:pt x="13934" y="7301"/>
                  <a:pt x="13934" y="7239"/>
                </a:cubicBezTo>
                <a:cubicBezTo>
                  <a:pt x="13934" y="7176"/>
                  <a:pt x="13910" y="7126"/>
                  <a:pt x="13881" y="7126"/>
                </a:cubicBezTo>
                <a:close/>
                <a:moveTo>
                  <a:pt x="13881" y="6799"/>
                </a:moveTo>
                <a:cubicBezTo>
                  <a:pt x="13851" y="6799"/>
                  <a:pt x="13827" y="6849"/>
                  <a:pt x="13827" y="6912"/>
                </a:cubicBezTo>
                <a:cubicBezTo>
                  <a:pt x="13827" y="6974"/>
                  <a:pt x="13851" y="7025"/>
                  <a:pt x="13881" y="7025"/>
                </a:cubicBezTo>
                <a:cubicBezTo>
                  <a:pt x="13910" y="7025"/>
                  <a:pt x="13934" y="6974"/>
                  <a:pt x="13934" y="6912"/>
                </a:cubicBezTo>
                <a:cubicBezTo>
                  <a:pt x="13934" y="6849"/>
                  <a:pt x="13910" y="6799"/>
                  <a:pt x="13881" y="6799"/>
                </a:cubicBezTo>
                <a:close/>
                <a:moveTo>
                  <a:pt x="13728" y="7126"/>
                </a:moveTo>
                <a:cubicBezTo>
                  <a:pt x="13698" y="7126"/>
                  <a:pt x="13674" y="7176"/>
                  <a:pt x="13674" y="7239"/>
                </a:cubicBezTo>
                <a:cubicBezTo>
                  <a:pt x="13674" y="7301"/>
                  <a:pt x="13698" y="7352"/>
                  <a:pt x="13728" y="7352"/>
                </a:cubicBezTo>
                <a:cubicBezTo>
                  <a:pt x="13758" y="7352"/>
                  <a:pt x="13782" y="7301"/>
                  <a:pt x="13782" y="7239"/>
                </a:cubicBezTo>
                <a:cubicBezTo>
                  <a:pt x="13782" y="7176"/>
                  <a:pt x="13758" y="7126"/>
                  <a:pt x="13728" y="7126"/>
                </a:cubicBezTo>
                <a:close/>
                <a:moveTo>
                  <a:pt x="13728" y="6799"/>
                </a:moveTo>
                <a:cubicBezTo>
                  <a:pt x="13698" y="6799"/>
                  <a:pt x="13674" y="6849"/>
                  <a:pt x="13674" y="6912"/>
                </a:cubicBezTo>
                <a:cubicBezTo>
                  <a:pt x="13674" y="6974"/>
                  <a:pt x="13698" y="7025"/>
                  <a:pt x="13728" y="7025"/>
                </a:cubicBezTo>
                <a:cubicBezTo>
                  <a:pt x="13758" y="7025"/>
                  <a:pt x="13782" y="6974"/>
                  <a:pt x="13782" y="6912"/>
                </a:cubicBezTo>
                <a:cubicBezTo>
                  <a:pt x="13782" y="6849"/>
                  <a:pt x="13758" y="6799"/>
                  <a:pt x="13728" y="6799"/>
                </a:cubicBezTo>
                <a:close/>
                <a:moveTo>
                  <a:pt x="14343" y="6472"/>
                </a:moveTo>
                <a:cubicBezTo>
                  <a:pt x="14313" y="6472"/>
                  <a:pt x="14289" y="6522"/>
                  <a:pt x="14289" y="6585"/>
                </a:cubicBezTo>
                <a:cubicBezTo>
                  <a:pt x="14289" y="6647"/>
                  <a:pt x="14313" y="6698"/>
                  <a:pt x="14343" y="6698"/>
                </a:cubicBezTo>
                <a:cubicBezTo>
                  <a:pt x="14372" y="6698"/>
                  <a:pt x="14396" y="6647"/>
                  <a:pt x="14396" y="6585"/>
                </a:cubicBezTo>
                <a:cubicBezTo>
                  <a:pt x="14396" y="6522"/>
                  <a:pt x="14372" y="6472"/>
                  <a:pt x="14343" y="6472"/>
                </a:cubicBezTo>
                <a:close/>
                <a:moveTo>
                  <a:pt x="14343" y="6145"/>
                </a:moveTo>
                <a:cubicBezTo>
                  <a:pt x="14313" y="6145"/>
                  <a:pt x="14289" y="6196"/>
                  <a:pt x="14289" y="6258"/>
                </a:cubicBezTo>
                <a:cubicBezTo>
                  <a:pt x="14289" y="6321"/>
                  <a:pt x="14313" y="6371"/>
                  <a:pt x="14343" y="6371"/>
                </a:cubicBezTo>
                <a:cubicBezTo>
                  <a:pt x="14372" y="6371"/>
                  <a:pt x="14396" y="6321"/>
                  <a:pt x="14396" y="6258"/>
                </a:cubicBezTo>
                <a:cubicBezTo>
                  <a:pt x="14396" y="6196"/>
                  <a:pt x="14372" y="6145"/>
                  <a:pt x="14343" y="6145"/>
                </a:cubicBezTo>
                <a:close/>
                <a:moveTo>
                  <a:pt x="14190" y="6472"/>
                </a:moveTo>
                <a:cubicBezTo>
                  <a:pt x="14160" y="6472"/>
                  <a:pt x="14136" y="6522"/>
                  <a:pt x="14136" y="6585"/>
                </a:cubicBezTo>
                <a:cubicBezTo>
                  <a:pt x="14136" y="6647"/>
                  <a:pt x="14160" y="6698"/>
                  <a:pt x="14190" y="6698"/>
                </a:cubicBezTo>
                <a:cubicBezTo>
                  <a:pt x="14220" y="6698"/>
                  <a:pt x="14244" y="6647"/>
                  <a:pt x="14244" y="6585"/>
                </a:cubicBezTo>
                <a:cubicBezTo>
                  <a:pt x="14244" y="6522"/>
                  <a:pt x="14220" y="6472"/>
                  <a:pt x="14190" y="6472"/>
                </a:cubicBezTo>
                <a:close/>
                <a:moveTo>
                  <a:pt x="14190" y="6145"/>
                </a:moveTo>
                <a:cubicBezTo>
                  <a:pt x="14160" y="6145"/>
                  <a:pt x="14136" y="6196"/>
                  <a:pt x="14136" y="6258"/>
                </a:cubicBezTo>
                <a:cubicBezTo>
                  <a:pt x="14136" y="6321"/>
                  <a:pt x="14160" y="6371"/>
                  <a:pt x="14190" y="6371"/>
                </a:cubicBezTo>
                <a:cubicBezTo>
                  <a:pt x="14220" y="6371"/>
                  <a:pt x="14244" y="6321"/>
                  <a:pt x="14244" y="6258"/>
                </a:cubicBezTo>
                <a:cubicBezTo>
                  <a:pt x="14244" y="6196"/>
                  <a:pt x="14220" y="6145"/>
                  <a:pt x="14190" y="6145"/>
                </a:cubicBezTo>
                <a:close/>
                <a:moveTo>
                  <a:pt x="14035" y="6698"/>
                </a:moveTo>
                <a:cubicBezTo>
                  <a:pt x="14064" y="6698"/>
                  <a:pt x="14088" y="6647"/>
                  <a:pt x="14088" y="6585"/>
                </a:cubicBezTo>
                <a:cubicBezTo>
                  <a:pt x="14088" y="6522"/>
                  <a:pt x="14064" y="6472"/>
                  <a:pt x="14035" y="6472"/>
                </a:cubicBezTo>
                <a:cubicBezTo>
                  <a:pt x="14005" y="6472"/>
                  <a:pt x="13981" y="6522"/>
                  <a:pt x="13981" y="6585"/>
                </a:cubicBezTo>
                <a:cubicBezTo>
                  <a:pt x="13981" y="6647"/>
                  <a:pt x="14005" y="6698"/>
                  <a:pt x="14035" y="6698"/>
                </a:cubicBezTo>
                <a:close/>
                <a:moveTo>
                  <a:pt x="14035" y="6371"/>
                </a:moveTo>
                <a:cubicBezTo>
                  <a:pt x="14064" y="6371"/>
                  <a:pt x="14088" y="6321"/>
                  <a:pt x="14088" y="6258"/>
                </a:cubicBezTo>
                <a:cubicBezTo>
                  <a:pt x="14088" y="6196"/>
                  <a:pt x="14064" y="6145"/>
                  <a:pt x="14035" y="6145"/>
                </a:cubicBezTo>
                <a:cubicBezTo>
                  <a:pt x="14005" y="6145"/>
                  <a:pt x="13981" y="6196"/>
                  <a:pt x="13981" y="6258"/>
                </a:cubicBezTo>
                <a:cubicBezTo>
                  <a:pt x="13981" y="6321"/>
                  <a:pt x="14005" y="6371"/>
                  <a:pt x="14035" y="6371"/>
                </a:cubicBezTo>
                <a:close/>
                <a:moveTo>
                  <a:pt x="13881" y="6472"/>
                </a:moveTo>
                <a:cubicBezTo>
                  <a:pt x="13851" y="6472"/>
                  <a:pt x="13827" y="6522"/>
                  <a:pt x="13827" y="6585"/>
                </a:cubicBezTo>
                <a:cubicBezTo>
                  <a:pt x="13827" y="6647"/>
                  <a:pt x="13851" y="6698"/>
                  <a:pt x="13881" y="6698"/>
                </a:cubicBezTo>
                <a:cubicBezTo>
                  <a:pt x="13910" y="6698"/>
                  <a:pt x="13934" y="6647"/>
                  <a:pt x="13934" y="6585"/>
                </a:cubicBezTo>
                <a:cubicBezTo>
                  <a:pt x="13934" y="6522"/>
                  <a:pt x="13910" y="6472"/>
                  <a:pt x="13881" y="6472"/>
                </a:cubicBezTo>
                <a:close/>
                <a:moveTo>
                  <a:pt x="13881" y="6145"/>
                </a:moveTo>
                <a:cubicBezTo>
                  <a:pt x="13851" y="6145"/>
                  <a:pt x="13827" y="6196"/>
                  <a:pt x="13827" y="6258"/>
                </a:cubicBezTo>
                <a:cubicBezTo>
                  <a:pt x="13827" y="6321"/>
                  <a:pt x="13851" y="6371"/>
                  <a:pt x="13881" y="6371"/>
                </a:cubicBezTo>
                <a:cubicBezTo>
                  <a:pt x="13910" y="6371"/>
                  <a:pt x="13934" y="6321"/>
                  <a:pt x="13934" y="6258"/>
                </a:cubicBezTo>
                <a:cubicBezTo>
                  <a:pt x="13934" y="6196"/>
                  <a:pt x="13910" y="6145"/>
                  <a:pt x="13881" y="6145"/>
                </a:cubicBezTo>
                <a:close/>
                <a:moveTo>
                  <a:pt x="13728" y="6472"/>
                </a:moveTo>
                <a:cubicBezTo>
                  <a:pt x="13698" y="6472"/>
                  <a:pt x="13674" y="6522"/>
                  <a:pt x="13674" y="6585"/>
                </a:cubicBezTo>
                <a:cubicBezTo>
                  <a:pt x="13674" y="6647"/>
                  <a:pt x="13698" y="6698"/>
                  <a:pt x="13728" y="6698"/>
                </a:cubicBezTo>
                <a:cubicBezTo>
                  <a:pt x="13758" y="6698"/>
                  <a:pt x="13782" y="6647"/>
                  <a:pt x="13782" y="6585"/>
                </a:cubicBezTo>
                <a:cubicBezTo>
                  <a:pt x="13782" y="6522"/>
                  <a:pt x="13758" y="6472"/>
                  <a:pt x="13728" y="6472"/>
                </a:cubicBezTo>
                <a:close/>
                <a:moveTo>
                  <a:pt x="13728" y="6145"/>
                </a:moveTo>
                <a:cubicBezTo>
                  <a:pt x="13698" y="6145"/>
                  <a:pt x="13674" y="6196"/>
                  <a:pt x="13674" y="6258"/>
                </a:cubicBezTo>
                <a:cubicBezTo>
                  <a:pt x="13674" y="6321"/>
                  <a:pt x="13698" y="6371"/>
                  <a:pt x="13728" y="6371"/>
                </a:cubicBezTo>
                <a:cubicBezTo>
                  <a:pt x="13758" y="6371"/>
                  <a:pt x="13782" y="6321"/>
                  <a:pt x="13782" y="6258"/>
                </a:cubicBezTo>
                <a:cubicBezTo>
                  <a:pt x="13782" y="6196"/>
                  <a:pt x="13758" y="6145"/>
                  <a:pt x="13728" y="6145"/>
                </a:cubicBezTo>
                <a:close/>
                <a:moveTo>
                  <a:pt x="15111" y="8416"/>
                </a:moveTo>
                <a:cubicBezTo>
                  <a:pt x="15081" y="8416"/>
                  <a:pt x="15057" y="8467"/>
                  <a:pt x="15057" y="8529"/>
                </a:cubicBezTo>
                <a:cubicBezTo>
                  <a:pt x="15057" y="8592"/>
                  <a:pt x="15081" y="8642"/>
                  <a:pt x="15111" y="8642"/>
                </a:cubicBezTo>
                <a:cubicBezTo>
                  <a:pt x="15140" y="8642"/>
                  <a:pt x="15165" y="8592"/>
                  <a:pt x="15165" y="8529"/>
                </a:cubicBezTo>
                <a:cubicBezTo>
                  <a:pt x="15165" y="8467"/>
                  <a:pt x="15140" y="8416"/>
                  <a:pt x="15111" y="8416"/>
                </a:cubicBezTo>
                <a:close/>
                <a:moveTo>
                  <a:pt x="15111" y="8089"/>
                </a:moveTo>
                <a:cubicBezTo>
                  <a:pt x="15081" y="8089"/>
                  <a:pt x="15057" y="8140"/>
                  <a:pt x="15057" y="8202"/>
                </a:cubicBezTo>
                <a:cubicBezTo>
                  <a:pt x="15057" y="8265"/>
                  <a:pt x="15081" y="8315"/>
                  <a:pt x="15111" y="8315"/>
                </a:cubicBezTo>
                <a:cubicBezTo>
                  <a:pt x="15140" y="8315"/>
                  <a:pt x="15165" y="8265"/>
                  <a:pt x="15165" y="8202"/>
                </a:cubicBezTo>
                <a:cubicBezTo>
                  <a:pt x="15165" y="8140"/>
                  <a:pt x="15140" y="8089"/>
                  <a:pt x="15111" y="8089"/>
                </a:cubicBezTo>
                <a:close/>
                <a:moveTo>
                  <a:pt x="14958" y="8416"/>
                </a:moveTo>
                <a:cubicBezTo>
                  <a:pt x="14928" y="8416"/>
                  <a:pt x="14904" y="8467"/>
                  <a:pt x="14904" y="8529"/>
                </a:cubicBezTo>
                <a:cubicBezTo>
                  <a:pt x="14904" y="8592"/>
                  <a:pt x="14928" y="8642"/>
                  <a:pt x="14958" y="8642"/>
                </a:cubicBezTo>
                <a:cubicBezTo>
                  <a:pt x="14988" y="8642"/>
                  <a:pt x="15012" y="8592"/>
                  <a:pt x="15012" y="8529"/>
                </a:cubicBezTo>
                <a:cubicBezTo>
                  <a:pt x="15012" y="8467"/>
                  <a:pt x="14988" y="8416"/>
                  <a:pt x="14958" y="8416"/>
                </a:cubicBezTo>
                <a:close/>
                <a:moveTo>
                  <a:pt x="14958" y="8089"/>
                </a:moveTo>
                <a:cubicBezTo>
                  <a:pt x="14928" y="8089"/>
                  <a:pt x="14904" y="8140"/>
                  <a:pt x="14904" y="8202"/>
                </a:cubicBezTo>
                <a:cubicBezTo>
                  <a:pt x="14904" y="8265"/>
                  <a:pt x="14928" y="8315"/>
                  <a:pt x="14958" y="8315"/>
                </a:cubicBezTo>
                <a:cubicBezTo>
                  <a:pt x="14988" y="8315"/>
                  <a:pt x="15012" y="8265"/>
                  <a:pt x="15012" y="8202"/>
                </a:cubicBezTo>
                <a:cubicBezTo>
                  <a:pt x="15012" y="8140"/>
                  <a:pt x="14988" y="8089"/>
                  <a:pt x="14958" y="8089"/>
                </a:cubicBezTo>
                <a:close/>
                <a:moveTo>
                  <a:pt x="14803" y="8416"/>
                </a:moveTo>
                <a:cubicBezTo>
                  <a:pt x="14773" y="8416"/>
                  <a:pt x="14749" y="8467"/>
                  <a:pt x="14749" y="8529"/>
                </a:cubicBezTo>
                <a:cubicBezTo>
                  <a:pt x="14749" y="8592"/>
                  <a:pt x="14773" y="8642"/>
                  <a:pt x="14803" y="8642"/>
                </a:cubicBezTo>
                <a:cubicBezTo>
                  <a:pt x="14832" y="8642"/>
                  <a:pt x="14857" y="8592"/>
                  <a:pt x="14857" y="8529"/>
                </a:cubicBezTo>
                <a:cubicBezTo>
                  <a:pt x="14857" y="8467"/>
                  <a:pt x="14832" y="8416"/>
                  <a:pt x="14803" y="8416"/>
                </a:cubicBezTo>
                <a:close/>
                <a:moveTo>
                  <a:pt x="14803" y="8089"/>
                </a:moveTo>
                <a:cubicBezTo>
                  <a:pt x="14773" y="8089"/>
                  <a:pt x="14749" y="8140"/>
                  <a:pt x="14749" y="8202"/>
                </a:cubicBezTo>
                <a:cubicBezTo>
                  <a:pt x="14749" y="8265"/>
                  <a:pt x="14773" y="8315"/>
                  <a:pt x="14803" y="8315"/>
                </a:cubicBezTo>
                <a:cubicBezTo>
                  <a:pt x="14832" y="8315"/>
                  <a:pt x="14857" y="8265"/>
                  <a:pt x="14857" y="8202"/>
                </a:cubicBezTo>
                <a:cubicBezTo>
                  <a:pt x="14857" y="8140"/>
                  <a:pt x="14832" y="8089"/>
                  <a:pt x="14803" y="8089"/>
                </a:cubicBezTo>
                <a:close/>
                <a:moveTo>
                  <a:pt x="14649" y="8416"/>
                </a:moveTo>
                <a:cubicBezTo>
                  <a:pt x="14619" y="8416"/>
                  <a:pt x="14595" y="8467"/>
                  <a:pt x="14595" y="8529"/>
                </a:cubicBezTo>
                <a:cubicBezTo>
                  <a:pt x="14595" y="8592"/>
                  <a:pt x="14619" y="8642"/>
                  <a:pt x="14649" y="8642"/>
                </a:cubicBezTo>
                <a:cubicBezTo>
                  <a:pt x="14678" y="8642"/>
                  <a:pt x="14703" y="8592"/>
                  <a:pt x="14703" y="8529"/>
                </a:cubicBezTo>
                <a:cubicBezTo>
                  <a:pt x="14703" y="8467"/>
                  <a:pt x="14678" y="8416"/>
                  <a:pt x="14649" y="8416"/>
                </a:cubicBezTo>
                <a:close/>
                <a:moveTo>
                  <a:pt x="14649" y="8089"/>
                </a:moveTo>
                <a:cubicBezTo>
                  <a:pt x="14619" y="8089"/>
                  <a:pt x="14595" y="8140"/>
                  <a:pt x="14595" y="8202"/>
                </a:cubicBezTo>
                <a:cubicBezTo>
                  <a:pt x="14595" y="8265"/>
                  <a:pt x="14619" y="8315"/>
                  <a:pt x="14649" y="8315"/>
                </a:cubicBezTo>
                <a:cubicBezTo>
                  <a:pt x="14678" y="8315"/>
                  <a:pt x="14703" y="8265"/>
                  <a:pt x="14703" y="8202"/>
                </a:cubicBezTo>
                <a:cubicBezTo>
                  <a:pt x="14703" y="8140"/>
                  <a:pt x="14678" y="8089"/>
                  <a:pt x="14649" y="8089"/>
                </a:cubicBezTo>
                <a:close/>
                <a:moveTo>
                  <a:pt x="14496" y="8416"/>
                </a:moveTo>
                <a:cubicBezTo>
                  <a:pt x="14466" y="8416"/>
                  <a:pt x="14442" y="8467"/>
                  <a:pt x="14442" y="8529"/>
                </a:cubicBezTo>
                <a:cubicBezTo>
                  <a:pt x="14442" y="8592"/>
                  <a:pt x="14466" y="8642"/>
                  <a:pt x="14496" y="8642"/>
                </a:cubicBezTo>
                <a:cubicBezTo>
                  <a:pt x="14526" y="8642"/>
                  <a:pt x="14550" y="8592"/>
                  <a:pt x="14550" y="8529"/>
                </a:cubicBezTo>
                <a:cubicBezTo>
                  <a:pt x="14550" y="8467"/>
                  <a:pt x="14526" y="8416"/>
                  <a:pt x="14496" y="8416"/>
                </a:cubicBezTo>
                <a:close/>
                <a:moveTo>
                  <a:pt x="14496" y="8089"/>
                </a:moveTo>
                <a:cubicBezTo>
                  <a:pt x="14466" y="8089"/>
                  <a:pt x="14442" y="8140"/>
                  <a:pt x="14442" y="8202"/>
                </a:cubicBezTo>
                <a:cubicBezTo>
                  <a:pt x="14442" y="8265"/>
                  <a:pt x="14466" y="8315"/>
                  <a:pt x="14496" y="8315"/>
                </a:cubicBezTo>
                <a:cubicBezTo>
                  <a:pt x="14526" y="8315"/>
                  <a:pt x="14550" y="8265"/>
                  <a:pt x="14550" y="8202"/>
                </a:cubicBezTo>
                <a:cubicBezTo>
                  <a:pt x="14550" y="8140"/>
                  <a:pt x="14526" y="8089"/>
                  <a:pt x="14496" y="8089"/>
                </a:cubicBezTo>
                <a:close/>
                <a:moveTo>
                  <a:pt x="15111" y="7762"/>
                </a:moveTo>
                <a:cubicBezTo>
                  <a:pt x="15081" y="7762"/>
                  <a:pt x="15057" y="7813"/>
                  <a:pt x="15057" y="7875"/>
                </a:cubicBezTo>
                <a:cubicBezTo>
                  <a:pt x="15057" y="7938"/>
                  <a:pt x="15081" y="7989"/>
                  <a:pt x="15111" y="7989"/>
                </a:cubicBezTo>
                <a:cubicBezTo>
                  <a:pt x="15140" y="7989"/>
                  <a:pt x="15165" y="7938"/>
                  <a:pt x="15165" y="7875"/>
                </a:cubicBezTo>
                <a:cubicBezTo>
                  <a:pt x="15165" y="7813"/>
                  <a:pt x="15140" y="7762"/>
                  <a:pt x="15111" y="7762"/>
                </a:cubicBezTo>
                <a:close/>
                <a:moveTo>
                  <a:pt x="15111" y="7435"/>
                </a:moveTo>
                <a:cubicBezTo>
                  <a:pt x="15081" y="7435"/>
                  <a:pt x="15057" y="7486"/>
                  <a:pt x="15057" y="7549"/>
                </a:cubicBezTo>
                <a:cubicBezTo>
                  <a:pt x="15057" y="7611"/>
                  <a:pt x="15081" y="7662"/>
                  <a:pt x="15111" y="7662"/>
                </a:cubicBezTo>
                <a:cubicBezTo>
                  <a:pt x="15140" y="7662"/>
                  <a:pt x="15165" y="7611"/>
                  <a:pt x="15165" y="7549"/>
                </a:cubicBezTo>
                <a:cubicBezTo>
                  <a:pt x="15165" y="7486"/>
                  <a:pt x="15140" y="7435"/>
                  <a:pt x="15111" y="7435"/>
                </a:cubicBezTo>
                <a:close/>
                <a:moveTo>
                  <a:pt x="14958" y="7762"/>
                </a:moveTo>
                <a:cubicBezTo>
                  <a:pt x="14928" y="7762"/>
                  <a:pt x="14904" y="7813"/>
                  <a:pt x="14904" y="7875"/>
                </a:cubicBezTo>
                <a:cubicBezTo>
                  <a:pt x="14904" y="7938"/>
                  <a:pt x="14928" y="7989"/>
                  <a:pt x="14958" y="7989"/>
                </a:cubicBezTo>
                <a:cubicBezTo>
                  <a:pt x="14988" y="7989"/>
                  <a:pt x="15012" y="7938"/>
                  <a:pt x="15012" y="7875"/>
                </a:cubicBezTo>
                <a:cubicBezTo>
                  <a:pt x="15012" y="7813"/>
                  <a:pt x="14988" y="7762"/>
                  <a:pt x="14958" y="7762"/>
                </a:cubicBezTo>
                <a:close/>
                <a:moveTo>
                  <a:pt x="14958" y="7435"/>
                </a:moveTo>
                <a:cubicBezTo>
                  <a:pt x="14928" y="7435"/>
                  <a:pt x="14904" y="7486"/>
                  <a:pt x="14904" y="7549"/>
                </a:cubicBezTo>
                <a:cubicBezTo>
                  <a:pt x="14904" y="7611"/>
                  <a:pt x="14928" y="7662"/>
                  <a:pt x="14958" y="7662"/>
                </a:cubicBezTo>
                <a:cubicBezTo>
                  <a:pt x="14988" y="7662"/>
                  <a:pt x="15012" y="7611"/>
                  <a:pt x="15012" y="7549"/>
                </a:cubicBezTo>
                <a:cubicBezTo>
                  <a:pt x="15012" y="7486"/>
                  <a:pt x="14988" y="7435"/>
                  <a:pt x="14958" y="7435"/>
                </a:cubicBezTo>
                <a:close/>
                <a:moveTo>
                  <a:pt x="14803" y="7762"/>
                </a:moveTo>
                <a:cubicBezTo>
                  <a:pt x="14773" y="7762"/>
                  <a:pt x="14749" y="7813"/>
                  <a:pt x="14749" y="7875"/>
                </a:cubicBezTo>
                <a:cubicBezTo>
                  <a:pt x="14749" y="7938"/>
                  <a:pt x="14773" y="7989"/>
                  <a:pt x="14803" y="7989"/>
                </a:cubicBezTo>
                <a:cubicBezTo>
                  <a:pt x="14832" y="7989"/>
                  <a:pt x="14857" y="7938"/>
                  <a:pt x="14857" y="7875"/>
                </a:cubicBezTo>
                <a:cubicBezTo>
                  <a:pt x="14857" y="7813"/>
                  <a:pt x="14832" y="7762"/>
                  <a:pt x="14803" y="7762"/>
                </a:cubicBezTo>
                <a:close/>
                <a:moveTo>
                  <a:pt x="14803" y="7435"/>
                </a:moveTo>
                <a:cubicBezTo>
                  <a:pt x="14773" y="7435"/>
                  <a:pt x="14749" y="7486"/>
                  <a:pt x="14749" y="7549"/>
                </a:cubicBezTo>
                <a:cubicBezTo>
                  <a:pt x="14749" y="7611"/>
                  <a:pt x="14773" y="7662"/>
                  <a:pt x="14803" y="7662"/>
                </a:cubicBezTo>
                <a:cubicBezTo>
                  <a:pt x="14832" y="7662"/>
                  <a:pt x="14857" y="7611"/>
                  <a:pt x="14857" y="7549"/>
                </a:cubicBezTo>
                <a:cubicBezTo>
                  <a:pt x="14857" y="7486"/>
                  <a:pt x="14832" y="7435"/>
                  <a:pt x="14803" y="7435"/>
                </a:cubicBezTo>
                <a:close/>
                <a:moveTo>
                  <a:pt x="14649" y="7762"/>
                </a:moveTo>
                <a:cubicBezTo>
                  <a:pt x="14619" y="7762"/>
                  <a:pt x="14595" y="7813"/>
                  <a:pt x="14595" y="7875"/>
                </a:cubicBezTo>
                <a:cubicBezTo>
                  <a:pt x="14595" y="7938"/>
                  <a:pt x="14619" y="7989"/>
                  <a:pt x="14649" y="7989"/>
                </a:cubicBezTo>
                <a:cubicBezTo>
                  <a:pt x="14678" y="7989"/>
                  <a:pt x="14703" y="7938"/>
                  <a:pt x="14703" y="7875"/>
                </a:cubicBezTo>
                <a:cubicBezTo>
                  <a:pt x="14703" y="7813"/>
                  <a:pt x="14678" y="7762"/>
                  <a:pt x="14649" y="7762"/>
                </a:cubicBezTo>
                <a:close/>
                <a:moveTo>
                  <a:pt x="14649" y="7435"/>
                </a:moveTo>
                <a:cubicBezTo>
                  <a:pt x="14619" y="7435"/>
                  <a:pt x="14595" y="7486"/>
                  <a:pt x="14595" y="7549"/>
                </a:cubicBezTo>
                <a:cubicBezTo>
                  <a:pt x="14595" y="7611"/>
                  <a:pt x="14619" y="7662"/>
                  <a:pt x="14649" y="7662"/>
                </a:cubicBezTo>
                <a:cubicBezTo>
                  <a:pt x="14678" y="7662"/>
                  <a:pt x="14703" y="7611"/>
                  <a:pt x="14703" y="7549"/>
                </a:cubicBezTo>
                <a:cubicBezTo>
                  <a:pt x="14703" y="7486"/>
                  <a:pt x="14678" y="7435"/>
                  <a:pt x="14649" y="7435"/>
                </a:cubicBezTo>
                <a:close/>
                <a:moveTo>
                  <a:pt x="14496" y="7762"/>
                </a:moveTo>
                <a:cubicBezTo>
                  <a:pt x="14466" y="7762"/>
                  <a:pt x="14442" y="7813"/>
                  <a:pt x="14442" y="7875"/>
                </a:cubicBezTo>
                <a:cubicBezTo>
                  <a:pt x="14442" y="7938"/>
                  <a:pt x="14466" y="7989"/>
                  <a:pt x="14496" y="7989"/>
                </a:cubicBezTo>
                <a:cubicBezTo>
                  <a:pt x="14526" y="7989"/>
                  <a:pt x="14550" y="7938"/>
                  <a:pt x="14550" y="7875"/>
                </a:cubicBezTo>
                <a:cubicBezTo>
                  <a:pt x="14550" y="7813"/>
                  <a:pt x="14526" y="7762"/>
                  <a:pt x="14496" y="7762"/>
                </a:cubicBezTo>
                <a:close/>
                <a:moveTo>
                  <a:pt x="14496" y="7435"/>
                </a:moveTo>
                <a:cubicBezTo>
                  <a:pt x="14466" y="7435"/>
                  <a:pt x="14442" y="7486"/>
                  <a:pt x="14442" y="7549"/>
                </a:cubicBezTo>
                <a:cubicBezTo>
                  <a:pt x="14442" y="7611"/>
                  <a:pt x="14466" y="7662"/>
                  <a:pt x="14496" y="7662"/>
                </a:cubicBezTo>
                <a:cubicBezTo>
                  <a:pt x="14526" y="7662"/>
                  <a:pt x="14550" y="7611"/>
                  <a:pt x="14550" y="7549"/>
                </a:cubicBezTo>
                <a:cubicBezTo>
                  <a:pt x="14550" y="7486"/>
                  <a:pt x="14526" y="7435"/>
                  <a:pt x="14496" y="7435"/>
                </a:cubicBezTo>
                <a:close/>
                <a:moveTo>
                  <a:pt x="15111" y="7126"/>
                </a:moveTo>
                <a:cubicBezTo>
                  <a:pt x="15081" y="7126"/>
                  <a:pt x="15057" y="7176"/>
                  <a:pt x="15057" y="7239"/>
                </a:cubicBezTo>
                <a:cubicBezTo>
                  <a:pt x="15057" y="7301"/>
                  <a:pt x="15081" y="7352"/>
                  <a:pt x="15111" y="7352"/>
                </a:cubicBezTo>
                <a:cubicBezTo>
                  <a:pt x="15140" y="7352"/>
                  <a:pt x="15165" y="7301"/>
                  <a:pt x="15165" y="7239"/>
                </a:cubicBezTo>
                <a:cubicBezTo>
                  <a:pt x="15165" y="7176"/>
                  <a:pt x="15140" y="7126"/>
                  <a:pt x="15111" y="7126"/>
                </a:cubicBezTo>
                <a:close/>
                <a:moveTo>
                  <a:pt x="15111" y="6799"/>
                </a:moveTo>
                <a:cubicBezTo>
                  <a:pt x="15081" y="6799"/>
                  <a:pt x="15057" y="6849"/>
                  <a:pt x="15057" y="6912"/>
                </a:cubicBezTo>
                <a:cubicBezTo>
                  <a:pt x="15057" y="6974"/>
                  <a:pt x="15081" y="7025"/>
                  <a:pt x="15111" y="7025"/>
                </a:cubicBezTo>
                <a:cubicBezTo>
                  <a:pt x="15140" y="7025"/>
                  <a:pt x="15165" y="6974"/>
                  <a:pt x="15165" y="6912"/>
                </a:cubicBezTo>
                <a:cubicBezTo>
                  <a:pt x="15165" y="6849"/>
                  <a:pt x="15140" y="6799"/>
                  <a:pt x="15111" y="6799"/>
                </a:cubicBezTo>
                <a:close/>
                <a:moveTo>
                  <a:pt x="14958" y="7126"/>
                </a:moveTo>
                <a:cubicBezTo>
                  <a:pt x="14928" y="7126"/>
                  <a:pt x="14904" y="7176"/>
                  <a:pt x="14904" y="7239"/>
                </a:cubicBezTo>
                <a:cubicBezTo>
                  <a:pt x="14904" y="7301"/>
                  <a:pt x="14928" y="7352"/>
                  <a:pt x="14958" y="7352"/>
                </a:cubicBezTo>
                <a:cubicBezTo>
                  <a:pt x="14988" y="7352"/>
                  <a:pt x="15012" y="7301"/>
                  <a:pt x="15012" y="7239"/>
                </a:cubicBezTo>
                <a:cubicBezTo>
                  <a:pt x="15012" y="7176"/>
                  <a:pt x="14988" y="7126"/>
                  <a:pt x="14958" y="7126"/>
                </a:cubicBezTo>
                <a:close/>
                <a:moveTo>
                  <a:pt x="14958" y="6799"/>
                </a:moveTo>
                <a:cubicBezTo>
                  <a:pt x="14928" y="6799"/>
                  <a:pt x="14904" y="6849"/>
                  <a:pt x="14904" y="6912"/>
                </a:cubicBezTo>
                <a:cubicBezTo>
                  <a:pt x="14904" y="6974"/>
                  <a:pt x="14928" y="7025"/>
                  <a:pt x="14958" y="7025"/>
                </a:cubicBezTo>
                <a:cubicBezTo>
                  <a:pt x="14988" y="7025"/>
                  <a:pt x="15012" y="6974"/>
                  <a:pt x="15012" y="6912"/>
                </a:cubicBezTo>
                <a:cubicBezTo>
                  <a:pt x="15012" y="6849"/>
                  <a:pt x="14988" y="6799"/>
                  <a:pt x="14958" y="6799"/>
                </a:cubicBezTo>
                <a:close/>
                <a:moveTo>
                  <a:pt x="14803" y="7126"/>
                </a:moveTo>
                <a:cubicBezTo>
                  <a:pt x="14773" y="7126"/>
                  <a:pt x="14749" y="7176"/>
                  <a:pt x="14749" y="7239"/>
                </a:cubicBezTo>
                <a:cubicBezTo>
                  <a:pt x="14749" y="7301"/>
                  <a:pt x="14773" y="7352"/>
                  <a:pt x="14803" y="7352"/>
                </a:cubicBezTo>
                <a:cubicBezTo>
                  <a:pt x="14832" y="7352"/>
                  <a:pt x="14857" y="7301"/>
                  <a:pt x="14857" y="7239"/>
                </a:cubicBezTo>
                <a:cubicBezTo>
                  <a:pt x="14857" y="7176"/>
                  <a:pt x="14832" y="7126"/>
                  <a:pt x="14803" y="7126"/>
                </a:cubicBezTo>
                <a:close/>
                <a:moveTo>
                  <a:pt x="14803" y="6799"/>
                </a:moveTo>
                <a:cubicBezTo>
                  <a:pt x="14773" y="6799"/>
                  <a:pt x="14749" y="6849"/>
                  <a:pt x="14749" y="6912"/>
                </a:cubicBezTo>
                <a:cubicBezTo>
                  <a:pt x="14749" y="6974"/>
                  <a:pt x="14773" y="7025"/>
                  <a:pt x="14803" y="7025"/>
                </a:cubicBezTo>
                <a:cubicBezTo>
                  <a:pt x="14832" y="7025"/>
                  <a:pt x="14857" y="6974"/>
                  <a:pt x="14857" y="6912"/>
                </a:cubicBezTo>
                <a:cubicBezTo>
                  <a:pt x="14857" y="6849"/>
                  <a:pt x="14832" y="6799"/>
                  <a:pt x="14803" y="6799"/>
                </a:cubicBezTo>
                <a:close/>
                <a:moveTo>
                  <a:pt x="14649" y="7126"/>
                </a:moveTo>
                <a:cubicBezTo>
                  <a:pt x="14619" y="7126"/>
                  <a:pt x="14595" y="7176"/>
                  <a:pt x="14595" y="7239"/>
                </a:cubicBezTo>
                <a:cubicBezTo>
                  <a:pt x="14595" y="7301"/>
                  <a:pt x="14619" y="7352"/>
                  <a:pt x="14649" y="7352"/>
                </a:cubicBezTo>
                <a:cubicBezTo>
                  <a:pt x="14678" y="7352"/>
                  <a:pt x="14703" y="7301"/>
                  <a:pt x="14703" y="7239"/>
                </a:cubicBezTo>
                <a:cubicBezTo>
                  <a:pt x="14703" y="7176"/>
                  <a:pt x="14678" y="7126"/>
                  <a:pt x="14649" y="7126"/>
                </a:cubicBezTo>
                <a:close/>
                <a:moveTo>
                  <a:pt x="14649" y="6799"/>
                </a:moveTo>
                <a:cubicBezTo>
                  <a:pt x="14619" y="6799"/>
                  <a:pt x="14595" y="6849"/>
                  <a:pt x="14595" y="6912"/>
                </a:cubicBezTo>
                <a:cubicBezTo>
                  <a:pt x="14595" y="6974"/>
                  <a:pt x="14619" y="7025"/>
                  <a:pt x="14649" y="7025"/>
                </a:cubicBezTo>
                <a:cubicBezTo>
                  <a:pt x="14678" y="7025"/>
                  <a:pt x="14703" y="6974"/>
                  <a:pt x="14703" y="6912"/>
                </a:cubicBezTo>
                <a:cubicBezTo>
                  <a:pt x="14703" y="6849"/>
                  <a:pt x="14678" y="6799"/>
                  <a:pt x="14649" y="6799"/>
                </a:cubicBezTo>
                <a:close/>
                <a:moveTo>
                  <a:pt x="14496" y="7126"/>
                </a:moveTo>
                <a:cubicBezTo>
                  <a:pt x="14466" y="7126"/>
                  <a:pt x="14442" y="7176"/>
                  <a:pt x="14442" y="7239"/>
                </a:cubicBezTo>
                <a:cubicBezTo>
                  <a:pt x="14442" y="7301"/>
                  <a:pt x="14466" y="7352"/>
                  <a:pt x="14496" y="7352"/>
                </a:cubicBezTo>
                <a:cubicBezTo>
                  <a:pt x="14526" y="7352"/>
                  <a:pt x="14550" y="7301"/>
                  <a:pt x="14550" y="7239"/>
                </a:cubicBezTo>
                <a:cubicBezTo>
                  <a:pt x="14550" y="7176"/>
                  <a:pt x="14526" y="7126"/>
                  <a:pt x="14496" y="7126"/>
                </a:cubicBezTo>
                <a:close/>
                <a:moveTo>
                  <a:pt x="14496" y="6799"/>
                </a:moveTo>
                <a:cubicBezTo>
                  <a:pt x="14466" y="6799"/>
                  <a:pt x="14442" y="6849"/>
                  <a:pt x="14442" y="6912"/>
                </a:cubicBezTo>
                <a:cubicBezTo>
                  <a:pt x="14442" y="6974"/>
                  <a:pt x="14466" y="7025"/>
                  <a:pt x="14496" y="7025"/>
                </a:cubicBezTo>
                <a:cubicBezTo>
                  <a:pt x="14526" y="7025"/>
                  <a:pt x="14550" y="6974"/>
                  <a:pt x="14550" y="6912"/>
                </a:cubicBezTo>
                <a:cubicBezTo>
                  <a:pt x="14550" y="6849"/>
                  <a:pt x="14526" y="6799"/>
                  <a:pt x="14496" y="6799"/>
                </a:cubicBezTo>
                <a:close/>
                <a:moveTo>
                  <a:pt x="15111" y="6472"/>
                </a:moveTo>
                <a:cubicBezTo>
                  <a:pt x="15081" y="6472"/>
                  <a:pt x="15057" y="6522"/>
                  <a:pt x="15057" y="6585"/>
                </a:cubicBezTo>
                <a:cubicBezTo>
                  <a:pt x="15057" y="6647"/>
                  <a:pt x="15081" y="6698"/>
                  <a:pt x="15111" y="6698"/>
                </a:cubicBezTo>
                <a:cubicBezTo>
                  <a:pt x="15140" y="6698"/>
                  <a:pt x="15165" y="6647"/>
                  <a:pt x="15165" y="6585"/>
                </a:cubicBezTo>
                <a:cubicBezTo>
                  <a:pt x="15165" y="6522"/>
                  <a:pt x="15140" y="6472"/>
                  <a:pt x="15111" y="6472"/>
                </a:cubicBezTo>
                <a:close/>
                <a:moveTo>
                  <a:pt x="15111" y="6145"/>
                </a:moveTo>
                <a:cubicBezTo>
                  <a:pt x="15081" y="6145"/>
                  <a:pt x="15057" y="6196"/>
                  <a:pt x="15057" y="6258"/>
                </a:cubicBezTo>
                <a:cubicBezTo>
                  <a:pt x="15057" y="6321"/>
                  <a:pt x="15081" y="6371"/>
                  <a:pt x="15111" y="6371"/>
                </a:cubicBezTo>
                <a:cubicBezTo>
                  <a:pt x="15140" y="6371"/>
                  <a:pt x="15165" y="6321"/>
                  <a:pt x="15165" y="6258"/>
                </a:cubicBezTo>
                <a:cubicBezTo>
                  <a:pt x="15165" y="6196"/>
                  <a:pt x="15140" y="6145"/>
                  <a:pt x="15111" y="6145"/>
                </a:cubicBezTo>
                <a:close/>
                <a:moveTo>
                  <a:pt x="14958" y="6472"/>
                </a:moveTo>
                <a:cubicBezTo>
                  <a:pt x="14928" y="6472"/>
                  <a:pt x="14904" y="6522"/>
                  <a:pt x="14904" y="6585"/>
                </a:cubicBezTo>
                <a:cubicBezTo>
                  <a:pt x="14904" y="6647"/>
                  <a:pt x="14928" y="6698"/>
                  <a:pt x="14958" y="6698"/>
                </a:cubicBezTo>
                <a:cubicBezTo>
                  <a:pt x="14988" y="6698"/>
                  <a:pt x="15012" y="6647"/>
                  <a:pt x="15012" y="6585"/>
                </a:cubicBezTo>
                <a:cubicBezTo>
                  <a:pt x="15012" y="6522"/>
                  <a:pt x="14988" y="6472"/>
                  <a:pt x="14958" y="6472"/>
                </a:cubicBezTo>
                <a:close/>
                <a:moveTo>
                  <a:pt x="14958" y="6145"/>
                </a:moveTo>
                <a:cubicBezTo>
                  <a:pt x="14928" y="6145"/>
                  <a:pt x="14904" y="6196"/>
                  <a:pt x="14904" y="6258"/>
                </a:cubicBezTo>
                <a:cubicBezTo>
                  <a:pt x="14904" y="6321"/>
                  <a:pt x="14928" y="6371"/>
                  <a:pt x="14958" y="6371"/>
                </a:cubicBezTo>
                <a:cubicBezTo>
                  <a:pt x="14988" y="6371"/>
                  <a:pt x="15012" y="6321"/>
                  <a:pt x="15012" y="6258"/>
                </a:cubicBezTo>
                <a:cubicBezTo>
                  <a:pt x="15012" y="6196"/>
                  <a:pt x="14988" y="6145"/>
                  <a:pt x="14958" y="6145"/>
                </a:cubicBezTo>
                <a:close/>
                <a:moveTo>
                  <a:pt x="14803" y="6472"/>
                </a:moveTo>
                <a:cubicBezTo>
                  <a:pt x="14773" y="6472"/>
                  <a:pt x="14749" y="6522"/>
                  <a:pt x="14749" y="6585"/>
                </a:cubicBezTo>
                <a:cubicBezTo>
                  <a:pt x="14749" y="6647"/>
                  <a:pt x="14773" y="6698"/>
                  <a:pt x="14803" y="6698"/>
                </a:cubicBezTo>
                <a:cubicBezTo>
                  <a:pt x="14832" y="6698"/>
                  <a:pt x="14857" y="6647"/>
                  <a:pt x="14857" y="6585"/>
                </a:cubicBezTo>
                <a:cubicBezTo>
                  <a:pt x="14857" y="6522"/>
                  <a:pt x="14832" y="6472"/>
                  <a:pt x="14803" y="6472"/>
                </a:cubicBezTo>
                <a:close/>
                <a:moveTo>
                  <a:pt x="14803" y="6145"/>
                </a:moveTo>
                <a:cubicBezTo>
                  <a:pt x="14773" y="6145"/>
                  <a:pt x="14749" y="6196"/>
                  <a:pt x="14749" y="6258"/>
                </a:cubicBezTo>
                <a:cubicBezTo>
                  <a:pt x="14749" y="6321"/>
                  <a:pt x="14773" y="6371"/>
                  <a:pt x="14803" y="6371"/>
                </a:cubicBezTo>
                <a:cubicBezTo>
                  <a:pt x="14832" y="6371"/>
                  <a:pt x="14857" y="6321"/>
                  <a:pt x="14857" y="6258"/>
                </a:cubicBezTo>
                <a:cubicBezTo>
                  <a:pt x="14857" y="6196"/>
                  <a:pt x="14832" y="6145"/>
                  <a:pt x="14803" y="6145"/>
                </a:cubicBezTo>
                <a:close/>
                <a:moveTo>
                  <a:pt x="14649" y="6472"/>
                </a:moveTo>
                <a:cubicBezTo>
                  <a:pt x="14619" y="6472"/>
                  <a:pt x="14595" y="6522"/>
                  <a:pt x="14595" y="6585"/>
                </a:cubicBezTo>
                <a:cubicBezTo>
                  <a:pt x="14595" y="6647"/>
                  <a:pt x="14619" y="6698"/>
                  <a:pt x="14649" y="6698"/>
                </a:cubicBezTo>
                <a:cubicBezTo>
                  <a:pt x="14678" y="6698"/>
                  <a:pt x="14703" y="6647"/>
                  <a:pt x="14703" y="6585"/>
                </a:cubicBezTo>
                <a:cubicBezTo>
                  <a:pt x="14703" y="6522"/>
                  <a:pt x="14678" y="6472"/>
                  <a:pt x="14649" y="6472"/>
                </a:cubicBezTo>
                <a:close/>
                <a:moveTo>
                  <a:pt x="14649" y="6145"/>
                </a:moveTo>
                <a:cubicBezTo>
                  <a:pt x="14619" y="6145"/>
                  <a:pt x="14595" y="6196"/>
                  <a:pt x="14595" y="6258"/>
                </a:cubicBezTo>
                <a:cubicBezTo>
                  <a:pt x="14595" y="6321"/>
                  <a:pt x="14619" y="6371"/>
                  <a:pt x="14649" y="6371"/>
                </a:cubicBezTo>
                <a:cubicBezTo>
                  <a:pt x="14678" y="6371"/>
                  <a:pt x="14703" y="6321"/>
                  <a:pt x="14703" y="6258"/>
                </a:cubicBezTo>
                <a:cubicBezTo>
                  <a:pt x="14703" y="6196"/>
                  <a:pt x="14678" y="6145"/>
                  <a:pt x="14649" y="6145"/>
                </a:cubicBezTo>
                <a:close/>
                <a:moveTo>
                  <a:pt x="14496" y="6472"/>
                </a:moveTo>
                <a:cubicBezTo>
                  <a:pt x="14466" y="6472"/>
                  <a:pt x="14442" y="6522"/>
                  <a:pt x="14442" y="6585"/>
                </a:cubicBezTo>
                <a:cubicBezTo>
                  <a:pt x="14442" y="6647"/>
                  <a:pt x="14466" y="6698"/>
                  <a:pt x="14496" y="6698"/>
                </a:cubicBezTo>
                <a:cubicBezTo>
                  <a:pt x="14526" y="6698"/>
                  <a:pt x="14550" y="6647"/>
                  <a:pt x="14550" y="6585"/>
                </a:cubicBezTo>
                <a:cubicBezTo>
                  <a:pt x="14550" y="6522"/>
                  <a:pt x="14526" y="6472"/>
                  <a:pt x="14496" y="6472"/>
                </a:cubicBezTo>
                <a:close/>
                <a:moveTo>
                  <a:pt x="14496" y="6145"/>
                </a:moveTo>
                <a:cubicBezTo>
                  <a:pt x="14466" y="6145"/>
                  <a:pt x="14442" y="6196"/>
                  <a:pt x="14442" y="6258"/>
                </a:cubicBezTo>
                <a:cubicBezTo>
                  <a:pt x="14442" y="6321"/>
                  <a:pt x="14466" y="6371"/>
                  <a:pt x="14496" y="6371"/>
                </a:cubicBezTo>
                <a:cubicBezTo>
                  <a:pt x="14526" y="6371"/>
                  <a:pt x="14550" y="6321"/>
                  <a:pt x="14550" y="6258"/>
                </a:cubicBezTo>
                <a:cubicBezTo>
                  <a:pt x="14550" y="6196"/>
                  <a:pt x="14526" y="6145"/>
                  <a:pt x="14496" y="6145"/>
                </a:cubicBezTo>
                <a:close/>
                <a:moveTo>
                  <a:pt x="10350" y="15218"/>
                </a:moveTo>
                <a:cubicBezTo>
                  <a:pt x="10320" y="15218"/>
                  <a:pt x="10296" y="15268"/>
                  <a:pt x="10296" y="15331"/>
                </a:cubicBezTo>
                <a:cubicBezTo>
                  <a:pt x="10296" y="15393"/>
                  <a:pt x="10320" y="15444"/>
                  <a:pt x="10350" y="15444"/>
                </a:cubicBezTo>
                <a:cubicBezTo>
                  <a:pt x="10380" y="15444"/>
                  <a:pt x="10404" y="15393"/>
                  <a:pt x="10404" y="15331"/>
                </a:cubicBezTo>
                <a:cubicBezTo>
                  <a:pt x="10404" y="15268"/>
                  <a:pt x="10380" y="15218"/>
                  <a:pt x="10350" y="15218"/>
                </a:cubicBezTo>
                <a:close/>
                <a:moveTo>
                  <a:pt x="10350" y="14891"/>
                </a:moveTo>
                <a:cubicBezTo>
                  <a:pt x="10320" y="14891"/>
                  <a:pt x="10296" y="14941"/>
                  <a:pt x="10296" y="15004"/>
                </a:cubicBezTo>
                <a:cubicBezTo>
                  <a:pt x="10296" y="15066"/>
                  <a:pt x="10320" y="15117"/>
                  <a:pt x="10350" y="15117"/>
                </a:cubicBezTo>
                <a:cubicBezTo>
                  <a:pt x="10380" y="15117"/>
                  <a:pt x="10404" y="15066"/>
                  <a:pt x="10404" y="15004"/>
                </a:cubicBezTo>
                <a:cubicBezTo>
                  <a:pt x="10404" y="14941"/>
                  <a:pt x="10380" y="14891"/>
                  <a:pt x="10350" y="14891"/>
                </a:cubicBezTo>
                <a:close/>
                <a:moveTo>
                  <a:pt x="10196" y="15218"/>
                </a:moveTo>
                <a:cubicBezTo>
                  <a:pt x="10166" y="15218"/>
                  <a:pt x="10142" y="15268"/>
                  <a:pt x="10142" y="15331"/>
                </a:cubicBezTo>
                <a:cubicBezTo>
                  <a:pt x="10142" y="15393"/>
                  <a:pt x="10166" y="15444"/>
                  <a:pt x="10196" y="15444"/>
                </a:cubicBezTo>
                <a:cubicBezTo>
                  <a:pt x="10226" y="15444"/>
                  <a:pt x="10250" y="15393"/>
                  <a:pt x="10250" y="15331"/>
                </a:cubicBezTo>
                <a:cubicBezTo>
                  <a:pt x="10250" y="15268"/>
                  <a:pt x="10226" y="15218"/>
                  <a:pt x="10196" y="15218"/>
                </a:cubicBezTo>
                <a:close/>
                <a:moveTo>
                  <a:pt x="10196" y="14891"/>
                </a:moveTo>
                <a:cubicBezTo>
                  <a:pt x="10166" y="14891"/>
                  <a:pt x="10142" y="14941"/>
                  <a:pt x="10142" y="15004"/>
                </a:cubicBezTo>
                <a:cubicBezTo>
                  <a:pt x="10142" y="15066"/>
                  <a:pt x="10166" y="15117"/>
                  <a:pt x="10196" y="15117"/>
                </a:cubicBezTo>
                <a:cubicBezTo>
                  <a:pt x="10226" y="15117"/>
                  <a:pt x="10250" y="15066"/>
                  <a:pt x="10250" y="15004"/>
                </a:cubicBezTo>
                <a:cubicBezTo>
                  <a:pt x="10250" y="14941"/>
                  <a:pt x="10226" y="14891"/>
                  <a:pt x="10196" y="14891"/>
                </a:cubicBezTo>
                <a:close/>
                <a:moveTo>
                  <a:pt x="9899" y="15218"/>
                </a:moveTo>
                <a:cubicBezTo>
                  <a:pt x="9869" y="15218"/>
                  <a:pt x="9845" y="15268"/>
                  <a:pt x="9845" y="15331"/>
                </a:cubicBezTo>
                <a:cubicBezTo>
                  <a:pt x="9845" y="15393"/>
                  <a:pt x="9869" y="15444"/>
                  <a:pt x="9899" y="15444"/>
                </a:cubicBezTo>
                <a:cubicBezTo>
                  <a:pt x="9928" y="15444"/>
                  <a:pt x="9952" y="15393"/>
                  <a:pt x="9952" y="15331"/>
                </a:cubicBezTo>
                <a:cubicBezTo>
                  <a:pt x="9952" y="15268"/>
                  <a:pt x="9928" y="15218"/>
                  <a:pt x="9899" y="15218"/>
                </a:cubicBezTo>
                <a:close/>
                <a:moveTo>
                  <a:pt x="10043" y="15218"/>
                </a:moveTo>
                <a:cubicBezTo>
                  <a:pt x="10014" y="15218"/>
                  <a:pt x="9989" y="15268"/>
                  <a:pt x="9989" y="15331"/>
                </a:cubicBezTo>
                <a:cubicBezTo>
                  <a:pt x="9989" y="15393"/>
                  <a:pt x="10014" y="15444"/>
                  <a:pt x="10043" y="15444"/>
                </a:cubicBezTo>
                <a:cubicBezTo>
                  <a:pt x="10073" y="15444"/>
                  <a:pt x="10097" y="15393"/>
                  <a:pt x="10097" y="15331"/>
                </a:cubicBezTo>
                <a:cubicBezTo>
                  <a:pt x="10097" y="15268"/>
                  <a:pt x="10073" y="15218"/>
                  <a:pt x="10043" y="15218"/>
                </a:cubicBezTo>
                <a:close/>
                <a:moveTo>
                  <a:pt x="10043" y="14891"/>
                </a:moveTo>
                <a:cubicBezTo>
                  <a:pt x="10014" y="14891"/>
                  <a:pt x="9989" y="14941"/>
                  <a:pt x="9989" y="15004"/>
                </a:cubicBezTo>
                <a:cubicBezTo>
                  <a:pt x="9989" y="15066"/>
                  <a:pt x="10014" y="15117"/>
                  <a:pt x="10043" y="15117"/>
                </a:cubicBezTo>
                <a:cubicBezTo>
                  <a:pt x="10073" y="15117"/>
                  <a:pt x="10097" y="15066"/>
                  <a:pt x="10097" y="15004"/>
                </a:cubicBezTo>
                <a:cubicBezTo>
                  <a:pt x="10097" y="14941"/>
                  <a:pt x="10073" y="14891"/>
                  <a:pt x="10043" y="14891"/>
                </a:cubicBezTo>
                <a:close/>
                <a:moveTo>
                  <a:pt x="10350" y="14581"/>
                </a:moveTo>
                <a:cubicBezTo>
                  <a:pt x="10320" y="14581"/>
                  <a:pt x="10296" y="14632"/>
                  <a:pt x="10296" y="14694"/>
                </a:cubicBezTo>
                <a:cubicBezTo>
                  <a:pt x="10296" y="14757"/>
                  <a:pt x="10320" y="14807"/>
                  <a:pt x="10350" y="14807"/>
                </a:cubicBezTo>
                <a:cubicBezTo>
                  <a:pt x="10380" y="14807"/>
                  <a:pt x="10404" y="14757"/>
                  <a:pt x="10404" y="14694"/>
                </a:cubicBezTo>
                <a:cubicBezTo>
                  <a:pt x="10404" y="14632"/>
                  <a:pt x="10380" y="14581"/>
                  <a:pt x="10350" y="14581"/>
                </a:cubicBezTo>
                <a:close/>
                <a:moveTo>
                  <a:pt x="10350" y="14254"/>
                </a:moveTo>
                <a:cubicBezTo>
                  <a:pt x="10320" y="14254"/>
                  <a:pt x="10296" y="14305"/>
                  <a:pt x="10296" y="14367"/>
                </a:cubicBezTo>
                <a:cubicBezTo>
                  <a:pt x="10296" y="14430"/>
                  <a:pt x="10320" y="14480"/>
                  <a:pt x="10350" y="14480"/>
                </a:cubicBezTo>
                <a:cubicBezTo>
                  <a:pt x="10380" y="14480"/>
                  <a:pt x="10404" y="14430"/>
                  <a:pt x="10404" y="14367"/>
                </a:cubicBezTo>
                <a:cubicBezTo>
                  <a:pt x="10404" y="14305"/>
                  <a:pt x="10380" y="14254"/>
                  <a:pt x="10350" y="14254"/>
                </a:cubicBezTo>
                <a:close/>
                <a:moveTo>
                  <a:pt x="10196" y="14581"/>
                </a:moveTo>
                <a:cubicBezTo>
                  <a:pt x="10166" y="14581"/>
                  <a:pt x="10142" y="14632"/>
                  <a:pt x="10142" y="14694"/>
                </a:cubicBezTo>
                <a:cubicBezTo>
                  <a:pt x="10142" y="14757"/>
                  <a:pt x="10166" y="14807"/>
                  <a:pt x="10196" y="14807"/>
                </a:cubicBezTo>
                <a:cubicBezTo>
                  <a:pt x="10226" y="14807"/>
                  <a:pt x="10250" y="14757"/>
                  <a:pt x="10250" y="14694"/>
                </a:cubicBezTo>
                <a:cubicBezTo>
                  <a:pt x="10250" y="14632"/>
                  <a:pt x="10226" y="14581"/>
                  <a:pt x="10196" y="14581"/>
                </a:cubicBezTo>
                <a:close/>
                <a:moveTo>
                  <a:pt x="10196" y="14254"/>
                </a:moveTo>
                <a:cubicBezTo>
                  <a:pt x="10166" y="14254"/>
                  <a:pt x="10142" y="14305"/>
                  <a:pt x="10142" y="14367"/>
                </a:cubicBezTo>
                <a:cubicBezTo>
                  <a:pt x="10142" y="14430"/>
                  <a:pt x="10166" y="14480"/>
                  <a:pt x="10196" y="14480"/>
                </a:cubicBezTo>
                <a:cubicBezTo>
                  <a:pt x="10226" y="14480"/>
                  <a:pt x="10250" y="14430"/>
                  <a:pt x="10250" y="14367"/>
                </a:cubicBezTo>
                <a:cubicBezTo>
                  <a:pt x="10250" y="14305"/>
                  <a:pt x="10226" y="14254"/>
                  <a:pt x="10196" y="14254"/>
                </a:cubicBezTo>
                <a:close/>
                <a:moveTo>
                  <a:pt x="10043" y="14581"/>
                </a:moveTo>
                <a:cubicBezTo>
                  <a:pt x="10014" y="14581"/>
                  <a:pt x="9989" y="14632"/>
                  <a:pt x="9989" y="14694"/>
                </a:cubicBezTo>
                <a:cubicBezTo>
                  <a:pt x="9989" y="14757"/>
                  <a:pt x="10014" y="14807"/>
                  <a:pt x="10043" y="14807"/>
                </a:cubicBezTo>
                <a:cubicBezTo>
                  <a:pt x="10073" y="14807"/>
                  <a:pt x="10097" y="14757"/>
                  <a:pt x="10097" y="14694"/>
                </a:cubicBezTo>
                <a:cubicBezTo>
                  <a:pt x="10097" y="14632"/>
                  <a:pt x="10073" y="14581"/>
                  <a:pt x="10043" y="14581"/>
                </a:cubicBezTo>
                <a:close/>
                <a:moveTo>
                  <a:pt x="10043" y="14254"/>
                </a:moveTo>
                <a:cubicBezTo>
                  <a:pt x="10014" y="14254"/>
                  <a:pt x="9989" y="14305"/>
                  <a:pt x="9989" y="14367"/>
                </a:cubicBezTo>
                <a:cubicBezTo>
                  <a:pt x="9989" y="14430"/>
                  <a:pt x="10014" y="14480"/>
                  <a:pt x="10043" y="14480"/>
                </a:cubicBezTo>
                <a:cubicBezTo>
                  <a:pt x="10073" y="14480"/>
                  <a:pt x="10097" y="14430"/>
                  <a:pt x="10097" y="14367"/>
                </a:cubicBezTo>
                <a:cubicBezTo>
                  <a:pt x="10097" y="14305"/>
                  <a:pt x="10073" y="14254"/>
                  <a:pt x="10043" y="14254"/>
                </a:cubicBezTo>
                <a:close/>
                <a:moveTo>
                  <a:pt x="10350" y="13927"/>
                </a:moveTo>
                <a:cubicBezTo>
                  <a:pt x="10320" y="13927"/>
                  <a:pt x="10296" y="13978"/>
                  <a:pt x="10296" y="14040"/>
                </a:cubicBezTo>
                <a:cubicBezTo>
                  <a:pt x="10296" y="14103"/>
                  <a:pt x="10320" y="14154"/>
                  <a:pt x="10350" y="14154"/>
                </a:cubicBezTo>
                <a:cubicBezTo>
                  <a:pt x="10380" y="14154"/>
                  <a:pt x="10404" y="14103"/>
                  <a:pt x="10404" y="14040"/>
                </a:cubicBezTo>
                <a:cubicBezTo>
                  <a:pt x="10404" y="13978"/>
                  <a:pt x="10380" y="13927"/>
                  <a:pt x="10350" y="13927"/>
                </a:cubicBezTo>
                <a:close/>
                <a:moveTo>
                  <a:pt x="10196" y="13927"/>
                </a:moveTo>
                <a:cubicBezTo>
                  <a:pt x="10166" y="13927"/>
                  <a:pt x="10142" y="13978"/>
                  <a:pt x="10142" y="14040"/>
                </a:cubicBezTo>
                <a:cubicBezTo>
                  <a:pt x="10142" y="14103"/>
                  <a:pt x="10166" y="14154"/>
                  <a:pt x="10196" y="14154"/>
                </a:cubicBezTo>
                <a:cubicBezTo>
                  <a:pt x="10226" y="14154"/>
                  <a:pt x="10250" y="14103"/>
                  <a:pt x="10250" y="14040"/>
                </a:cubicBezTo>
                <a:cubicBezTo>
                  <a:pt x="10250" y="13978"/>
                  <a:pt x="10226" y="13927"/>
                  <a:pt x="10196" y="13927"/>
                </a:cubicBezTo>
                <a:close/>
                <a:moveTo>
                  <a:pt x="10043" y="13927"/>
                </a:moveTo>
                <a:cubicBezTo>
                  <a:pt x="10014" y="13927"/>
                  <a:pt x="9989" y="13978"/>
                  <a:pt x="9989" y="14040"/>
                </a:cubicBezTo>
                <a:cubicBezTo>
                  <a:pt x="9989" y="14103"/>
                  <a:pt x="10014" y="14154"/>
                  <a:pt x="10043" y="14154"/>
                </a:cubicBezTo>
                <a:cubicBezTo>
                  <a:pt x="10073" y="14154"/>
                  <a:pt x="10097" y="14103"/>
                  <a:pt x="10097" y="14040"/>
                </a:cubicBezTo>
                <a:cubicBezTo>
                  <a:pt x="10097" y="13978"/>
                  <a:pt x="10073" y="13927"/>
                  <a:pt x="10043" y="13927"/>
                </a:cubicBezTo>
                <a:close/>
                <a:moveTo>
                  <a:pt x="10808" y="17177"/>
                </a:moveTo>
                <a:cubicBezTo>
                  <a:pt x="10778" y="17177"/>
                  <a:pt x="10754" y="17227"/>
                  <a:pt x="10754" y="17290"/>
                </a:cubicBezTo>
                <a:cubicBezTo>
                  <a:pt x="10754" y="17352"/>
                  <a:pt x="10778" y="17403"/>
                  <a:pt x="10808" y="17403"/>
                </a:cubicBezTo>
                <a:cubicBezTo>
                  <a:pt x="10838" y="17403"/>
                  <a:pt x="10862" y="17352"/>
                  <a:pt x="10862" y="17290"/>
                </a:cubicBezTo>
                <a:cubicBezTo>
                  <a:pt x="10862" y="17227"/>
                  <a:pt x="10838" y="17177"/>
                  <a:pt x="10808" y="17177"/>
                </a:cubicBezTo>
                <a:close/>
                <a:moveTo>
                  <a:pt x="10808" y="16850"/>
                </a:moveTo>
                <a:cubicBezTo>
                  <a:pt x="10778" y="16850"/>
                  <a:pt x="10754" y="16900"/>
                  <a:pt x="10754" y="16963"/>
                </a:cubicBezTo>
                <a:cubicBezTo>
                  <a:pt x="10754" y="17025"/>
                  <a:pt x="10778" y="17076"/>
                  <a:pt x="10808" y="17076"/>
                </a:cubicBezTo>
                <a:cubicBezTo>
                  <a:pt x="10838" y="17076"/>
                  <a:pt x="10862" y="17025"/>
                  <a:pt x="10862" y="16963"/>
                </a:cubicBezTo>
                <a:cubicBezTo>
                  <a:pt x="10862" y="16900"/>
                  <a:pt x="10838" y="16850"/>
                  <a:pt x="10808" y="16850"/>
                </a:cubicBezTo>
                <a:close/>
                <a:moveTo>
                  <a:pt x="10654" y="17177"/>
                </a:moveTo>
                <a:cubicBezTo>
                  <a:pt x="10624" y="17177"/>
                  <a:pt x="10600" y="17227"/>
                  <a:pt x="10600" y="17290"/>
                </a:cubicBezTo>
                <a:cubicBezTo>
                  <a:pt x="10600" y="17352"/>
                  <a:pt x="10624" y="17403"/>
                  <a:pt x="10654" y="17403"/>
                </a:cubicBezTo>
                <a:cubicBezTo>
                  <a:pt x="10684" y="17403"/>
                  <a:pt x="10708" y="17352"/>
                  <a:pt x="10708" y="17290"/>
                </a:cubicBezTo>
                <a:cubicBezTo>
                  <a:pt x="10708" y="17227"/>
                  <a:pt x="10684" y="17177"/>
                  <a:pt x="10654" y="17177"/>
                </a:cubicBezTo>
                <a:close/>
                <a:moveTo>
                  <a:pt x="10654" y="16850"/>
                </a:moveTo>
                <a:cubicBezTo>
                  <a:pt x="10624" y="16850"/>
                  <a:pt x="10600" y="16900"/>
                  <a:pt x="10600" y="16963"/>
                </a:cubicBezTo>
                <a:cubicBezTo>
                  <a:pt x="10600" y="17025"/>
                  <a:pt x="10624" y="17076"/>
                  <a:pt x="10654" y="17076"/>
                </a:cubicBezTo>
                <a:cubicBezTo>
                  <a:pt x="10684" y="17076"/>
                  <a:pt x="10708" y="17025"/>
                  <a:pt x="10708" y="16963"/>
                </a:cubicBezTo>
                <a:cubicBezTo>
                  <a:pt x="10708" y="16900"/>
                  <a:pt x="10684" y="16850"/>
                  <a:pt x="10654" y="16850"/>
                </a:cubicBezTo>
                <a:close/>
                <a:moveTo>
                  <a:pt x="10501" y="17177"/>
                </a:moveTo>
                <a:cubicBezTo>
                  <a:pt x="10472" y="17177"/>
                  <a:pt x="10448" y="17227"/>
                  <a:pt x="10448" y="17290"/>
                </a:cubicBezTo>
                <a:cubicBezTo>
                  <a:pt x="10448" y="17352"/>
                  <a:pt x="10472" y="17403"/>
                  <a:pt x="10501" y="17403"/>
                </a:cubicBezTo>
                <a:cubicBezTo>
                  <a:pt x="10531" y="17403"/>
                  <a:pt x="10555" y="17352"/>
                  <a:pt x="10555" y="17290"/>
                </a:cubicBezTo>
                <a:cubicBezTo>
                  <a:pt x="10555" y="17227"/>
                  <a:pt x="10531" y="17177"/>
                  <a:pt x="10501" y="17177"/>
                </a:cubicBezTo>
                <a:close/>
                <a:moveTo>
                  <a:pt x="10501" y="16850"/>
                </a:moveTo>
                <a:cubicBezTo>
                  <a:pt x="10472" y="16850"/>
                  <a:pt x="10448" y="16900"/>
                  <a:pt x="10448" y="16963"/>
                </a:cubicBezTo>
                <a:cubicBezTo>
                  <a:pt x="10448" y="17025"/>
                  <a:pt x="10472" y="17076"/>
                  <a:pt x="10501" y="17076"/>
                </a:cubicBezTo>
                <a:cubicBezTo>
                  <a:pt x="10531" y="17076"/>
                  <a:pt x="10555" y="17025"/>
                  <a:pt x="10555" y="16963"/>
                </a:cubicBezTo>
                <a:cubicBezTo>
                  <a:pt x="10555" y="16900"/>
                  <a:pt x="10531" y="16850"/>
                  <a:pt x="10501" y="16850"/>
                </a:cubicBezTo>
                <a:close/>
                <a:moveTo>
                  <a:pt x="10808" y="16523"/>
                </a:moveTo>
                <a:cubicBezTo>
                  <a:pt x="10778" y="16523"/>
                  <a:pt x="10754" y="16574"/>
                  <a:pt x="10754" y="16636"/>
                </a:cubicBezTo>
                <a:cubicBezTo>
                  <a:pt x="10754" y="16699"/>
                  <a:pt x="10778" y="16749"/>
                  <a:pt x="10808" y="16749"/>
                </a:cubicBezTo>
                <a:cubicBezTo>
                  <a:pt x="10838" y="16749"/>
                  <a:pt x="10862" y="16699"/>
                  <a:pt x="10862" y="16636"/>
                </a:cubicBezTo>
                <a:cubicBezTo>
                  <a:pt x="10862" y="16574"/>
                  <a:pt x="10838" y="16523"/>
                  <a:pt x="10808" y="16523"/>
                </a:cubicBezTo>
                <a:close/>
                <a:moveTo>
                  <a:pt x="10808" y="16196"/>
                </a:moveTo>
                <a:cubicBezTo>
                  <a:pt x="10778" y="16196"/>
                  <a:pt x="10754" y="16247"/>
                  <a:pt x="10754" y="16309"/>
                </a:cubicBezTo>
                <a:cubicBezTo>
                  <a:pt x="10754" y="16372"/>
                  <a:pt x="10778" y="16422"/>
                  <a:pt x="10808" y="16422"/>
                </a:cubicBezTo>
                <a:cubicBezTo>
                  <a:pt x="10838" y="16422"/>
                  <a:pt x="10862" y="16372"/>
                  <a:pt x="10862" y="16309"/>
                </a:cubicBezTo>
                <a:cubicBezTo>
                  <a:pt x="10862" y="16247"/>
                  <a:pt x="10838" y="16196"/>
                  <a:pt x="10808" y="16196"/>
                </a:cubicBezTo>
                <a:close/>
                <a:moveTo>
                  <a:pt x="10654" y="16523"/>
                </a:moveTo>
                <a:cubicBezTo>
                  <a:pt x="10624" y="16523"/>
                  <a:pt x="10600" y="16574"/>
                  <a:pt x="10600" y="16636"/>
                </a:cubicBezTo>
                <a:cubicBezTo>
                  <a:pt x="10600" y="16699"/>
                  <a:pt x="10624" y="16749"/>
                  <a:pt x="10654" y="16749"/>
                </a:cubicBezTo>
                <a:cubicBezTo>
                  <a:pt x="10684" y="16749"/>
                  <a:pt x="10708" y="16699"/>
                  <a:pt x="10708" y="16636"/>
                </a:cubicBezTo>
                <a:cubicBezTo>
                  <a:pt x="10708" y="16574"/>
                  <a:pt x="10684" y="16523"/>
                  <a:pt x="10654" y="16523"/>
                </a:cubicBezTo>
                <a:close/>
                <a:moveTo>
                  <a:pt x="10654" y="16196"/>
                </a:moveTo>
                <a:cubicBezTo>
                  <a:pt x="10624" y="16196"/>
                  <a:pt x="10600" y="16247"/>
                  <a:pt x="10600" y="16309"/>
                </a:cubicBezTo>
                <a:cubicBezTo>
                  <a:pt x="10600" y="16372"/>
                  <a:pt x="10624" y="16422"/>
                  <a:pt x="10654" y="16422"/>
                </a:cubicBezTo>
                <a:cubicBezTo>
                  <a:pt x="10684" y="16422"/>
                  <a:pt x="10708" y="16372"/>
                  <a:pt x="10708" y="16309"/>
                </a:cubicBezTo>
                <a:cubicBezTo>
                  <a:pt x="10708" y="16247"/>
                  <a:pt x="10684" y="16196"/>
                  <a:pt x="10654" y="16196"/>
                </a:cubicBezTo>
                <a:close/>
                <a:moveTo>
                  <a:pt x="10501" y="16523"/>
                </a:moveTo>
                <a:cubicBezTo>
                  <a:pt x="10472" y="16523"/>
                  <a:pt x="10448" y="16574"/>
                  <a:pt x="10448" y="16636"/>
                </a:cubicBezTo>
                <a:cubicBezTo>
                  <a:pt x="10448" y="16699"/>
                  <a:pt x="10472" y="16749"/>
                  <a:pt x="10501" y="16749"/>
                </a:cubicBezTo>
                <a:cubicBezTo>
                  <a:pt x="10531" y="16749"/>
                  <a:pt x="10555" y="16699"/>
                  <a:pt x="10555" y="16636"/>
                </a:cubicBezTo>
                <a:cubicBezTo>
                  <a:pt x="10555" y="16574"/>
                  <a:pt x="10531" y="16523"/>
                  <a:pt x="10501" y="16523"/>
                </a:cubicBezTo>
                <a:close/>
                <a:moveTo>
                  <a:pt x="10501" y="16196"/>
                </a:moveTo>
                <a:cubicBezTo>
                  <a:pt x="10472" y="16196"/>
                  <a:pt x="10448" y="16247"/>
                  <a:pt x="10448" y="16309"/>
                </a:cubicBezTo>
                <a:cubicBezTo>
                  <a:pt x="10448" y="16372"/>
                  <a:pt x="10472" y="16422"/>
                  <a:pt x="10501" y="16422"/>
                </a:cubicBezTo>
                <a:cubicBezTo>
                  <a:pt x="10531" y="16422"/>
                  <a:pt x="10555" y="16372"/>
                  <a:pt x="10555" y="16309"/>
                </a:cubicBezTo>
                <a:cubicBezTo>
                  <a:pt x="10555" y="16247"/>
                  <a:pt x="10531" y="16196"/>
                  <a:pt x="10501" y="16196"/>
                </a:cubicBezTo>
                <a:close/>
                <a:moveTo>
                  <a:pt x="10808" y="15871"/>
                </a:moveTo>
                <a:cubicBezTo>
                  <a:pt x="10778" y="15871"/>
                  <a:pt x="10754" y="15922"/>
                  <a:pt x="10754" y="15985"/>
                </a:cubicBezTo>
                <a:cubicBezTo>
                  <a:pt x="10754" y="16047"/>
                  <a:pt x="10778" y="16098"/>
                  <a:pt x="10808" y="16098"/>
                </a:cubicBezTo>
                <a:cubicBezTo>
                  <a:pt x="10838" y="16098"/>
                  <a:pt x="10862" y="16047"/>
                  <a:pt x="10862" y="15985"/>
                </a:cubicBezTo>
                <a:cubicBezTo>
                  <a:pt x="10862" y="15922"/>
                  <a:pt x="10838" y="15871"/>
                  <a:pt x="10808" y="15871"/>
                </a:cubicBezTo>
                <a:close/>
                <a:moveTo>
                  <a:pt x="10808" y="15545"/>
                </a:moveTo>
                <a:cubicBezTo>
                  <a:pt x="10778" y="15545"/>
                  <a:pt x="10754" y="15595"/>
                  <a:pt x="10754" y="15658"/>
                </a:cubicBezTo>
                <a:cubicBezTo>
                  <a:pt x="10754" y="15720"/>
                  <a:pt x="10778" y="15771"/>
                  <a:pt x="10808" y="15771"/>
                </a:cubicBezTo>
                <a:cubicBezTo>
                  <a:pt x="10838" y="15771"/>
                  <a:pt x="10862" y="15720"/>
                  <a:pt x="10862" y="15658"/>
                </a:cubicBezTo>
                <a:cubicBezTo>
                  <a:pt x="10862" y="15595"/>
                  <a:pt x="10838" y="15545"/>
                  <a:pt x="10808" y="15545"/>
                </a:cubicBezTo>
                <a:close/>
                <a:moveTo>
                  <a:pt x="10654" y="15871"/>
                </a:moveTo>
                <a:cubicBezTo>
                  <a:pt x="10624" y="15871"/>
                  <a:pt x="10600" y="15922"/>
                  <a:pt x="10600" y="15985"/>
                </a:cubicBezTo>
                <a:cubicBezTo>
                  <a:pt x="10600" y="16047"/>
                  <a:pt x="10624" y="16098"/>
                  <a:pt x="10654" y="16098"/>
                </a:cubicBezTo>
                <a:cubicBezTo>
                  <a:pt x="10684" y="16098"/>
                  <a:pt x="10708" y="16047"/>
                  <a:pt x="10708" y="15985"/>
                </a:cubicBezTo>
                <a:cubicBezTo>
                  <a:pt x="10708" y="15922"/>
                  <a:pt x="10684" y="15871"/>
                  <a:pt x="10654" y="15871"/>
                </a:cubicBezTo>
                <a:close/>
                <a:moveTo>
                  <a:pt x="10654" y="15545"/>
                </a:moveTo>
                <a:cubicBezTo>
                  <a:pt x="10624" y="15545"/>
                  <a:pt x="10600" y="15595"/>
                  <a:pt x="10600" y="15658"/>
                </a:cubicBezTo>
                <a:cubicBezTo>
                  <a:pt x="10600" y="15720"/>
                  <a:pt x="10624" y="15771"/>
                  <a:pt x="10654" y="15771"/>
                </a:cubicBezTo>
                <a:cubicBezTo>
                  <a:pt x="10684" y="15771"/>
                  <a:pt x="10708" y="15720"/>
                  <a:pt x="10708" y="15658"/>
                </a:cubicBezTo>
                <a:cubicBezTo>
                  <a:pt x="10708" y="15595"/>
                  <a:pt x="10684" y="15545"/>
                  <a:pt x="10654" y="15545"/>
                </a:cubicBezTo>
                <a:close/>
                <a:moveTo>
                  <a:pt x="10501" y="15871"/>
                </a:moveTo>
                <a:cubicBezTo>
                  <a:pt x="10472" y="15871"/>
                  <a:pt x="10448" y="15922"/>
                  <a:pt x="10448" y="15985"/>
                </a:cubicBezTo>
                <a:cubicBezTo>
                  <a:pt x="10448" y="16047"/>
                  <a:pt x="10472" y="16098"/>
                  <a:pt x="10501" y="16098"/>
                </a:cubicBezTo>
                <a:cubicBezTo>
                  <a:pt x="10531" y="16098"/>
                  <a:pt x="10555" y="16047"/>
                  <a:pt x="10555" y="15985"/>
                </a:cubicBezTo>
                <a:cubicBezTo>
                  <a:pt x="10555" y="15922"/>
                  <a:pt x="10531" y="15871"/>
                  <a:pt x="10501" y="15871"/>
                </a:cubicBezTo>
                <a:close/>
                <a:moveTo>
                  <a:pt x="10501" y="15545"/>
                </a:moveTo>
                <a:cubicBezTo>
                  <a:pt x="10472" y="15545"/>
                  <a:pt x="10448" y="15595"/>
                  <a:pt x="10448" y="15658"/>
                </a:cubicBezTo>
                <a:cubicBezTo>
                  <a:pt x="10448" y="15720"/>
                  <a:pt x="10472" y="15771"/>
                  <a:pt x="10501" y="15771"/>
                </a:cubicBezTo>
                <a:cubicBezTo>
                  <a:pt x="10531" y="15771"/>
                  <a:pt x="10555" y="15720"/>
                  <a:pt x="10555" y="15658"/>
                </a:cubicBezTo>
                <a:cubicBezTo>
                  <a:pt x="10555" y="15595"/>
                  <a:pt x="10531" y="15545"/>
                  <a:pt x="10501" y="15545"/>
                </a:cubicBezTo>
                <a:close/>
                <a:moveTo>
                  <a:pt x="10808" y="15218"/>
                </a:moveTo>
                <a:cubicBezTo>
                  <a:pt x="10778" y="15218"/>
                  <a:pt x="10754" y="15268"/>
                  <a:pt x="10754" y="15331"/>
                </a:cubicBezTo>
                <a:cubicBezTo>
                  <a:pt x="10754" y="15393"/>
                  <a:pt x="10778" y="15444"/>
                  <a:pt x="10808" y="15444"/>
                </a:cubicBezTo>
                <a:cubicBezTo>
                  <a:pt x="10838" y="15444"/>
                  <a:pt x="10862" y="15393"/>
                  <a:pt x="10862" y="15331"/>
                </a:cubicBezTo>
                <a:cubicBezTo>
                  <a:pt x="10862" y="15268"/>
                  <a:pt x="10838" y="15218"/>
                  <a:pt x="10808" y="15218"/>
                </a:cubicBezTo>
                <a:close/>
                <a:moveTo>
                  <a:pt x="10808" y="14891"/>
                </a:moveTo>
                <a:cubicBezTo>
                  <a:pt x="10778" y="14891"/>
                  <a:pt x="10754" y="14941"/>
                  <a:pt x="10754" y="15004"/>
                </a:cubicBezTo>
                <a:cubicBezTo>
                  <a:pt x="10754" y="15066"/>
                  <a:pt x="10778" y="15117"/>
                  <a:pt x="10808" y="15117"/>
                </a:cubicBezTo>
                <a:cubicBezTo>
                  <a:pt x="10838" y="15117"/>
                  <a:pt x="10862" y="15066"/>
                  <a:pt x="10862" y="15004"/>
                </a:cubicBezTo>
                <a:cubicBezTo>
                  <a:pt x="10862" y="14941"/>
                  <a:pt x="10838" y="14891"/>
                  <a:pt x="10808" y="14891"/>
                </a:cubicBezTo>
                <a:close/>
                <a:moveTo>
                  <a:pt x="10654" y="15218"/>
                </a:moveTo>
                <a:cubicBezTo>
                  <a:pt x="10624" y="15218"/>
                  <a:pt x="10600" y="15268"/>
                  <a:pt x="10600" y="15331"/>
                </a:cubicBezTo>
                <a:cubicBezTo>
                  <a:pt x="10600" y="15393"/>
                  <a:pt x="10624" y="15444"/>
                  <a:pt x="10654" y="15444"/>
                </a:cubicBezTo>
                <a:cubicBezTo>
                  <a:pt x="10684" y="15444"/>
                  <a:pt x="10708" y="15393"/>
                  <a:pt x="10708" y="15331"/>
                </a:cubicBezTo>
                <a:cubicBezTo>
                  <a:pt x="10708" y="15268"/>
                  <a:pt x="10684" y="15218"/>
                  <a:pt x="10654" y="15218"/>
                </a:cubicBezTo>
                <a:close/>
                <a:moveTo>
                  <a:pt x="10654" y="14891"/>
                </a:moveTo>
                <a:cubicBezTo>
                  <a:pt x="10624" y="14891"/>
                  <a:pt x="10600" y="14941"/>
                  <a:pt x="10600" y="15004"/>
                </a:cubicBezTo>
                <a:cubicBezTo>
                  <a:pt x="10600" y="15066"/>
                  <a:pt x="10624" y="15117"/>
                  <a:pt x="10654" y="15117"/>
                </a:cubicBezTo>
                <a:cubicBezTo>
                  <a:pt x="10684" y="15117"/>
                  <a:pt x="10708" y="15066"/>
                  <a:pt x="10708" y="15004"/>
                </a:cubicBezTo>
                <a:cubicBezTo>
                  <a:pt x="10708" y="14941"/>
                  <a:pt x="10684" y="14891"/>
                  <a:pt x="10654" y="14891"/>
                </a:cubicBezTo>
                <a:close/>
                <a:moveTo>
                  <a:pt x="10501" y="15218"/>
                </a:moveTo>
                <a:cubicBezTo>
                  <a:pt x="10472" y="15218"/>
                  <a:pt x="10448" y="15268"/>
                  <a:pt x="10448" y="15331"/>
                </a:cubicBezTo>
                <a:cubicBezTo>
                  <a:pt x="10448" y="15393"/>
                  <a:pt x="10472" y="15444"/>
                  <a:pt x="10501" y="15444"/>
                </a:cubicBezTo>
                <a:cubicBezTo>
                  <a:pt x="10531" y="15444"/>
                  <a:pt x="10555" y="15393"/>
                  <a:pt x="10555" y="15331"/>
                </a:cubicBezTo>
                <a:cubicBezTo>
                  <a:pt x="10555" y="15268"/>
                  <a:pt x="10531" y="15218"/>
                  <a:pt x="10501" y="15218"/>
                </a:cubicBezTo>
                <a:close/>
                <a:moveTo>
                  <a:pt x="10501" y="14891"/>
                </a:moveTo>
                <a:cubicBezTo>
                  <a:pt x="10472" y="14891"/>
                  <a:pt x="10448" y="14941"/>
                  <a:pt x="10448" y="15004"/>
                </a:cubicBezTo>
                <a:cubicBezTo>
                  <a:pt x="10448" y="15066"/>
                  <a:pt x="10472" y="15117"/>
                  <a:pt x="10501" y="15117"/>
                </a:cubicBezTo>
                <a:cubicBezTo>
                  <a:pt x="10531" y="15117"/>
                  <a:pt x="10555" y="15066"/>
                  <a:pt x="10555" y="15004"/>
                </a:cubicBezTo>
                <a:cubicBezTo>
                  <a:pt x="10555" y="14941"/>
                  <a:pt x="10531" y="14891"/>
                  <a:pt x="10501" y="14891"/>
                </a:cubicBezTo>
                <a:close/>
                <a:moveTo>
                  <a:pt x="10808" y="14581"/>
                </a:moveTo>
                <a:cubicBezTo>
                  <a:pt x="10778" y="14581"/>
                  <a:pt x="10754" y="14632"/>
                  <a:pt x="10754" y="14694"/>
                </a:cubicBezTo>
                <a:cubicBezTo>
                  <a:pt x="10754" y="14757"/>
                  <a:pt x="10778" y="14807"/>
                  <a:pt x="10808" y="14807"/>
                </a:cubicBezTo>
                <a:cubicBezTo>
                  <a:pt x="10838" y="14807"/>
                  <a:pt x="10862" y="14757"/>
                  <a:pt x="10862" y="14694"/>
                </a:cubicBezTo>
                <a:cubicBezTo>
                  <a:pt x="10862" y="14632"/>
                  <a:pt x="10838" y="14581"/>
                  <a:pt x="10808" y="14581"/>
                </a:cubicBezTo>
                <a:close/>
                <a:moveTo>
                  <a:pt x="10808" y="14254"/>
                </a:moveTo>
                <a:cubicBezTo>
                  <a:pt x="10778" y="14254"/>
                  <a:pt x="10754" y="14305"/>
                  <a:pt x="10754" y="14367"/>
                </a:cubicBezTo>
                <a:cubicBezTo>
                  <a:pt x="10754" y="14430"/>
                  <a:pt x="10778" y="14480"/>
                  <a:pt x="10808" y="14480"/>
                </a:cubicBezTo>
                <a:cubicBezTo>
                  <a:pt x="10838" y="14480"/>
                  <a:pt x="10862" y="14430"/>
                  <a:pt x="10862" y="14367"/>
                </a:cubicBezTo>
                <a:cubicBezTo>
                  <a:pt x="10862" y="14305"/>
                  <a:pt x="10838" y="14254"/>
                  <a:pt x="10808" y="14254"/>
                </a:cubicBezTo>
                <a:close/>
                <a:moveTo>
                  <a:pt x="10654" y="14581"/>
                </a:moveTo>
                <a:cubicBezTo>
                  <a:pt x="10624" y="14581"/>
                  <a:pt x="10600" y="14632"/>
                  <a:pt x="10600" y="14694"/>
                </a:cubicBezTo>
                <a:cubicBezTo>
                  <a:pt x="10600" y="14757"/>
                  <a:pt x="10624" y="14807"/>
                  <a:pt x="10654" y="14807"/>
                </a:cubicBezTo>
                <a:cubicBezTo>
                  <a:pt x="10684" y="14807"/>
                  <a:pt x="10708" y="14757"/>
                  <a:pt x="10708" y="14694"/>
                </a:cubicBezTo>
                <a:cubicBezTo>
                  <a:pt x="10708" y="14632"/>
                  <a:pt x="10684" y="14581"/>
                  <a:pt x="10654" y="14581"/>
                </a:cubicBezTo>
                <a:close/>
                <a:moveTo>
                  <a:pt x="10654" y="14254"/>
                </a:moveTo>
                <a:cubicBezTo>
                  <a:pt x="10624" y="14254"/>
                  <a:pt x="10600" y="14305"/>
                  <a:pt x="10600" y="14367"/>
                </a:cubicBezTo>
                <a:cubicBezTo>
                  <a:pt x="10600" y="14430"/>
                  <a:pt x="10624" y="14480"/>
                  <a:pt x="10654" y="14480"/>
                </a:cubicBezTo>
                <a:cubicBezTo>
                  <a:pt x="10684" y="14480"/>
                  <a:pt x="10708" y="14430"/>
                  <a:pt x="10708" y="14367"/>
                </a:cubicBezTo>
                <a:cubicBezTo>
                  <a:pt x="10708" y="14305"/>
                  <a:pt x="10684" y="14254"/>
                  <a:pt x="10654" y="14254"/>
                </a:cubicBezTo>
                <a:close/>
                <a:moveTo>
                  <a:pt x="10501" y="14581"/>
                </a:moveTo>
                <a:cubicBezTo>
                  <a:pt x="10472" y="14581"/>
                  <a:pt x="10448" y="14632"/>
                  <a:pt x="10448" y="14694"/>
                </a:cubicBezTo>
                <a:cubicBezTo>
                  <a:pt x="10448" y="14757"/>
                  <a:pt x="10472" y="14807"/>
                  <a:pt x="10501" y="14807"/>
                </a:cubicBezTo>
                <a:cubicBezTo>
                  <a:pt x="10531" y="14807"/>
                  <a:pt x="10555" y="14757"/>
                  <a:pt x="10555" y="14694"/>
                </a:cubicBezTo>
                <a:cubicBezTo>
                  <a:pt x="10555" y="14632"/>
                  <a:pt x="10531" y="14581"/>
                  <a:pt x="10501" y="14581"/>
                </a:cubicBezTo>
                <a:close/>
                <a:moveTo>
                  <a:pt x="10501" y="14254"/>
                </a:moveTo>
                <a:cubicBezTo>
                  <a:pt x="10472" y="14254"/>
                  <a:pt x="10448" y="14305"/>
                  <a:pt x="10448" y="14367"/>
                </a:cubicBezTo>
                <a:cubicBezTo>
                  <a:pt x="10448" y="14430"/>
                  <a:pt x="10472" y="14480"/>
                  <a:pt x="10501" y="14480"/>
                </a:cubicBezTo>
                <a:cubicBezTo>
                  <a:pt x="10531" y="14480"/>
                  <a:pt x="10555" y="14430"/>
                  <a:pt x="10555" y="14367"/>
                </a:cubicBezTo>
                <a:cubicBezTo>
                  <a:pt x="10555" y="14305"/>
                  <a:pt x="10531" y="14254"/>
                  <a:pt x="10501" y="14254"/>
                </a:cubicBezTo>
                <a:close/>
                <a:moveTo>
                  <a:pt x="10808" y="13927"/>
                </a:moveTo>
                <a:cubicBezTo>
                  <a:pt x="10778" y="13927"/>
                  <a:pt x="10754" y="13978"/>
                  <a:pt x="10754" y="14040"/>
                </a:cubicBezTo>
                <a:cubicBezTo>
                  <a:pt x="10754" y="14103"/>
                  <a:pt x="10778" y="14154"/>
                  <a:pt x="10808" y="14154"/>
                </a:cubicBezTo>
                <a:cubicBezTo>
                  <a:pt x="10838" y="14154"/>
                  <a:pt x="10862" y="14103"/>
                  <a:pt x="10862" y="14040"/>
                </a:cubicBezTo>
                <a:cubicBezTo>
                  <a:pt x="10862" y="13978"/>
                  <a:pt x="10838" y="13927"/>
                  <a:pt x="10808" y="13927"/>
                </a:cubicBezTo>
                <a:close/>
                <a:moveTo>
                  <a:pt x="10350" y="13827"/>
                </a:moveTo>
                <a:cubicBezTo>
                  <a:pt x="10379" y="13827"/>
                  <a:pt x="10404" y="13776"/>
                  <a:pt x="10404" y="13714"/>
                </a:cubicBezTo>
                <a:cubicBezTo>
                  <a:pt x="10404" y="13651"/>
                  <a:pt x="10379" y="13600"/>
                  <a:pt x="10350" y="13600"/>
                </a:cubicBezTo>
                <a:cubicBezTo>
                  <a:pt x="10320" y="13600"/>
                  <a:pt x="10296" y="13651"/>
                  <a:pt x="10296" y="13714"/>
                </a:cubicBezTo>
                <a:cubicBezTo>
                  <a:pt x="10296" y="13776"/>
                  <a:pt x="10320" y="13827"/>
                  <a:pt x="10350" y="13827"/>
                </a:cubicBezTo>
                <a:close/>
                <a:moveTo>
                  <a:pt x="10196" y="13827"/>
                </a:moveTo>
                <a:cubicBezTo>
                  <a:pt x="10225" y="13827"/>
                  <a:pt x="10250" y="13776"/>
                  <a:pt x="10250" y="13714"/>
                </a:cubicBezTo>
                <a:cubicBezTo>
                  <a:pt x="10250" y="13651"/>
                  <a:pt x="10225" y="13600"/>
                  <a:pt x="10196" y="13600"/>
                </a:cubicBezTo>
                <a:cubicBezTo>
                  <a:pt x="10166" y="13600"/>
                  <a:pt x="10142" y="13651"/>
                  <a:pt x="10142" y="13714"/>
                </a:cubicBezTo>
                <a:cubicBezTo>
                  <a:pt x="10142" y="13776"/>
                  <a:pt x="10166" y="13827"/>
                  <a:pt x="10196" y="13827"/>
                </a:cubicBezTo>
                <a:close/>
                <a:moveTo>
                  <a:pt x="10043" y="13827"/>
                </a:moveTo>
                <a:cubicBezTo>
                  <a:pt x="10073" y="13827"/>
                  <a:pt x="10097" y="13776"/>
                  <a:pt x="10097" y="13714"/>
                </a:cubicBezTo>
                <a:cubicBezTo>
                  <a:pt x="10097" y="13651"/>
                  <a:pt x="10073" y="13600"/>
                  <a:pt x="10043" y="13600"/>
                </a:cubicBezTo>
                <a:cubicBezTo>
                  <a:pt x="10013" y="13600"/>
                  <a:pt x="9989" y="13651"/>
                  <a:pt x="9989" y="13714"/>
                </a:cubicBezTo>
                <a:cubicBezTo>
                  <a:pt x="9989" y="13776"/>
                  <a:pt x="10013" y="13827"/>
                  <a:pt x="10043" y="13827"/>
                </a:cubicBezTo>
                <a:close/>
                <a:moveTo>
                  <a:pt x="10808" y="13600"/>
                </a:moveTo>
                <a:cubicBezTo>
                  <a:pt x="10778" y="13600"/>
                  <a:pt x="10754" y="13651"/>
                  <a:pt x="10754" y="13714"/>
                </a:cubicBezTo>
                <a:cubicBezTo>
                  <a:pt x="10754" y="13776"/>
                  <a:pt x="10778" y="13827"/>
                  <a:pt x="10808" y="13827"/>
                </a:cubicBezTo>
                <a:cubicBezTo>
                  <a:pt x="10838" y="13827"/>
                  <a:pt x="10862" y="13776"/>
                  <a:pt x="10862" y="13714"/>
                </a:cubicBezTo>
                <a:cubicBezTo>
                  <a:pt x="10862" y="13651"/>
                  <a:pt x="10838" y="13600"/>
                  <a:pt x="10808" y="13600"/>
                </a:cubicBezTo>
                <a:close/>
                <a:moveTo>
                  <a:pt x="10654" y="13927"/>
                </a:moveTo>
                <a:cubicBezTo>
                  <a:pt x="10624" y="13927"/>
                  <a:pt x="10600" y="13978"/>
                  <a:pt x="10600" y="14040"/>
                </a:cubicBezTo>
                <a:cubicBezTo>
                  <a:pt x="10600" y="14103"/>
                  <a:pt x="10624" y="14154"/>
                  <a:pt x="10654" y="14154"/>
                </a:cubicBezTo>
                <a:cubicBezTo>
                  <a:pt x="10684" y="14154"/>
                  <a:pt x="10708" y="14103"/>
                  <a:pt x="10708" y="14040"/>
                </a:cubicBezTo>
                <a:cubicBezTo>
                  <a:pt x="10708" y="13978"/>
                  <a:pt x="10684" y="13927"/>
                  <a:pt x="10654" y="13927"/>
                </a:cubicBezTo>
                <a:close/>
                <a:moveTo>
                  <a:pt x="10654" y="13600"/>
                </a:moveTo>
                <a:cubicBezTo>
                  <a:pt x="10624" y="13600"/>
                  <a:pt x="10600" y="13651"/>
                  <a:pt x="10600" y="13714"/>
                </a:cubicBezTo>
                <a:cubicBezTo>
                  <a:pt x="10600" y="13776"/>
                  <a:pt x="10624" y="13827"/>
                  <a:pt x="10654" y="13827"/>
                </a:cubicBezTo>
                <a:cubicBezTo>
                  <a:pt x="10684" y="13827"/>
                  <a:pt x="10708" y="13776"/>
                  <a:pt x="10708" y="13714"/>
                </a:cubicBezTo>
                <a:cubicBezTo>
                  <a:pt x="10708" y="13651"/>
                  <a:pt x="10684" y="13600"/>
                  <a:pt x="10654" y="13600"/>
                </a:cubicBezTo>
                <a:close/>
                <a:moveTo>
                  <a:pt x="10501" y="13927"/>
                </a:moveTo>
                <a:cubicBezTo>
                  <a:pt x="10472" y="13927"/>
                  <a:pt x="10448" y="13978"/>
                  <a:pt x="10448" y="14040"/>
                </a:cubicBezTo>
                <a:cubicBezTo>
                  <a:pt x="10448" y="14103"/>
                  <a:pt x="10472" y="14154"/>
                  <a:pt x="10501" y="14154"/>
                </a:cubicBezTo>
                <a:cubicBezTo>
                  <a:pt x="10531" y="14154"/>
                  <a:pt x="10555" y="14103"/>
                  <a:pt x="10555" y="14040"/>
                </a:cubicBezTo>
                <a:cubicBezTo>
                  <a:pt x="10555" y="13978"/>
                  <a:pt x="10531" y="13927"/>
                  <a:pt x="10501" y="13927"/>
                </a:cubicBezTo>
                <a:close/>
                <a:moveTo>
                  <a:pt x="10501" y="13600"/>
                </a:moveTo>
                <a:cubicBezTo>
                  <a:pt x="10472" y="13600"/>
                  <a:pt x="10448" y="13651"/>
                  <a:pt x="10448" y="13714"/>
                </a:cubicBezTo>
                <a:cubicBezTo>
                  <a:pt x="10448" y="13776"/>
                  <a:pt x="10472" y="13827"/>
                  <a:pt x="10501" y="13827"/>
                </a:cubicBezTo>
                <a:cubicBezTo>
                  <a:pt x="10531" y="13827"/>
                  <a:pt x="10555" y="13776"/>
                  <a:pt x="10555" y="13714"/>
                </a:cubicBezTo>
                <a:cubicBezTo>
                  <a:pt x="10555" y="13651"/>
                  <a:pt x="10531" y="13600"/>
                  <a:pt x="10501" y="13600"/>
                </a:cubicBezTo>
                <a:close/>
                <a:moveTo>
                  <a:pt x="11273" y="17177"/>
                </a:moveTo>
                <a:cubicBezTo>
                  <a:pt x="11243" y="17177"/>
                  <a:pt x="11219" y="17227"/>
                  <a:pt x="11219" y="17290"/>
                </a:cubicBezTo>
                <a:cubicBezTo>
                  <a:pt x="11219" y="17352"/>
                  <a:pt x="11243" y="17403"/>
                  <a:pt x="11273" y="17403"/>
                </a:cubicBezTo>
                <a:cubicBezTo>
                  <a:pt x="11303" y="17403"/>
                  <a:pt x="11327" y="17352"/>
                  <a:pt x="11327" y="17290"/>
                </a:cubicBezTo>
                <a:cubicBezTo>
                  <a:pt x="11327" y="17227"/>
                  <a:pt x="11303" y="17177"/>
                  <a:pt x="11273" y="17177"/>
                </a:cubicBezTo>
                <a:close/>
                <a:moveTo>
                  <a:pt x="11273" y="16850"/>
                </a:moveTo>
                <a:cubicBezTo>
                  <a:pt x="11243" y="16850"/>
                  <a:pt x="11219" y="16900"/>
                  <a:pt x="11219" y="16963"/>
                </a:cubicBezTo>
                <a:cubicBezTo>
                  <a:pt x="11219" y="17025"/>
                  <a:pt x="11243" y="17076"/>
                  <a:pt x="11273" y="17076"/>
                </a:cubicBezTo>
                <a:cubicBezTo>
                  <a:pt x="11303" y="17076"/>
                  <a:pt x="11327" y="17025"/>
                  <a:pt x="11327" y="16963"/>
                </a:cubicBezTo>
                <a:cubicBezTo>
                  <a:pt x="11327" y="16900"/>
                  <a:pt x="11303" y="16850"/>
                  <a:pt x="11273" y="16850"/>
                </a:cubicBezTo>
                <a:close/>
                <a:moveTo>
                  <a:pt x="11119" y="17177"/>
                </a:moveTo>
                <a:cubicBezTo>
                  <a:pt x="11089" y="17177"/>
                  <a:pt x="11065" y="17227"/>
                  <a:pt x="11065" y="17290"/>
                </a:cubicBezTo>
                <a:cubicBezTo>
                  <a:pt x="11065" y="17352"/>
                  <a:pt x="11089" y="17403"/>
                  <a:pt x="11119" y="17403"/>
                </a:cubicBezTo>
                <a:cubicBezTo>
                  <a:pt x="11149" y="17403"/>
                  <a:pt x="11173" y="17352"/>
                  <a:pt x="11173" y="17290"/>
                </a:cubicBezTo>
                <a:cubicBezTo>
                  <a:pt x="11173" y="17227"/>
                  <a:pt x="11149" y="17177"/>
                  <a:pt x="11119" y="17177"/>
                </a:cubicBezTo>
                <a:close/>
                <a:moveTo>
                  <a:pt x="11119" y="16850"/>
                </a:moveTo>
                <a:cubicBezTo>
                  <a:pt x="11089" y="16850"/>
                  <a:pt x="11065" y="16900"/>
                  <a:pt x="11065" y="16963"/>
                </a:cubicBezTo>
                <a:cubicBezTo>
                  <a:pt x="11065" y="17025"/>
                  <a:pt x="11089" y="17076"/>
                  <a:pt x="11119" y="17076"/>
                </a:cubicBezTo>
                <a:cubicBezTo>
                  <a:pt x="11149" y="17076"/>
                  <a:pt x="11173" y="17025"/>
                  <a:pt x="11173" y="16963"/>
                </a:cubicBezTo>
                <a:cubicBezTo>
                  <a:pt x="11173" y="16900"/>
                  <a:pt x="11149" y="16850"/>
                  <a:pt x="11119" y="16850"/>
                </a:cubicBezTo>
                <a:close/>
                <a:moveTo>
                  <a:pt x="10967" y="17177"/>
                </a:moveTo>
                <a:cubicBezTo>
                  <a:pt x="10937" y="17177"/>
                  <a:pt x="10913" y="17227"/>
                  <a:pt x="10913" y="17290"/>
                </a:cubicBezTo>
                <a:cubicBezTo>
                  <a:pt x="10913" y="17352"/>
                  <a:pt x="10937" y="17403"/>
                  <a:pt x="10967" y="17403"/>
                </a:cubicBezTo>
                <a:cubicBezTo>
                  <a:pt x="10996" y="17403"/>
                  <a:pt x="11020" y="17352"/>
                  <a:pt x="11020" y="17290"/>
                </a:cubicBezTo>
                <a:cubicBezTo>
                  <a:pt x="11020" y="17227"/>
                  <a:pt x="10996" y="17177"/>
                  <a:pt x="10967" y="17177"/>
                </a:cubicBezTo>
                <a:close/>
                <a:moveTo>
                  <a:pt x="10967" y="16850"/>
                </a:moveTo>
                <a:cubicBezTo>
                  <a:pt x="10937" y="16850"/>
                  <a:pt x="10913" y="16900"/>
                  <a:pt x="10913" y="16963"/>
                </a:cubicBezTo>
                <a:cubicBezTo>
                  <a:pt x="10913" y="17025"/>
                  <a:pt x="10937" y="17076"/>
                  <a:pt x="10967" y="17076"/>
                </a:cubicBezTo>
                <a:cubicBezTo>
                  <a:pt x="10996" y="17076"/>
                  <a:pt x="11020" y="17025"/>
                  <a:pt x="11020" y="16963"/>
                </a:cubicBezTo>
                <a:cubicBezTo>
                  <a:pt x="11020" y="16900"/>
                  <a:pt x="10996" y="16850"/>
                  <a:pt x="10967" y="16850"/>
                </a:cubicBezTo>
                <a:close/>
                <a:moveTo>
                  <a:pt x="12197" y="16523"/>
                </a:moveTo>
                <a:cubicBezTo>
                  <a:pt x="12168" y="16523"/>
                  <a:pt x="12143" y="16574"/>
                  <a:pt x="12143" y="16636"/>
                </a:cubicBezTo>
                <a:cubicBezTo>
                  <a:pt x="12143" y="16699"/>
                  <a:pt x="12168" y="16749"/>
                  <a:pt x="12197" y="16749"/>
                </a:cubicBezTo>
                <a:cubicBezTo>
                  <a:pt x="12227" y="16749"/>
                  <a:pt x="12251" y="16699"/>
                  <a:pt x="12251" y="16636"/>
                </a:cubicBezTo>
                <a:cubicBezTo>
                  <a:pt x="12251" y="16574"/>
                  <a:pt x="12227" y="16523"/>
                  <a:pt x="12197" y="16523"/>
                </a:cubicBezTo>
                <a:close/>
                <a:moveTo>
                  <a:pt x="12197" y="16196"/>
                </a:moveTo>
                <a:cubicBezTo>
                  <a:pt x="12168" y="16196"/>
                  <a:pt x="12143" y="16247"/>
                  <a:pt x="12143" y="16309"/>
                </a:cubicBezTo>
                <a:cubicBezTo>
                  <a:pt x="12143" y="16372"/>
                  <a:pt x="12168" y="16422"/>
                  <a:pt x="12197" y="16422"/>
                </a:cubicBezTo>
                <a:cubicBezTo>
                  <a:pt x="12227" y="16422"/>
                  <a:pt x="12251" y="16372"/>
                  <a:pt x="12251" y="16309"/>
                </a:cubicBezTo>
                <a:cubicBezTo>
                  <a:pt x="12251" y="16247"/>
                  <a:pt x="12227" y="16196"/>
                  <a:pt x="12197" y="16196"/>
                </a:cubicBezTo>
                <a:close/>
                <a:moveTo>
                  <a:pt x="12505" y="15539"/>
                </a:moveTo>
                <a:cubicBezTo>
                  <a:pt x="12475" y="15539"/>
                  <a:pt x="12451" y="15590"/>
                  <a:pt x="12451" y="15652"/>
                </a:cubicBezTo>
                <a:cubicBezTo>
                  <a:pt x="12451" y="15715"/>
                  <a:pt x="12475" y="15765"/>
                  <a:pt x="12505" y="15765"/>
                </a:cubicBezTo>
                <a:cubicBezTo>
                  <a:pt x="12535" y="15765"/>
                  <a:pt x="12559" y="15715"/>
                  <a:pt x="12559" y="15652"/>
                </a:cubicBezTo>
                <a:cubicBezTo>
                  <a:pt x="12559" y="15590"/>
                  <a:pt x="12535" y="15539"/>
                  <a:pt x="12505" y="15539"/>
                </a:cubicBezTo>
                <a:close/>
                <a:moveTo>
                  <a:pt x="12505" y="15218"/>
                </a:moveTo>
                <a:cubicBezTo>
                  <a:pt x="12475" y="15218"/>
                  <a:pt x="12451" y="15268"/>
                  <a:pt x="12451" y="15331"/>
                </a:cubicBezTo>
                <a:cubicBezTo>
                  <a:pt x="12451" y="15393"/>
                  <a:pt x="12475" y="15444"/>
                  <a:pt x="12505" y="15444"/>
                </a:cubicBezTo>
                <a:cubicBezTo>
                  <a:pt x="12535" y="15444"/>
                  <a:pt x="12559" y="15393"/>
                  <a:pt x="12559" y="15331"/>
                </a:cubicBezTo>
                <a:cubicBezTo>
                  <a:pt x="12559" y="15268"/>
                  <a:pt x="12535" y="15218"/>
                  <a:pt x="12505" y="15218"/>
                </a:cubicBezTo>
                <a:close/>
                <a:moveTo>
                  <a:pt x="12505" y="14891"/>
                </a:moveTo>
                <a:cubicBezTo>
                  <a:pt x="12475" y="14891"/>
                  <a:pt x="12451" y="14941"/>
                  <a:pt x="12451" y="15004"/>
                </a:cubicBezTo>
                <a:cubicBezTo>
                  <a:pt x="12451" y="15066"/>
                  <a:pt x="12475" y="15117"/>
                  <a:pt x="12505" y="15117"/>
                </a:cubicBezTo>
                <a:cubicBezTo>
                  <a:pt x="12535" y="15117"/>
                  <a:pt x="12559" y="15066"/>
                  <a:pt x="12559" y="15004"/>
                </a:cubicBezTo>
                <a:cubicBezTo>
                  <a:pt x="12559" y="14941"/>
                  <a:pt x="12535" y="14891"/>
                  <a:pt x="12505" y="14891"/>
                </a:cubicBezTo>
                <a:close/>
                <a:moveTo>
                  <a:pt x="12350" y="16504"/>
                </a:moveTo>
                <a:cubicBezTo>
                  <a:pt x="12320" y="16504"/>
                  <a:pt x="12296" y="16555"/>
                  <a:pt x="12296" y="16617"/>
                </a:cubicBezTo>
                <a:cubicBezTo>
                  <a:pt x="12296" y="16680"/>
                  <a:pt x="12320" y="16731"/>
                  <a:pt x="12350" y="16731"/>
                </a:cubicBezTo>
                <a:cubicBezTo>
                  <a:pt x="12380" y="16731"/>
                  <a:pt x="12404" y="16680"/>
                  <a:pt x="12404" y="16617"/>
                </a:cubicBezTo>
                <a:cubicBezTo>
                  <a:pt x="12404" y="16555"/>
                  <a:pt x="12380" y="16504"/>
                  <a:pt x="12350" y="16504"/>
                </a:cubicBezTo>
                <a:close/>
                <a:moveTo>
                  <a:pt x="12350" y="16187"/>
                </a:moveTo>
                <a:cubicBezTo>
                  <a:pt x="12320" y="16187"/>
                  <a:pt x="12296" y="16238"/>
                  <a:pt x="12296" y="16300"/>
                </a:cubicBezTo>
                <a:cubicBezTo>
                  <a:pt x="12296" y="16363"/>
                  <a:pt x="12320" y="16413"/>
                  <a:pt x="12350" y="16413"/>
                </a:cubicBezTo>
                <a:cubicBezTo>
                  <a:pt x="12380" y="16413"/>
                  <a:pt x="12404" y="16363"/>
                  <a:pt x="12404" y="16300"/>
                </a:cubicBezTo>
                <a:cubicBezTo>
                  <a:pt x="12404" y="16238"/>
                  <a:pt x="12380" y="16187"/>
                  <a:pt x="12350" y="16187"/>
                </a:cubicBezTo>
                <a:close/>
                <a:moveTo>
                  <a:pt x="12350" y="15844"/>
                </a:moveTo>
                <a:cubicBezTo>
                  <a:pt x="12320" y="15844"/>
                  <a:pt x="12296" y="15894"/>
                  <a:pt x="12296" y="15957"/>
                </a:cubicBezTo>
                <a:cubicBezTo>
                  <a:pt x="12296" y="16019"/>
                  <a:pt x="12320" y="16070"/>
                  <a:pt x="12350" y="16070"/>
                </a:cubicBezTo>
                <a:cubicBezTo>
                  <a:pt x="12380" y="16070"/>
                  <a:pt x="12404" y="16019"/>
                  <a:pt x="12404" y="15957"/>
                </a:cubicBezTo>
                <a:cubicBezTo>
                  <a:pt x="12404" y="15894"/>
                  <a:pt x="12380" y="15844"/>
                  <a:pt x="12350" y="15844"/>
                </a:cubicBezTo>
                <a:close/>
                <a:moveTo>
                  <a:pt x="12350" y="15545"/>
                </a:moveTo>
                <a:cubicBezTo>
                  <a:pt x="12320" y="15545"/>
                  <a:pt x="12296" y="15595"/>
                  <a:pt x="12296" y="15658"/>
                </a:cubicBezTo>
                <a:cubicBezTo>
                  <a:pt x="12296" y="15720"/>
                  <a:pt x="12320" y="15771"/>
                  <a:pt x="12350" y="15771"/>
                </a:cubicBezTo>
                <a:cubicBezTo>
                  <a:pt x="12380" y="15771"/>
                  <a:pt x="12404" y="15720"/>
                  <a:pt x="12404" y="15658"/>
                </a:cubicBezTo>
                <a:cubicBezTo>
                  <a:pt x="12404" y="15595"/>
                  <a:pt x="12380" y="15545"/>
                  <a:pt x="12350" y="15545"/>
                </a:cubicBezTo>
                <a:close/>
                <a:moveTo>
                  <a:pt x="12197" y="15871"/>
                </a:moveTo>
                <a:cubicBezTo>
                  <a:pt x="12168" y="15871"/>
                  <a:pt x="12143" y="15922"/>
                  <a:pt x="12143" y="15985"/>
                </a:cubicBezTo>
                <a:cubicBezTo>
                  <a:pt x="12143" y="16047"/>
                  <a:pt x="12168" y="16098"/>
                  <a:pt x="12197" y="16098"/>
                </a:cubicBezTo>
                <a:cubicBezTo>
                  <a:pt x="12227" y="16098"/>
                  <a:pt x="12251" y="16047"/>
                  <a:pt x="12251" y="15985"/>
                </a:cubicBezTo>
                <a:cubicBezTo>
                  <a:pt x="12251" y="15922"/>
                  <a:pt x="12227" y="15871"/>
                  <a:pt x="12197" y="15871"/>
                </a:cubicBezTo>
                <a:close/>
                <a:moveTo>
                  <a:pt x="12197" y="15545"/>
                </a:moveTo>
                <a:cubicBezTo>
                  <a:pt x="12168" y="15545"/>
                  <a:pt x="12143" y="15595"/>
                  <a:pt x="12143" y="15658"/>
                </a:cubicBezTo>
                <a:cubicBezTo>
                  <a:pt x="12143" y="15720"/>
                  <a:pt x="12168" y="15771"/>
                  <a:pt x="12197" y="15771"/>
                </a:cubicBezTo>
                <a:cubicBezTo>
                  <a:pt x="12227" y="15771"/>
                  <a:pt x="12251" y="15720"/>
                  <a:pt x="12251" y="15658"/>
                </a:cubicBezTo>
                <a:cubicBezTo>
                  <a:pt x="12251" y="15595"/>
                  <a:pt x="12227" y="15545"/>
                  <a:pt x="12197" y="15545"/>
                </a:cubicBezTo>
                <a:close/>
                <a:moveTo>
                  <a:pt x="12350" y="15218"/>
                </a:moveTo>
                <a:cubicBezTo>
                  <a:pt x="12320" y="15218"/>
                  <a:pt x="12296" y="15268"/>
                  <a:pt x="12296" y="15331"/>
                </a:cubicBezTo>
                <a:cubicBezTo>
                  <a:pt x="12296" y="15393"/>
                  <a:pt x="12320" y="15444"/>
                  <a:pt x="12350" y="15444"/>
                </a:cubicBezTo>
                <a:cubicBezTo>
                  <a:pt x="12380" y="15444"/>
                  <a:pt x="12404" y="15393"/>
                  <a:pt x="12404" y="15331"/>
                </a:cubicBezTo>
                <a:cubicBezTo>
                  <a:pt x="12404" y="15268"/>
                  <a:pt x="12380" y="15218"/>
                  <a:pt x="12350" y="15218"/>
                </a:cubicBezTo>
                <a:close/>
                <a:moveTo>
                  <a:pt x="11428" y="16523"/>
                </a:moveTo>
                <a:cubicBezTo>
                  <a:pt x="11399" y="16523"/>
                  <a:pt x="11375" y="16574"/>
                  <a:pt x="11375" y="16636"/>
                </a:cubicBezTo>
                <a:cubicBezTo>
                  <a:pt x="11375" y="16699"/>
                  <a:pt x="11399" y="16749"/>
                  <a:pt x="11428" y="16749"/>
                </a:cubicBezTo>
                <a:cubicBezTo>
                  <a:pt x="11458" y="16749"/>
                  <a:pt x="11482" y="16699"/>
                  <a:pt x="11482" y="16636"/>
                </a:cubicBezTo>
                <a:cubicBezTo>
                  <a:pt x="11482" y="16574"/>
                  <a:pt x="11458" y="16523"/>
                  <a:pt x="11428" y="16523"/>
                </a:cubicBezTo>
                <a:close/>
                <a:moveTo>
                  <a:pt x="11428" y="16196"/>
                </a:moveTo>
                <a:cubicBezTo>
                  <a:pt x="11399" y="16196"/>
                  <a:pt x="11375" y="16247"/>
                  <a:pt x="11375" y="16309"/>
                </a:cubicBezTo>
                <a:cubicBezTo>
                  <a:pt x="11375" y="16372"/>
                  <a:pt x="11399" y="16422"/>
                  <a:pt x="11428" y="16422"/>
                </a:cubicBezTo>
                <a:cubicBezTo>
                  <a:pt x="11458" y="16422"/>
                  <a:pt x="11482" y="16372"/>
                  <a:pt x="11482" y="16309"/>
                </a:cubicBezTo>
                <a:cubicBezTo>
                  <a:pt x="11482" y="16247"/>
                  <a:pt x="11458" y="16196"/>
                  <a:pt x="11428" y="16196"/>
                </a:cubicBezTo>
                <a:close/>
                <a:moveTo>
                  <a:pt x="11273" y="16523"/>
                </a:moveTo>
                <a:cubicBezTo>
                  <a:pt x="11243" y="16523"/>
                  <a:pt x="11219" y="16574"/>
                  <a:pt x="11219" y="16636"/>
                </a:cubicBezTo>
                <a:cubicBezTo>
                  <a:pt x="11219" y="16699"/>
                  <a:pt x="11243" y="16749"/>
                  <a:pt x="11273" y="16749"/>
                </a:cubicBezTo>
                <a:cubicBezTo>
                  <a:pt x="11303" y="16749"/>
                  <a:pt x="11327" y="16699"/>
                  <a:pt x="11327" y="16636"/>
                </a:cubicBezTo>
                <a:cubicBezTo>
                  <a:pt x="11327" y="16574"/>
                  <a:pt x="11303" y="16523"/>
                  <a:pt x="11273" y="16523"/>
                </a:cubicBezTo>
                <a:close/>
                <a:moveTo>
                  <a:pt x="11273" y="16196"/>
                </a:moveTo>
                <a:cubicBezTo>
                  <a:pt x="11243" y="16196"/>
                  <a:pt x="11219" y="16247"/>
                  <a:pt x="11219" y="16309"/>
                </a:cubicBezTo>
                <a:cubicBezTo>
                  <a:pt x="11219" y="16372"/>
                  <a:pt x="11243" y="16422"/>
                  <a:pt x="11273" y="16422"/>
                </a:cubicBezTo>
                <a:cubicBezTo>
                  <a:pt x="11303" y="16422"/>
                  <a:pt x="11327" y="16372"/>
                  <a:pt x="11327" y="16309"/>
                </a:cubicBezTo>
                <a:cubicBezTo>
                  <a:pt x="11327" y="16247"/>
                  <a:pt x="11303" y="16196"/>
                  <a:pt x="11273" y="16196"/>
                </a:cubicBezTo>
                <a:close/>
                <a:moveTo>
                  <a:pt x="11119" y="16523"/>
                </a:moveTo>
                <a:cubicBezTo>
                  <a:pt x="11089" y="16523"/>
                  <a:pt x="11065" y="16574"/>
                  <a:pt x="11065" y="16636"/>
                </a:cubicBezTo>
                <a:cubicBezTo>
                  <a:pt x="11065" y="16699"/>
                  <a:pt x="11089" y="16749"/>
                  <a:pt x="11119" y="16749"/>
                </a:cubicBezTo>
                <a:cubicBezTo>
                  <a:pt x="11149" y="16749"/>
                  <a:pt x="11173" y="16699"/>
                  <a:pt x="11173" y="16636"/>
                </a:cubicBezTo>
                <a:cubicBezTo>
                  <a:pt x="11173" y="16574"/>
                  <a:pt x="11149" y="16523"/>
                  <a:pt x="11119" y="16523"/>
                </a:cubicBezTo>
                <a:close/>
                <a:moveTo>
                  <a:pt x="11119" y="16196"/>
                </a:moveTo>
                <a:cubicBezTo>
                  <a:pt x="11089" y="16196"/>
                  <a:pt x="11065" y="16247"/>
                  <a:pt x="11065" y="16309"/>
                </a:cubicBezTo>
                <a:cubicBezTo>
                  <a:pt x="11065" y="16372"/>
                  <a:pt x="11089" y="16422"/>
                  <a:pt x="11119" y="16422"/>
                </a:cubicBezTo>
                <a:cubicBezTo>
                  <a:pt x="11149" y="16422"/>
                  <a:pt x="11173" y="16372"/>
                  <a:pt x="11173" y="16309"/>
                </a:cubicBezTo>
                <a:cubicBezTo>
                  <a:pt x="11173" y="16247"/>
                  <a:pt x="11149" y="16196"/>
                  <a:pt x="11119" y="16196"/>
                </a:cubicBezTo>
                <a:close/>
                <a:moveTo>
                  <a:pt x="10967" y="16523"/>
                </a:moveTo>
                <a:cubicBezTo>
                  <a:pt x="10937" y="16523"/>
                  <a:pt x="10913" y="16574"/>
                  <a:pt x="10913" y="16636"/>
                </a:cubicBezTo>
                <a:cubicBezTo>
                  <a:pt x="10913" y="16699"/>
                  <a:pt x="10937" y="16749"/>
                  <a:pt x="10967" y="16749"/>
                </a:cubicBezTo>
                <a:cubicBezTo>
                  <a:pt x="10996" y="16749"/>
                  <a:pt x="11020" y="16699"/>
                  <a:pt x="11020" y="16636"/>
                </a:cubicBezTo>
                <a:cubicBezTo>
                  <a:pt x="11020" y="16574"/>
                  <a:pt x="10996" y="16523"/>
                  <a:pt x="10967" y="16523"/>
                </a:cubicBezTo>
                <a:close/>
                <a:moveTo>
                  <a:pt x="10967" y="16196"/>
                </a:moveTo>
                <a:cubicBezTo>
                  <a:pt x="10937" y="16196"/>
                  <a:pt x="10913" y="16247"/>
                  <a:pt x="10913" y="16309"/>
                </a:cubicBezTo>
                <a:cubicBezTo>
                  <a:pt x="10913" y="16372"/>
                  <a:pt x="10937" y="16422"/>
                  <a:pt x="10967" y="16422"/>
                </a:cubicBezTo>
                <a:cubicBezTo>
                  <a:pt x="10996" y="16422"/>
                  <a:pt x="11020" y="16372"/>
                  <a:pt x="11020" y="16309"/>
                </a:cubicBezTo>
                <a:cubicBezTo>
                  <a:pt x="11020" y="16247"/>
                  <a:pt x="10996" y="16196"/>
                  <a:pt x="10967" y="16196"/>
                </a:cubicBezTo>
                <a:close/>
                <a:moveTo>
                  <a:pt x="11884" y="15218"/>
                </a:moveTo>
                <a:cubicBezTo>
                  <a:pt x="11855" y="15218"/>
                  <a:pt x="11830" y="15268"/>
                  <a:pt x="11830" y="15331"/>
                </a:cubicBezTo>
                <a:cubicBezTo>
                  <a:pt x="11830" y="15393"/>
                  <a:pt x="11855" y="15444"/>
                  <a:pt x="11884" y="15444"/>
                </a:cubicBezTo>
                <a:cubicBezTo>
                  <a:pt x="11914" y="15444"/>
                  <a:pt x="11938" y="15393"/>
                  <a:pt x="11938" y="15331"/>
                </a:cubicBezTo>
                <a:cubicBezTo>
                  <a:pt x="11938" y="15268"/>
                  <a:pt x="11914" y="15218"/>
                  <a:pt x="11884" y="15218"/>
                </a:cubicBezTo>
                <a:close/>
                <a:moveTo>
                  <a:pt x="11884" y="14891"/>
                </a:moveTo>
                <a:cubicBezTo>
                  <a:pt x="11855" y="14891"/>
                  <a:pt x="11830" y="14941"/>
                  <a:pt x="11830" y="15004"/>
                </a:cubicBezTo>
                <a:cubicBezTo>
                  <a:pt x="11830" y="15066"/>
                  <a:pt x="11855" y="15117"/>
                  <a:pt x="11884" y="15117"/>
                </a:cubicBezTo>
                <a:cubicBezTo>
                  <a:pt x="11914" y="15117"/>
                  <a:pt x="11938" y="15066"/>
                  <a:pt x="11938" y="15004"/>
                </a:cubicBezTo>
                <a:cubicBezTo>
                  <a:pt x="11938" y="14941"/>
                  <a:pt x="11914" y="14891"/>
                  <a:pt x="11884" y="14891"/>
                </a:cubicBezTo>
                <a:close/>
                <a:moveTo>
                  <a:pt x="11884" y="14581"/>
                </a:moveTo>
                <a:cubicBezTo>
                  <a:pt x="11855" y="14581"/>
                  <a:pt x="11830" y="14632"/>
                  <a:pt x="11830" y="14694"/>
                </a:cubicBezTo>
                <a:cubicBezTo>
                  <a:pt x="11830" y="14757"/>
                  <a:pt x="11855" y="14807"/>
                  <a:pt x="11884" y="14807"/>
                </a:cubicBezTo>
                <a:cubicBezTo>
                  <a:pt x="11914" y="14807"/>
                  <a:pt x="11938" y="14757"/>
                  <a:pt x="11938" y="14694"/>
                </a:cubicBezTo>
                <a:cubicBezTo>
                  <a:pt x="11938" y="14632"/>
                  <a:pt x="11914" y="14581"/>
                  <a:pt x="11884" y="14581"/>
                </a:cubicBezTo>
                <a:close/>
                <a:moveTo>
                  <a:pt x="11884" y="14254"/>
                </a:moveTo>
                <a:cubicBezTo>
                  <a:pt x="11855" y="14254"/>
                  <a:pt x="11830" y="14305"/>
                  <a:pt x="11830" y="14367"/>
                </a:cubicBezTo>
                <a:cubicBezTo>
                  <a:pt x="11830" y="14430"/>
                  <a:pt x="11855" y="14480"/>
                  <a:pt x="11884" y="14480"/>
                </a:cubicBezTo>
                <a:cubicBezTo>
                  <a:pt x="11914" y="14480"/>
                  <a:pt x="11938" y="14430"/>
                  <a:pt x="11938" y="14367"/>
                </a:cubicBezTo>
                <a:cubicBezTo>
                  <a:pt x="11938" y="14305"/>
                  <a:pt x="11914" y="14254"/>
                  <a:pt x="11884" y="14254"/>
                </a:cubicBezTo>
                <a:close/>
                <a:moveTo>
                  <a:pt x="12662" y="10990"/>
                </a:moveTo>
                <a:cubicBezTo>
                  <a:pt x="12632" y="10990"/>
                  <a:pt x="12608" y="11041"/>
                  <a:pt x="12608" y="11103"/>
                </a:cubicBezTo>
                <a:cubicBezTo>
                  <a:pt x="12608" y="11166"/>
                  <a:pt x="12632" y="11216"/>
                  <a:pt x="12662" y="11216"/>
                </a:cubicBezTo>
                <a:cubicBezTo>
                  <a:pt x="12691" y="11216"/>
                  <a:pt x="12715" y="11166"/>
                  <a:pt x="12715" y="11103"/>
                </a:cubicBezTo>
                <a:cubicBezTo>
                  <a:pt x="12715" y="11041"/>
                  <a:pt x="12691" y="10990"/>
                  <a:pt x="12662" y="10990"/>
                </a:cubicBezTo>
                <a:close/>
                <a:moveTo>
                  <a:pt x="12504" y="11870"/>
                </a:moveTo>
                <a:cubicBezTo>
                  <a:pt x="12534" y="11870"/>
                  <a:pt x="12558" y="11819"/>
                  <a:pt x="12558" y="11757"/>
                </a:cubicBezTo>
                <a:cubicBezTo>
                  <a:pt x="12558" y="11694"/>
                  <a:pt x="12534" y="11644"/>
                  <a:pt x="12504" y="11644"/>
                </a:cubicBezTo>
                <a:cubicBezTo>
                  <a:pt x="12475" y="11644"/>
                  <a:pt x="12451" y="11694"/>
                  <a:pt x="12451" y="11757"/>
                </a:cubicBezTo>
                <a:cubicBezTo>
                  <a:pt x="12451" y="11819"/>
                  <a:pt x="12475" y="11870"/>
                  <a:pt x="12504" y="11870"/>
                </a:cubicBezTo>
                <a:close/>
                <a:moveTo>
                  <a:pt x="12504" y="11317"/>
                </a:moveTo>
                <a:cubicBezTo>
                  <a:pt x="12475" y="11317"/>
                  <a:pt x="12451" y="11367"/>
                  <a:pt x="12451" y="11430"/>
                </a:cubicBezTo>
                <a:cubicBezTo>
                  <a:pt x="12451" y="11492"/>
                  <a:pt x="12475" y="11543"/>
                  <a:pt x="12504" y="11543"/>
                </a:cubicBezTo>
                <a:cubicBezTo>
                  <a:pt x="12534" y="11543"/>
                  <a:pt x="12558" y="11492"/>
                  <a:pt x="12558" y="11430"/>
                </a:cubicBezTo>
                <a:cubicBezTo>
                  <a:pt x="12558" y="11367"/>
                  <a:pt x="12534" y="11317"/>
                  <a:pt x="12504" y="11317"/>
                </a:cubicBezTo>
                <a:close/>
                <a:moveTo>
                  <a:pt x="12504" y="10990"/>
                </a:moveTo>
                <a:cubicBezTo>
                  <a:pt x="12475" y="10990"/>
                  <a:pt x="12451" y="11041"/>
                  <a:pt x="12451" y="11103"/>
                </a:cubicBezTo>
                <a:cubicBezTo>
                  <a:pt x="12451" y="11166"/>
                  <a:pt x="12475" y="11216"/>
                  <a:pt x="12504" y="11216"/>
                </a:cubicBezTo>
                <a:cubicBezTo>
                  <a:pt x="12534" y="11216"/>
                  <a:pt x="12558" y="11166"/>
                  <a:pt x="12558" y="11103"/>
                </a:cubicBezTo>
                <a:cubicBezTo>
                  <a:pt x="12558" y="11041"/>
                  <a:pt x="12534" y="10990"/>
                  <a:pt x="12504" y="10990"/>
                </a:cubicBezTo>
                <a:close/>
                <a:moveTo>
                  <a:pt x="12349" y="12197"/>
                </a:moveTo>
                <a:cubicBezTo>
                  <a:pt x="12379" y="12197"/>
                  <a:pt x="12403" y="12146"/>
                  <a:pt x="12403" y="12084"/>
                </a:cubicBezTo>
                <a:cubicBezTo>
                  <a:pt x="12403" y="12021"/>
                  <a:pt x="12379" y="11971"/>
                  <a:pt x="12349" y="11971"/>
                </a:cubicBezTo>
                <a:cubicBezTo>
                  <a:pt x="12320" y="11971"/>
                  <a:pt x="12296" y="12021"/>
                  <a:pt x="12296" y="12084"/>
                </a:cubicBezTo>
                <a:cubicBezTo>
                  <a:pt x="12296" y="12146"/>
                  <a:pt x="12320" y="12197"/>
                  <a:pt x="12349" y="12197"/>
                </a:cubicBezTo>
                <a:close/>
                <a:moveTo>
                  <a:pt x="12349" y="11644"/>
                </a:moveTo>
                <a:cubicBezTo>
                  <a:pt x="12320" y="11644"/>
                  <a:pt x="12296" y="11694"/>
                  <a:pt x="12296" y="11757"/>
                </a:cubicBezTo>
                <a:cubicBezTo>
                  <a:pt x="12296" y="11819"/>
                  <a:pt x="12320" y="11870"/>
                  <a:pt x="12349" y="11870"/>
                </a:cubicBezTo>
                <a:cubicBezTo>
                  <a:pt x="12379" y="11870"/>
                  <a:pt x="12403" y="11819"/>
                  <a:pt x="12403" y="11757"/>
                </a:cubicBezTo>
                <a:cubicBezTo>
                  <a:pt x="12403" y="11694"/>
                  <a:pt x="12379" y="11644"/>
                  <a:pt x="12349" y="11644"/>
                </a:cubicBezTo>
                <a:close/>
                <a:moveTo>
                  <a:pt x="12349" y="11317"/>
                </a:moveTo>
                <a:cubicBezTo>
                  <a:pt x="12320" y="11317"/>
                  <a:pt x="12296" y="11367"/>
                  <a:pt x="12296" y="11430"/>
                </a:cubicBezTo>
                <a:cubicBezTo>
                  <a:pt x="12296" y="11492"/>
                  <a:pt x="12320" y="11543"/>
                  <a:pt x="12349" y="11543"/>
                </a:cubicBezTo>
                <a:cubicBezTo>
                  <a:pt x="12379" y="11543"/>
                  <a:pt x="12403" y="11492"/>
                  <a:pt x="12403" y="11430"/>
                </a:cubicBezTo>
                <a:cubicBezTo>
                  <a:pt x="12403" y="11367"/>
                  <a:pt x="12379" y="11317"/>
                  <a:pt x="12349" y="11317"/>
                </a:cubicBezTo>
                <a:close/>
                <a:moveTo>
                  <a:pt x="12349" y="10990"/>
                </a:moveTo>
                <a:cubicBezTo>
                  <a:pt x="12320" y="10990"/>
                  <a:pt x="12296" y="11041"/>
                  <a:pt x="12296" y="11103"/>
                </a:cubicBezTo>
                <a:cubicBezTo>
                  <a:pt x="12296" y="11166"/>
                  <a:pt x="12320" y="11216"/>
                  <a:pt x="12349" y="11216"/>
                </a:cubicBezTo>
                <a:cubicBezTo>
                  <a:pt x="12379" y="11216"/>
                  <a:pt x="12403" y="11166"/>
                  <a:pt x="12403" y="11103"/>
                </a:cubicBezTo>
                <a:cubicBezTo>
                  <a:pt x="12403" y="11041"/>
                  <a:pt x="12379" y="10990"/>
                  <a:pt x="12349" y="10990"/>
                </a:cubicBezTo>
                <a:close/>
                <a:moveTo>
                  <a:pt x="12349" y="10353"/>
                </a:moveTo>
                <a:cubicBezTo>
                  <a:pt x="12320" y="10353"/>
                  <a:pt x="12296" y="10404"/>
                  <a:pt x="12296" y="10466"/>
                </a:cubicBezTo>
                <a:cubicBezTo>
                  <a:pt x="12296" y="10529"/>
                  <a:pt x="12320" y="10580"/>
                  <a:pt x="12349" y="10580"/>
                </a:cubicBezTo>
                <a:cubicBezTo>
                  <a:pt x="12379" y="10580"/>
                  <a:pt x="12403" y="10529"/>
                  <a:pt x="12403" y="10466"/>
                </a:cubicBezTo>
                <a:cubicBezTo>
                  <a:pt x="12403" y="10404"/>
                  <a:pt x="12379" y="10353"/>
                  <a:pt x="12349" y="10353"/>
                </a:cubicBezTo>
                <a:close/>
                <a:moveTo>
                  <a:pt x="12187" y="12521"/>
                </a:moveTo>
                <a:cubicBezTo>
                  <a:pt x="12217" y="12521"/>
                  <a:pt x="12241" y="12471"/>
                  <a:pt x="12241" y="12408"/>
                </a:cubicBezTo>
                <a:cubicBezTo>
                  <a:pt x="12241" y="12346"/>
                  <a:pt x="12217" y="12295"/>
                  <a:pt x="12187" y="12295"/>
                </a:cubicBezTo>
                <a:cubicBezTo>
                  <a:pt x="12158" y="12295"/>
                  <a:pt x="12134" y="12346"/>
                  <a:pt x="12134" y="12408"/>
                </a:cubicBezTo>
                <a:cubicBezTo>
                  <a:pt x="12134" y="12471"/>
                  <a:pt x="12158" y="12521"/>
                  <a:pt x="12187" y="12521"/>
                </a:cubicBezTo>
                <a:close/>
                <a:moveTo>
                  <a:pt x="12187" y="12197"/>
                </a:moveTo>
                <a:cubicBezTo>
                  <a:pt x="12217" y="12197"/>
                  <a:pt x="12241" y="12146"/>
                  <a:pt x="12241" y="12084"/>
                </a:cubicBezTo>
                <a:cubicBezTo>
                  <a:pt x="12241" y="12021"/>
                  <a:pt x="12217" y="11971"/>
                  <a:pt x="12187" y="11971"/>
                </a:cubicBezTo>
                <a:cubicBezTo>
                  <a:pt x="12158" y="11971"/>
                  <a:pt x="12134" y="12021"/>
                  <a:pt x="12134" y="12084"/>
                </a:cubicBezTo>
                <a:cubicBezTo>
                  <a:pt x="12134" y="12146"/>
                  <a:pt x="12158" y="12197"/>
                  <a:pt x="12187" y="12197"/>
                </a:cubicBezTo>
                <a:close/>
                <a:moveTo>
                  <a:pt x="12187" y="11870"/>
                </a:moveTo>
                <a:cubicBezTo>
                  <a:pt x="12217" y="11870"/>
                  <a:pt x="12241" y="11819"/>
                  <a:pt x="12241" y="11757"/>
                </a:cubicBezTo>
                <a:cubicBezTo>
                  <a:pt x="12241" y="11694"/>
                  <a:pt x="12217" y="11644"/>
                  <a:pt x="12187" y="11644"/>
                </a:cubicBezTo>
                <a:cubicBezTo>
                  <a:pt x="12158" y="11644"/>
                  <a:pt x="12134" y="11694"/>
                  <a:pt x="12134" y="11757"/>
                </a:cubicBezTo>
                <a:cubicBezTo>
                  <a:pt x="12134" y="11819"/>
                  <a:pt x="12158" y="11870"/>
                  <a:pt x="12187" y="11870"/>
                </a:cubicBezTo>
                <a:close/>
                <a:moveTo>
                  <a:pt x="12187" y="11543"/>
                </a:moveTo>
                <a:cubicBezTo>
                  <a:pt x="12217" y="11543"/>
                  <a:pt x="12241" y="11492"/>
                  <a:pt x="12241" y="11430"/>
                </a:cubicBezTo>
                <a:cubicBezTo>
                  <a:pt x="12241" y="11367"/>
                  <a:pt x="12217" y="11317"/>
                  <a:pt x="12187" y="11317"/>
                </a:cubicBezTo>
                <a:cubicBezTo>
                  <a:pt x="12158" y="11317"/>
                  <a:pt x="12134" y="11367"/>
                  <a:pt x="12134" y="11430"/>
                </a:cubicBezTo>
                <a:cubicBezTo>
                  <a:pt x="12134" y="11492"/>
                  <a:pt x="12158" y="11543"/>
                  <a:pt x="12187" y="11543"/>
                </a:cubicBezTo>
                <a:close/>
                <a:moveTo>
                  <a:pt x="12187" y="11216"/>
                </a:moveTo>
                <a:cubicBezTo>
                  <a:pt x="12217" y="11216"/>
                  <a:pt x="12241" y="11166"/>
                  <a:pt x="12241" y="11103"/>
                </a:cubicBezTo>
                <a:cubicBezTo>
                  <a:pt x="12241" y="11041"/>
                  <a:pt x="12217" y="10990"/>
                  <a:pt x="12187" y="10990"/>
                </a:cubicBezTo>
                <a:cubicBezTo>
                  <a:pt x="12158" y="10990"/>
                  <a:pt x="12134" y="11041"/>
                  <a:pt x="12134" y="11103"/>
                </a:cubicBezTo>
                <a:cubicBezTo>
                  <a:pt x="12134" y="11166"/>
                  <a:pt x="12158" y="11216"/>
                  <a:pt x="12187" y="11216"/>
                </a:cubicBezTo>
                <a:close/>
                <a:moveTo>
                  <a:pt x="12187" y="10580"/>
                </a:moveTo>
                <a:cubicBezTo>
                  <a:pt x="12217" y="10580"/>
                  <a:pt x="12241" y="10529"/>
                  <a:pt x="12241" y="10466"/>
                </a:cubicBezTo>
                <a:cubicBezTo>
                  <a:pt x="12241" y="10404"/>
                  <a:pt x="12217" y="10353"/>
                  <a:pt x="12187" y="10353"/>
                </a:cubicBezTo>
                <a:cubicBezTo>
                  <a:pt x="12158" y="10353"/>
                  <a:pt x="12134" y="10404"/>
                  <a:pt x="12134" y="10466"/>
                </a:cubicBezTo>
                <a:cubicBezTo>
                  <a:pt x="12134" y="10529"/>
                  <a:pt x="12158" y="10580"/>
                  <a:pt x="12187" y="10580"/>
                </a:cubicBezTo>
                <a:close/>
                <a:moveTo>
                  <a:pt x="12039" y="12622"/>
                </a:moveTo>
                <a:cubicBezTo>
                  <a:pt x="12010" y="12622"/>
                  <a:pt x="11985" y="12673"/>
                  <a:pt x="11985" y="12735"/>
                </a:cubicBezTo>
                <a:cubicBezTo>
                  <a:pt x="11985" y="12798"/>
                  <a:pt x="12010" y="12848"/>
                  <a:pt x="12039" y="12848"/>
                </a:cubicBezTo>
                <a:cubicBezTo>
                  <a:pt x="12069" y="12848"/>
                  <a:pt x="12093" y="12798"/>
                  <a:pt x="12093" y="12735"/>
                </a:cubicBezTo>
                <a:cubicBezTo>
                  <a:pt x="12093" y="12673"/>
                  <a:pt x="12069" y="12622"/>
                  <a:pt x="12039" y="12622"/>
                </a:cubicBezTo>
                <a:close/>
                <a:moveTo>
                  <a:pt x="12039" y="12295"/>
                </a:moveTo>
                <a:cubicBezTo>
                  <a:pt x="12010" y="12295"/>
                  <a:pt x="11985" y="12346"/>
                  <a:pt x="11985" y="12408"/>
                </a:cubicBezTo>
                <a:cubicBezTo>
                  <a:pt x="11985" y="12471"/>
                  <a:pt x="12010" y="12521"/>
                  <a:pt x="12039" y="12521"/>
                </a:cubicBezTo>
                <a:cubicBezTo>
                  <a:pt x="12069" y="12521"/>
                  <a:pt x="12093" y="12471"/>
                  <a:pt x="12093" y="12408"/>
                </a:cubicBezTo>
                <a:cubicBezTo>
                  <a:pt x="12093" y="12346"/>
                  <a:pt x="12069" y="12295"/>
                  <a:pt x="12039" y="12295"/>
                </a:cubicBezTo>
                <a:close/>
                <a:moveTo>
                  <a:pt x="12039" y="11971"/>
                </a:moveTo>
                <a:cubicBezTo>
                  <a:pt x="12010" y="11971"/>
                  <a:pt x="11985" y="12021"/>
                  <a:pt x="11985" y="12084"/>
                </a:cubicBezTo>
                <a:cubicBezTo>
                  <a:pt x="11985" y="12146"/>
                  <a:pt x="12010" y="12197"/>
                  <a:pt x="12039" y="12197"/>
                </a:cubicBezTo>
                <a:cubicBezTo>
                  <a:pt x="12069" y="12197"/>
                  <a:pt x="12093" y="12146"/>
                  <a:pt x="12093" y="12084"/>
                </a:cubicBezTo>
                <a:cubicBezTo>
                  <a:pt x="12093" y="12021"/>
                  <a:pt x="12069" y="11971"/>
                  <a:pt x="12039" y="11971"/>
                </a:cubicBezTo>
                <a:close/>
                <a:moveTo>
                  <a:pt x="12039" y="11644"/>
                </a:moveTo>
                <a:cubicBezTo>
                  <a:pt x="12010" y="11644"/>
                  <a:pt x="11985" y="11694"/>
                  <a:pt x="11985" y="11757"/>
                </a:cubicBezTo>
                <a:cubicBezTo>
                  <a:pt x="11985" y="11819"/>
                  <a:pt x="12010" y="11870"/>
                  <a:pt x="12039" y="11870"/>
                </a:cubicBezTo>
                <a:cubicBezTo>
                  <a:pt x="12069" y="11870"/>
                  <a:pt x="12093" y="11819"/>
                  <a:pt x="12093" y="11757"/>
                </a:cubicBezTo>
                <a:cubicBezTo>
                  <a:pt x="12093" y="11694"/>
                  <a:pt x="12069" y="11644"/>
                  <a:pt x="12039" y="11644"/>
                </a:cubicBezTo>
                <a:close/>
                <a:moveTo>
                  <a:pt x="12039" y="11317"/>
                </a:moveTo>
                <a:cubicBezTo>
                  <a:pt x="12010" y="11317"/>
                  <a:pt x="11985" y="11367"/>
                  <a:pt x="11985" y="11430"/>
                </a:cubicBezTo>
                <a:cubicBezTo>
                  <a:pt x="11985" y="11492"/>
                  <a:pt x="12010" y="11543"/>
                  <a:pt x="12039" y="11543"/>
                </a:cubicBezTo>
                <a:cubicBezTo>
                  <a:pt x="12069" y="11543"/>
                  <a:pt x="12093" y="11492"/>
                  <a:pt x="12093" y="11430"/>
                </a:cubicBezTo>
                <a:cubicBezTo>
                  <a:pt x="12093" y="11367"/>
                  <a:pt x="12069" y="11317"/>
                  <a:pt x="12039" y="11317"/>
                </a:cubicBezTo>
                <a:close/>
                <a:moveTo>
                  <a:pt x="12039" y="10990"/>
                </a:moveTo>
                <a:cubicBezTo>
                  <a:pt x="12010" y="10990"/>
                  <a:pt x="11985" y="11041"/>
                  <a:pt x="11985" y="11103"/>
                </a:cubicBezTo>
                <a:cubicBezTo>
                  <a:pt x="11985" y="11166"/>
                  <a:pt x="12010" y="11216"/>
                  <a:pt x="12039" y="11216"/>
                </a:cubicBezTo>
                <a:cubicBezTo>
                  <a:pt x="12069" y="11216"/>
                  <a:pt x="12093" y="11166"/>
                  <a:pt x="12093" y="11103"/>
                </a:cubicBezTo>
                <a:cubicBezTo>
                  <a:pt x="12093" y="11041"/>
                  <a:pt x="12069" y="10990"/>
                  <a:pt x="12039" y="10990"/>
                </a:cubicBezTo>
                <a:close/>
                <a:moveTo>
                  <a:pt x="12039" y="10680"/>
                </a:moveTo>
                <a:cubicBezTo>
                  <a:pt x="12010" y="10680"/>
                  <a:pt x="11985" y="10731"/>
                  <a:pt x="11985" y="10793"/>
                </a:cubicBezTo>
                <a:cubicBezTo>
                  <a:pt x="11985" y="10856"/>
                  <a:pt x="12010" y="10906"/>
                  <a:pt x="12039" y="10906"/>
                </a:cubicBezTo>
                <a:cubicBezTo>
                  <a:pt x="12069" y="10906"/>
                  <a:pt x="12093" y="10856"/>
                  <a:pt x="12093" y="10793"/>
                </a:cubicBezTo>
                <a:cubicBezTo>
                  <a:pt x="12093" y="10731"/>
                  <a:pt x="12069" y="10680"/>
                  <a:pt x="12039" y="10680"/>
                </a:cubicBezTo>
                <a:close/>
                <a:moveTo>
                  <a:pt x="12039" y="10353"/>
                </a:moveTo>
                <a:cubicBezTo>
                  <a:pt x="12010" y="10353"/>
                  <a:pt x="11985" y="10404"/>
                  <a:pt x="11985" y="10466"/>
                </a:cubicBezTo>
                <a:cubicBezTo>
                  <a:pt x="11985" y="10529"/>
                  <a:pt x="12010" y="10580"/>
                  <a:pt x="12039" y="10580"/>
                </a:cubicBezTo>
                <a:cubicBezTo>
                  <a:pt x="12069" y="10580"/>
                  <a:pt x="12093" y="10529"/>
                  <a:pt x="12093" y="10466"/>
                </a:cubicBezTo>
                <a:cubicBezTo>
                  <a:pt x="12093" y="10404"/>
                  <a:pt x="12069" y="10353"/>
                  <a:pt x="12039" y="10353"/>
                </a:cubicBezTo>
                <a:close/>
                <a:moveTo>
                  <a:pt x="11884" y="12949"/>
                </a:moveTo>
                <a:cubicBezTo>
                  <a:pt x="11855" y="12949"/>
                  <a:pt x="11830" y="13000"/>
                  <a:pt x="11830" y="13062"/>
                </a:cubicBezTo>
                <a:cubicBezTo>
                  <a:pt x="11830" y="13125"/>
                  <a:pt x="11855" y="13175"/>
                  <a:pt x="11884" y="13175"/>
                </a:cubicBezTo>
                <a:cubicBezTo>
                  <a:pt x="11914" y="13175"/>
                  <a:pt x="11938" y="13125"/>
                  <a:pt x="11938" y="13062"/>
                </a:cubicBezTo>
                <a:cubicBezTo>
                  <a:pt x="11938" y="13000"/>
                  <a:pt x="11914" y="12949"/>
                  <a:pt x="11884" y="12949"/>
                </a:cubicBezTo>
                <a:close/>
                <a:moveTo>
                  <a:pt x="11884" y="12622"/>
                </a:moveTo>
                <a:cubicBezTo>
                  <a:pt x="11855" y="12622"/>
                  <a:pt x="11830" y="12673"/>
                  <a:pt x="11830" y="12735"/>
                </a:cubicBezTo>
                <a:cubicBezTo>
                  <a:pt x="11830" y="12798"/>
                  <a:pt x="11855" y="12848"/>
                  <a:pt x="11884" y="12848"/>
                </a:cubicBezTo>
                <a:cubicBezTo>
                  <a:pt x="11914" y="12848"/>
                  <a:pt x="11938" y="12798"/>
                  <a:pt x="11938" y="12735"/>
                </a:cubicBezTo>
                <a:cubicBezTo>
                  <a:pt x="11938" y="12673"/>
                  <a:pt x="11914" y="12622"/>
                  <a:pt x="11884" y="12622"/>
                </a:cubicBezTo>
                <a:close/>
                <a:moveTo>
                  <a:pt x="11884" y="12295"/>
                </a:moveTo>
                <a:cubicBezTo>
                  <a:pt x="11855" y="12295"/>
                  <a:pt x="11830" y="12346"/>
                  <a:pt x="11830" y="12408"/>
                </a:cubicBezTo>
                <a:cubicBezTo>
                  <a:pt x="11830" y="12471"/>
                  <a:pt x="11855" y="12521"/>
                  <a:pt x="11884" y="12521"/>
                </a:cubicBezTo>
                <a:cubicBezTo>
                  <a:pt x="11914" y="12521"/>
                  <a:pt x="11938" y="12471"/>
                  <a:pt x="11938" y="12408"/>
                </a:cubicBezTo>
                <a:cubicBezTo>
                  <a:pt x="11938" y="12346"/>
                  <a:pt x="11914" y="12295"/>
                  <a:pt x="11884" y="12295"/>
                </a:cubicBezTo>
                <a:close/>
                <a:moveTo>
                  <a:pt x="11884" y="11971"/>
                </a:moveTo>
                <a:cubicBezTo>
                  <a:pt x="11855" y="11971"/>
                  <a:pt x="11830" y="12021"/>
                  <a:pt x="11830" y="12084"/>
                </a:cubicBezTo>
                <a:cubicBezTo>
                  <a:pt x="11830" y="12146"/>
                  <a:pt x="11855" y="12197"/>
                  <a:pt x="11884" y="12197"/>
                </a:cubicBezTo>
                <a:cubicBezTo>
                  <a:pt x="11914" y="12197"/>
                  <a:pt x="11938" y="12146"/>
                  <a:pt x="11938" y="12084"/>
                </a:cubicBezTo>
                <a:cubicBezTo>
                  <a:pt x="11938" y="12021"/>
                  <a:pt x="11914" y="11971"/>
                  <a:pt x="11884" y="11971"/>
                </a:cubicBezTo>
                <a:close/>
                <a:moveTo>
                  <a:pt x="11884" y="11644"/>
                </a:moveTo>
                <a:cubicBezTo>
                  <a:pt x="11855" y="11644"/>
                  <a:pt x="11830" y="11694"/>
                  <a:pt x="11830" y="11757"/>
                </a:cubicBezTo>
                <a:cubicBezTo>
                  <a:pt x="11830" y="11819"/>
                  <a:pt x="11855" y="11870"/>
                  <a:pt x="11884" y="11870"/>
                </a:cubicBezTo>
                <a:cubicBezTo>
                  <a:pt x="11914" y="11870"/>
                  <a:pt x="11938" y="11819"/>
                  <a:pt x="11938" y="11757"/>
                </a:cubicBezTo>
                <a:cubicBezTo>
                  <a:pt x="11938" y="11694"/>
                  <a:pt x="11914" y="11644"/>
                  <a:pt x="11884" y="11644"/>
                </a:cubicBezTo>
                <a:close/>
                <a:moveTo>
                  <a:pt x="11884" y="11317"/>
                </a:moveTo>
                <a:cubicBezTo>
                  <a:pt x="11855" y="11317"/>
                  <a:pt x="11830" y="11367"/>
                  <a:pt x="11830" y="11430"/>
                </a:cubicBezTo>
                <a:cubicBezTo>
                  <a:pt x="11830" y="11492"/>
                  <a:pt x="11855" y="11543"/>
                  <a:pt x="11884" y="11543"/>
                </a:cubicBezTo>
                <a:cubicBezTo>
                  <a:pt x="11914" y="11543"/>
                  <a:pt x="11938" y="11492"/>
                  <a:pt x="11938" y="11430"/>
                </a:cubicBezTo>
                <a:cubicBezTo>
                  <a:pt x="11938" y="11367"/>
                  <a:pt x="11914" y="11317"/>
                  <a:pt x="11884" y="11317"/>
                </a:cubicBezTo>
                <a:close/>
                <a:moveTo>
                  <a:pt x="11884" y="10990"/>
                </a:moveTo>
                <a:cubicBezTo>
                  <a:pt x="11855" y="10990"/>
                  <a:pt x="11830" y="11041"/>
                  <a:pt x="11830" y="11103"/>
                </a:cubicBezTo>
                <a:cubicBezTo>
                  <a:pt x="11830" y="11166"/>
                  <a:pt x="11855" y="11216"/>
                  <a:pt x="11884" y="11216"/>
                </a:cubicBezTo>
                <a:cubicBezTo>
                  <a:pt x="11914" y="11216"/>
                  <a:pt x="11938" y="11166"/>
                  <a:pt x="11938" y="11103"/>
                </a:cubicBezTo>
                <a:cubicBezTo>
                  <a:pt x="11938" y="11041"/>
                  <a:pt x="11914" y="10990"/>
                  <a:pt x="11884" y="10990"/>
                </a:cubicBezTo>
                <a:close/>
                <a:moveTo>
                  <a:pt x="11884" y="10680"/>
                </a:moveTo>
                <a:cubicBezTo>
                  <a:pt x="11855" y="10680"/>
                  <a:pt x="11830" y="10731"/>
                  <a:pt x="11830" y="10793"/>
                </a:cubicBezTo>
                <a:cubicBezTo>
                  <a:pt x="11830" y="10856"/>
                  <a:pt x="11855" y="10906"/>
                  <a:pt x="11884" y="10906"/>
                </a:cubicBezTo>
                <a:cubicBezTo>
                  <a:pt x="11914" y="10906"/>
                  <a:pt x="11938" y="10856"/>
                  <a:pt x="11938" y="10793"/>
                </a:cubicBezTo>
                <a:cubicBezTo>
                  <a:pt x="11938" y="10731"/>
                  <a:pt x="11914" y="10680"/>
                  <a:pt x="11884" y="10680"/>
                </a:cubicBezTo>
                <a:close/>
                <a:moveTo>
                  <a:pt x="11884" y="10353"/>
                </a:moveTo>
                <a:cubicBezTo>
                  <a:pt x="11855" y="10353"/>
                  <a:pt x="11830" y="10404"/>
                  <a:pt x="11830" y="10466"/>
                </a:cubicBezTo>
                <a:cubicBezTo>
                  <a:pt x="11830" y="10529"/>
                  <a:pt x="11855" y="10580"/>
                  <a:pt x="11884" y="10580"/>
                </a:cubicBezTo>
                <a:cubicBezTo>
                  <a:pt x="11914" y="10580"/>
                  <a:pt x="11938" y="10529"/>
                  <a:pt x="11938" y="10466"/>
                </a:cubicBezTo>
                <a:cubicBezTo>
                  <a:pt x="11938" y="10404"/>
                  <a:pt x="11914" y="10353"/>
                  <a:pt x="11884" y="10353"/>
                </a:cubicBezTo>
                <a:close/>
                <a:moveTo>
                  <a:pt x="11736" y="15218"/>
                </a:moveTo>
                <a:cubicBezTo>
                  <a:pt x="11707" y="15218"/>
                  <a:pt x="11682" y="15268"/>
                  <a:pt x="11682" y="15331"/>
                </a:cubicBezTo>
                <a:cubicBezTo>
                  <a:pt x="11682" y="15393"/>
                  <a:pt x="11707" y="15444"/>
                  <a:pt x="11736" y="15444"/>
                </a:cubicBezTo>
                <a:cubicBezTo>
                  <a:pt x="11766" y="15444"/>
                  <a:pt x="11790" y="15393"/>
                  <a:pt x="11790" y="15331"/>
                </a:cubicBezTo>
                <a:cubicBezTo>
                  <a:pt x="11790" y="15268"/>
                  <a:pt x="11766" y="15218"/>
                  <a:pt x="11736" y="15218"/>
                </a:cubicBezTo>
                <a:close/>
                <a:moveTo>
                  <a:pt x="11736" y="14891"/>
                </a:moveTo>
                <a:cubicBezTo>
                  <a:pt x="11707" y="14891"/>
                  <a:pt x="11682" y="14941"/>
                  <a:pt x="11682" y="15004"/>
                </a:cubicBezTo>
                <a:cubicBezTo>
                  <a:pt x="11682" y="15066"/>
                  <a:pt x="11707" y="15117"/>
                  <a:pt x="11736" y="15117"/>
                </a:cubicBezTo>
                <a:cubicBezTo>
                  <a:pt x="11766" y="15117"/>
                  <a:pt x="11790" y="15066"/>
                  <a:pt x="11790" y="15004"/>
                </a:cubicBezTo>
                <a:cubicBezTo>
                  <a:pt x="11790" y="14941"/>
                  <a:pt x="11766" y="14891"/>
                  <a:pt x="11736" y="14891"/>
                </a:cubicBezTo>
                <a:close/>
                <a:moveTo>
                  <a:pt x="11736" y="14581"/>
                </a:moveTo>
                <a:cubicBezTo>
                  <a:pt x="11707" y="14581"/>
                  <a:pt x="11682" y="14632"/>
                  <a:pt x="11682" y="14694"/>
                </a:cubicBezTo>
                <a:cubicBezTo>
                  <a:pt x="11682" y="14757"/>
                  <a:pt x="11707" y="14807"/>
                  <a:pt x="11736" y="14807"/>
                </a:cubicBezTo>
                <a:cubicBezTo>
                  <a:pt x="11766" y="14807"/>
                  <a:pt x="11790" y="14757"/>
                  <a:pt x="11790" y="14694"/>
                </a:cubicBezTo>
                <a:cubicBezTo>
                  <a:pt x="11790" y="14632"/>
                  <a:pt x="11766" y="14581"/>
                  <a:pt x="11736" y="14581"/>
                </a:cubicBezTo>
                <a:close/>
                <a:moveTo>
                  <a:pt x="11736" y="14254"/>
                </a:moveTo>
                <a:cubicBezTo>
                  <a:pt x="11707" y="14254"/>
                  <a:pt x="11682" y="14305"/>
                  <a:pt x="11682" y="14367"/>
                </a:cubicBezTo>
                <a:cubicBezTo>
                  <a:pt x="11682" y="14430"/>
                  <a:pt x="11707" y="14480"/>
                  <a:pt x="11736" y="14480"/>
                </a:cubicBezTo>
                <a:cubicBezTo>
                  <a:pt x="11766" y="14480"/>
                  <a:pt x="11790" y="14430"/>
                  <a:pt x="11790" y="14367"/>
                </a:cubicBezTo>
                <a:cubicBezTo>
                  <a:pt x="11790" y="14305"/>
                  <a:pt x="11766" y="14254"/>
                  <a:pt x="11736" y="14254"/>
                </a:cubicBezTo>
                <a:close/>
                <a:moveTo>
                  <a:pt x="11736" y="13927"/>
                </a:moveTo>
                <a:cubicBezTo>
                  <a:pt x="11707" y="13927"/>
                  <a:pt x="11682" y="13978"/>
                  <a:pt x="11682" y="14040"/>
                </a:cubicBezTo>
                <a:cubicBezTo>
                  <a:pt x="11682" y="14103"/>
                  <a:pt x="11707" y="14154"/>
                  <a:pt x="11736" y="14154"/>
                </a:cubicBezTo>
                <a:cubicBezTo>
                  <a:pt x="11766" y="14154"/>
                  <a:pt x="11790" y="14103"/>
                  <a:pt x="11790" y="14040"/>
                </a:cubicBezTo>
                <a:cubicBezTo>
                  <a:pt x="11790" y="13978"/>
                  <a:pt x="11766" y="13927"/>
                  <a:pt x="11736" y="13927"/>
                </a:cubicBezTo>
                <a:close/>
                <a:moveTo>
                  <a:pt x="11736" y="13600"/>
                </a:moveTo>
                <a:cubicBezTo>
                  <a:pt x="11707" y="13600"/>
                  <a:pt x="11682" y="13651"/>
                  <a:pt x="11682" y="13714"/>
                </a:cubicBezTo>
                <a:cubicBezTo>
                  <a:pt x="11682" y="13776"/>
                  <a:pt x="11707" y="13827"/>
                  <a:pt x="11736" y="13827"/>
                </a:cubicBezTo>
                <a:cubicBezTo>
                  <a:pt x="11766" y="13827"/>
                  <a:pt x="11790" y="13776"/>
                  <a:pt x="11790" y="13714"/>
                </a:cubicBezTo>
                <a:cubicBezTo>
                  <a:pt x="11790" y="13651"/>
                  <a:pt x="11766" y="13600"/>
                  <a:pt x="11736" y="13600"/>
                </a:cubicBezTo>
                <a:close/>
                <a:moveTo>
                  <a:pt x="11736" y="13276"/>
                </a:moveTo>
                <a:cubicBezTo>
                  <a:pt x="11707" y="13276"/>
                  <a:pt x="11682" y="13326"/>
                  <a:pt x="11682" y="13389"/>
                </a:cubicBezTo>
                <a:cubicBezTo>
                  <a:pt x="11682" y="13451"/>
                  <a:pt x="11707" y="13502"/>
                  <a:pt x="11736" y="13502"/>
                </a:cubicBezTo>
                <a:cubicBezTo>
                  <a:pt x="11766" y="13502"/>
                  <a:pt x="11790" y="13451"/>
                  <a:pt x="11790" y="13389"/>
                </a:cubicBezTo>
                <a:cubicBezTo>
                  <a:pt x="11790" y="13326"/>
                  <a:pt x="11766" y="13276"/>
                  <a:pt x="11736" y="13276"/>
                </a:cubicBezTo>
                <a:close/>
                <a:moveTo>
                  <a:pt x="11736" y="12949"/>
                </a:moveTo>
                <a:cubicBezTo>
                  <a:pt x="11707" y="12949"/>
                  <a:pt x="11682" y="13000"/>
                  <a:pt x="11682" y="13062"/>
                </a:cubicBezTo>
                <a:cubicBezTo>
                  <a:pt x="11682" y="13125"/>
                  <a:pt x="11707" y="13175"/>
                  <a:pt x="11736" y="13175"/>
                </a:cubicBezTo>
                <a:cubicBezTo>
                  <a:pt x="11766" y="13175"/>
                  <a:pt x="11790" y="13125"/>
                  <a:pt x="11790" y="13062"/>
                </a:cubicBezTo>
                <a:cubicBezTo>
                  <a:pt x="11790" y="13000"/>
                  <a:pt x="11766" y="12949"/>
                  <a:pt x="11736" y="12949"/>
                </a:cubicBezTo>
                <a:close/>
                <a:moveTo>
                  <a:pt x="11736" y="12622"/>
                </a:moveTo>
                <a:cubicBezTo>
                  <a:pt x="11707" y="12622"/>
                  <a:pt x="11682" y="12673"/>
                  <a:pt x="11682" y="12735"/>
                </a:cubicBezTo>
                <a:cubicBezTo>
                  <a:pt x="11682" y="12798"/>
                  <a:pt x="11707" y="12848"/>
                  <a:pt x="11736" y="12848"/>
                </a:cubicBezTo>
                <a:cubicBezTo>
                  <a:pt x="11766" y="12848"/>
                  <a:pt x="11790" y="12798"/>
                  <a:pt x="11790" y="12735"/>
                </a:cubicBezTo>
                <a:cubicBezTo>
                  <a:pt x="11790" y="12673"/>
                  <a:pt x="11766" y="12622"/>
                  <a:pt x="11736" y="12622"/>
                </a:cubicBezTo>
                <a:close/>
                <a:moveTo>
                  <a:pt x="11736" y="12295"/>
                </a:moveTo>
                <a:cubicBezTo>
                  <a:pt x="11707" y="12295"/>
                  <a:pt x="11682" y="12346"/>
                  <a:pt x="11682" y="12408"/>
                </a:cubicBezTo>
                <a:cubicBezTo>
                  <a:pt x="11682" y="12471"/>
                  <a:pt x="11707" y="12521"/>
                  <a:pt x="11736" y="12521"/>
                </a:cubicBezTo>
                <a:cubicBezTo>
                  <a:pt x="11766" y="12521"/>
                  <a:pt x="11790" y="12471"/>
                  <a:pt x="11790" y="12408"/>
                </a:cubicBezTo>
                <a:cubicBezTo>
                  <a:pt x="11790" y="12346"/>
                  <a:pt x="11766" y="12295"/>
                  <a:pt x="11736" y="12295"/>
                </a:cubicBezTo>
                <a:close/>
                <a:moveTo>
                  <a:pt x="11736" y="11971"/>
                </a:moveTo>
                <a:cubicBezTo>
                  <a:pt x="11707" y="11971"/>
                  <a:pt x="11682" y="12021"/>
                  <a:pt x="11682" y="12084"/>
                </a:cubicBezTo>
                <a:cubicBezTo>
                  <a:pt x="11682" y="12146"/>
                  <a:pt x="11707" y="12197"/>
                  <a:pt x="11736" y="12197"/>
                </a:cubicBezTo>
                <a:cubicBezTo>
                  <a:pt x="11766" y="12197"/>
                  <a:pt x="11790" y="12146"/>
                  <a:pt x="11790" y="12084"/>
                </a:cubicBezTo>
                <a:cubicBezTo>
                  <a:pt x="11790" y="12021"/>
                  <a:pt x="11766" y="11971"/>
                  <a:pt x="11736" y="11971"/>
                </a:cubicBezTo>
                <a:close/>
                <a:moveTo>
                  <a:pt x="11736" y="11644"/>
                </a:moveTo>
                <a:cubicBezTo>
                  <a:pt x="11707" y="11644"/>
                  <a:pt x="11682" y="11694"/>
                  <a:pt x="11682" y="11757"/>
                </a:cubicBezTo>
                <a:cubicBezTo>
                  <a:pt x="11682" y="11819"/>
                  <a:pt x="11707" y="11870"/>
                  <a:pt x="11736" y="11870"/>
                </a:cubicBezTo>
                <a:cubicBezTo>
                  <a:pt x="11766" y="11870"/>
                  <a:pt x="11790" y="11819"/>
                  <a:pt x="11790" y="11757"/>
                </a:cubicBezTo>
                <a:cubicBezTo>
                  <a:pt x="11790" y="11694"/>
                  <a:pt x="11766" y="11644"/>
                  <a:pt x="11736" y="11644"/>
                </a:cubicBezTo>
                <a:close/>
                <a:moveTo>
                  <a:pt x="11736" y="11317"/>
                </a:moveTo>
                <a:cubicBezTo>
                  <a:pt x="11707" y="11317"/>
                  <a:pt x="11682" y="11367"/>
                  <a:pt x="11682" y="11430"/>
                </a:cubicBezTo>
                <a:cubicBezTo>
                  <a:pt x="11682" y="11492"/>
                  <a:pt x="11707" y="11543"/>
                  <a:pt x="11736" y="11543"/>
                </a:cubicBezTo>
                <a:cubicBezTo>
                  <a:pt x="11766" y="11543"/>
                  <a:pt x="11790" y="11492"/>
                  <a:pt x="11790" y="11430"/>
                </a:cubicBezTo>
                <a:cubicBezTo>
                  <a:pt x="11790" y="11367"/>
                  <a:pt x="11766" y="11317"/>
                  <a:pt x="11736" y="11317"/>
                </a:cubicBezTo>
                <a:close/>
                <a:moveTo>
                  <a:pt x="11736" y="10990"/>
                </a:moveTo>
                <a:cubicBezTo>
                  <a:pt x="11707" y="10990"/>
                  <a:pt x="11682" y="11041"/>
                  <a:pt x="11682" y="11103"/>
                </a:cubicBezTo>
                <a:cubicBezTo>
                  <a:pt x="11682" y="11166"/>
                  <a:pt x="11707" y="11216"/>
                  <a:pt x="11736" y="11216"/>
                </a:cubicBezTo>
                <a:cubicBezTo>
                  <a:pt x="11766" y="11216"/>
                  <a:pt x="11790" y="11166"/>
                  <a:pt x="11790" y="11103"/>
                </a:cubicBezTo>
                <a:cubicBezTo>
                  <a:pt x="11790" y="11041"/>
                  <a:pt x="11766" y="10990"/>
                  <a:pt x="11736" y="10990"/>
                </a:cubicBezTo>
                <a:close/>
                <a:moveTo>
                  <a:pt x="11736" y="10680"/>
                </a:moveTo>
                <a:cubicBezTo>
                  <a:pt x="11707" y="10680"/>
                  <a:pt x="11682" y="10731"/>
                  <a:pt x="11682" y="10793"/>
                </a:cubicBezTo>
                <a:cubicBezTo>
                  <a:pt x="11682" y="10856"/>
                  <a:pt x="11707" y="10906"/>
                  <a:pt x="11736" y="10906"/>
                </a:cubicBezTo>
                <a:cubicBezTo>
                  <a:pt x="11766" y="10906"/>
                  <a:pt x="11790" y="10856"/>
                  <a:pt x="11790" y="10793"/>
                </a:cubicBezTo>
                <a:cubicBezTo>
                  <a:pt x="11790" y="10731"/>
                  <a:pt x="11766" y="10680"/>
                  <a:pt x="11736" y="10680"/>
                </a:cubicBezTo>
                <a:close/>
                <a:moveTo>
                  <a:pt x="11736" y="10353"/>
                </a:moveTo>
                <a:cubicBezTo>
                  <a:pt x="11707" y="10353"/>
                  <a:pt x="11682" y="10404"/>
                  <a:pt x="11682" y="10466"/>
                </a:cubicBezTo>
                <a:cubicBezTo>
                  <a:pt x="11682" y="10529"/>
                  <a:pt x="11707" y="10580"/>
                  <a:pt x="11736" y="10580"/>
                </a:cubicBezTo>
                <a:cubicBezTo>
                  <a:pt x="11766" y="10580"/>
                  <a:pt x="11790" y="10529"/>
                  <a:pt x="11790" y="10466"/>
                </a:cubicBezTo>
                <a:cubicBezTo>
                  <a:pt x="11790" y="10404"/>
                  <a:pt x="11766" y="10353"/>
                  <a:pt x="11736" y="10353"/>
                </a:cubicBezTo>
                <a:close/>
                <a:moveTo>
                  <a:pt x="11428" y="4445"/>
                </a:moveTo>
                <a:cubicBezTo>
                  <a:pt x="11458" y="4445"/>
                  <a:pt x="11482" y="4395"/>
                  <a:pt x="11482" y="4332"/>
                </a:cubicBezTo>
                <a:cubicBezTo>
                  <a:pt x="11482" y="4270"/>
                  <a:pt x="11458" y="4219"/>
                  <a:pt x="11428" y="4219"/>
                </a:cubicBezTo>
                <a:cubicBezTo>
                  <a:pt x="11399" y="4219"/>
                  <a:pt x="11375" y="4270"/>
                  <a:pt x="11375" y="4332"/>
                </a:cubicBezTo>
                <a:cubicBezTo>
                  <a:pt x="11375" y="4395"/>
                  <a:pt x="11399" y="4445"/>
                  <a:pt x="11428" y="4445"/>
                </a:cubicBezTo>
                <a:close/>
                <a:moveTo>
                  <a:pt x="14648" y="4109"/>
                </a:moveTo>
                <a:cubicBezTo>
                  <a:pt x="14677" y="4109"/>
                  <a:pt x="14701" y="4059"/>
                  <a:pt x="14701" y="3996"/>
                </a:cubicBezTo>
                <a:cubicBezTo>
                  <a:pt x="14701" y="3934"/>
                  <a:pt x="14677" y="3883"/>
                  <a:pt x="14648" y="3883"/>
                </a:cubicBezTo>
                <a:cubicBezTo>
                  <a:pt x="14618" y="3883"/>
                  <a:pt x="14594" y="3934"/>
                  <a:pt x="14594" y="3996"/>
                </a:cubicBezTo>
                <a:cubicBezTo>
                  <a:pt x="14594" y="4059"/>
                  <a:pt x="14618" y="4109"/>
                  <a:pt x="14648" y="4109"/>
                </a:cubicBezTo>
                <a:close/>
                <a:moveTo>
                  <a:pt x="14494" y="4109"/>
                </a:moveTo>
                <a:cubicBezTo>
                  <a:pt x="14523" y="4109"/>
                  <a:pt x="14547" y="4059"/>
                  <a:pt x="14547" y="3996"/>
                </a:cubicBezTo>
                <a:cubicBezTo>
                  <a:pt x="14547" y="3934"/>
                  <a:pt x="14523" y="3883"/>
                  <a:pt x="14494" y="3883"/>
                </a:cubicBezTo>
                <a:cubicBezTo>
                  <a:pt x="14464" y="3883"/>
                  <a:pt x="14440" y="3934"/>
                  <a:pt x="14440" y="3996"/>
                </a:cubicBezTo>
                <a:cubicBezTo>
                  <a:pt x="14440" y="4059"/>
                  <a:pt x="14464" y="4109"/>
                  <a:pt x="14494" y="4109"/>
                </a:cubicBezTo>
                <a:close/>
                <a:moveTo>
                  <a:pt x="14341" y="4109"/>
                </a:moveTo>
                <a:cubicBezTo>
                  <a:pt x="14371" y="4109"/>
                  <a:pt x="14395" y="4059"/>
                  <a:pt x="14395" y="3996"/>
                </a:cubicBezTo>
                <a:cubicBezTo>
                  <a:pt x="14395" y="3934"/>
                  <a:pt x="14371" y="3883"/>
                  <a:pt x="14341" y="3883"/>
                </a:cubicBezTo>
                <a:cubicBezTo>
                  <a:pt x="14311" y="3883"/>
                  <a:pt x="14287" y="3934"/>
                  <a:pt x="14287" y="3996"/>
                </a:cubicBezTo>
                <a:cubicBezTo>
                  <a:pt x="14287" y="4059"/>
                  <a:pt x="14311" y="4109"/>
                  <a:pt x="14341" y="4109"/>
                </a:cubicBezTo>
                <a:close/>
                <a:moveTo>
                  <a:pt x="14187" y="4109"/>
                </a:moveTo>
                <a:cubicBezTo>
                  <a:pt x="14217" y="4109"/>
                  <a:pt x="14241" y="4059"/>
                  <a:pt x="14241" y="3996"/>
                </a:cubicBezTo>
                <a:cubicBezTo>
                  <a:pt x="14241" y="3934"/>
                  <a:pt x="14217" y="3883"/>
                  <a:pt x="14187" y="3883"/>
                </a:cubicBezTo>
                <a:cubicBezTo>
                  <a:pt x="14158" y="3883"/>
                  <a:pt x="14134" y="3934"/>
                  <a:pt x="14134" y="3996"/>
                </a:cubicBezTo>
                <a:cubicBezTo>
                  <a:pt x="14134" y="4059"/>
                  <a:pt x="14158" y="4109"/>
                  <a:pt x="14187" y="4109"/>
                </a:cubicBezTo>
                <a:close/>
                <a:moveTo>
                  <a:pt x="14035" y="3883"/>
                </a:moveTo>
                <a:cubicBezTo>
                  <a:pt x="14005" y="3883"/>
                  <a:pt x="13981" y="3934"/>
                  <a:pt x="13981" y="3996"/>
                </a:cubicBezTo>
                <a:cubicBezTo>
                  <a:pt x="13981" y="4059"/>
                  <a:pt x="14005" y="4109"/>
                  <a:pt x="14035" y="4109"/>
                </a:cubicBezTo>
                <a:cubicBezTo>
                  <a:pt x="14064" y="4109"/>
                  <a:pt x="14088" y="4059"/>
                  <a:pt x="14088" y="3996"/>
                </a:cubicBezTo>
                <a:cubicBezTo>
                  <a:pt x="14088" y="3934"/>
                  <a:pt x="14064" y="3883"/>
                  <a:pt x="14035" y="3883"/>
                </a:cubicBezTo>
                <a:close/>
                <a:moveTo>
                  <a:pt x="13879" y="4109"/>
                </a:moveTo>
                <a:cubicBezTo>
                  <a:pt x="13909" y="4109"/>
                  <a:pt x="13933" y="4059"/>
                  <a:pt x="13933" y="3996"/>
                </a:cubicBezTo>
                <a:cubicBezTo>
                  <a:pt x="13933" y="3934"/>
                  <a:pt x="13909" y="3883"/>
                  <a:pt x="13879" y="3883"/>
                </a:cubicBezTo>
                <a:cubicBezTo>
                  <a:pt x="13850" y="3883"/>
                  <a:pt x="13826" y="3934"/>
                  <a:pt x="13826" y="3996"/>
                </a:cubicBezTo>
                <a:cubicBezTo>
                  <a:pt x="13826" y="4059"/>
                  <a:pt x="13850" y="4109"/>
                  <a:pt x="13879" y="4109"/>
                </a:cubicBezTo>
                <a:close/>
                <a:moveTo>
                  <a:pt x="13421" y="3883"/>
                </a:moveTo>
                <a:cubicBezTo>
                  <a:pt x="13391" y="3883"/>
                  <a:pt x="13367" y="3934"/>
                  <a:pt x="13367" y="3996"/>
                </a:cubicBezTo>
                <a:cubicBezTo>
                  <a:pt x="13367" y="4059"/>
                  <a:pt x="13391" y="4109"/>
                  <a:pt x="13421" y="4109"/>
                </a:cubicBezTo>
                <a:cubicBezTo>
                  <a:pt x="13451" y="4109"/>
                  <a:pt x="13475" y="4059"/>
                  <a:pt x="13475" y="3996"/>
                </a:cubicBezTo>
                <a:cubicBezTo>
                  <a:pt x="13475" y="3934"/>
                  <a:pt x="13451" y="3883"/>
                  <a:pt x="13421" y="3883"/>
                </a:cubicBezTo>
                <a:close/>
                <a:moveTo>
                  <a:pt x="13111" y="4112"/>
                </a:moveTo>
                <a:cubicBezTo>
                  <a:pt x="13139" y="4112"/>
                  <a:pt x="13161" y="4064"/>
                  <a:pt x="13161" y="4005"/>
                </a:cubicBezTo>
                <a:cubicBezTo>
                  <a:pt x="13161" y="3946"/>
                  <a:pt x="13139" y="3898"/>
                  <a:pt x="13111" y="3898"/>
                </a:cubicBezTo>
                <a:cubicBezTo>
                  <a:pt x="13082" y="3898"/>
                  <a:pt x="13060" y="3946"/>
                  <a:pt x="13060" y="4005"/>
                </a:cubicBezTo>
                <a:cubicBezTo>
                  <a:pt x="13060" y="4064"/>
                  <a:pt x="13082" y="4112"/>
                  <a:pt x="13111" y="4112"/>
                </a:cubicBezTo>
                <a:close/>
                <a:moveTo>
                  <a:pt x="13111" y="4421"/>
                </a:moveTo>
                <a:cubicBezTo>
                  <a:pt x="13139" y="4421"/>
                  <a:pt x="13161" y="4373"/>
                  <a:pt x="13161" y="4314"/>
                </a:cubicBezTo>
                <a:cubicBezTo>
                  <a:pt x="13161" y="4255"/>
                  <a:pt x="13139" y="4207"/>
                  <a:pt x="13111" y="4207"/>
                </a:cubicBezTo>
                <a:cubicBezTo>
                  <a:pt x="13082" y="4207"/>
                  <a:pt x="13060" y="4255"/>
                  <a:pt x="13060" y="4314"/>
                </a:cubicBezTo>
                <a:cubicBezTo>
                  <a:pt x="13060" y="4373"/>
                  <a:pt x="13082" y="4421"/>
                  <a:pt x="13111" y="4421"/>
                </a:cubicBezTo>
                <a:close/>
                <a:moveTo>
                  <a:pt x="13268" y="3898"/>
                </a:moveTo>
                <a:cubicBezTo>
                  <a:pt x="13240" y="3898"/>
                  <a:pt x="13218" y="3946"/>
                  <a:pt x="13218" y="4005"/>
                </a:cubicBezTo>
                <a:cubicBezTo>
                  <a:pt x="13218" y="4064"/>
                  <a:pt x="13240" y="4112"/>
                  <a:pt x="13268" y="4112"/>
                </a:cubicBezTo>
                <a:cubicBezTo>
                  <a:pt x="13297" y="4112"/>
                  <a:pt x="13319" y="4064"/>
                  <a:pt x="13319" y="4005"/>
                </a:cubicBezTo>
                <a:cubicBezTo>
                  <a:pt x="13319" y="3946"/>
                  <a:pt x="13297" y="3898"/>
                  <a:pt x="13268" y="3898"/>
                </a:cubicBezTo>
                <a:close/>
                <a:moveTo>
                  <a:pt x="13421" y="4209"/>
                </a:moveTo>
                <a:cubicBezTo>
                  <a:pt x="13391" y="4209"/>
                  <a:pt x="13367" y="4260"/>
                  <a:pt x="13367" y="4322"/>
                </a:cubicBezTo>
                <a:cubicBezTo>
                  <a:pt x="13367" y="4385"/>
                  <a:pt x="13391" y="4435"/>
                  <a:pt x="13421" y="4435"/>
                </a:cubicBezTo>
                <a:cubicBezTo>
                  <a:pt x="13451" y="4435"/>
                  <a:pt x="13475" y="4385"/>
                  <a:pt x="13475" y="4322"/>
                </a:cubicBezTo>
                <a:cubicBezTo>
                  <a:pt x="13475" y="4260"/>
                  <a:pt x="13451" y="4209"/>
                  <a:pt x="13421" y="4209"/>
                </a:cubicBezTo>
                <a:close/>
                <a:moveTo>
                  <a:pt x="13268" y="4207"/>
                </a:moveTo>
                <a:cubicBezTo>
                  <a:pt x="13240" y="4207"/>
                  <a:pt x="13218" y="4255"/>
                  <a:pt x="13218" y="4314"/>
                </a:cubicBezTo>
                <a:cubicBezTo>
                  <a:pt x="13218" y="4373"/>
                  <a:pt x="13240" y="4421"/>
                  <a:pt x="13268" y="4421"/>
                </a:cubicBezTo>
                <a:cubicBezTo>
                  <a:pt x="13297" y="4421"/>
                  <a:pt x="13319" y="4373"/>
                  <a:pt x="13319" y="4314"/>
                </a:cubicBezTo>
                <a:cubicBezTo>
                  <a:pt x="13319" y="4255"/>
                  <a:pt x="13297" y="4207"/>
                  <a:pt x="13268" y="4207"/>
                </a:cubicBezTo>
                <a:close/>
                <a:moveTo>
                  <a:pt x="13421" y="4517"/>
                </a:moveTo>
                <a:cubicBezTo>
                  <a:pt x="13391" y="4517"/>
                  <a:pt x="13367" y="4568"/>
                  <a:pt x="13367" y="4630"/>
                </a:cubicBezTo>
                <a:cubicBezTo>
                  <a:pt x="13367" y="4693"/>
                  <a:pt x="13391" y="4743"/>
                  <a:pt x="13421" y="4743"/>
                </a:cubicBezTo>
                <a:cubicBezTo>
                  <a:pt x="13451" y="4743"/>
                  <a:pt x="13475" y="4693"/>
                  <a:pt x="13475" y="4630"/>
                </a:cubicBezTo>
                <a:cubicBezTo>
                  <a:pt x="13475" y="4568"/>
                  <a:pt x="13451" y="4517"/>
                  <a:pt x="13421" y="4517"/>
                </a:cubicBezTo>
                <a:close/>
                <a:moveTo>
                  <a:pt x="13268" y="4517"/>
                </a:moveTo>
                <a:cubicBezTo>
                  <a:pt x="13239" y="4517"/>
                  <a:pt x="13215" y="4568"/>
                  <a:pt x="13215" y="4630"/>
                </a:cubicBezTo>
                <a:cubicBezTo>
                  <a:pt x="13215" y="4693"/>
                  <a:pt x="13239" y="4743"/>
                  <a:pt x="13268" y="4743"/>
                </a:cubicBezTo>
                <a:cubicBezTo>
                  <a:pt x="13298" y="4743"/>
                  <a:pt x="13322" y="4693"/>
                  <a:pt x="13322" y="4630"/>
                </a:cubicBezTo>
                <a:cubicBezTo>
                  <a:pt x="13322" y="4568"/>
                  <a:pt x="13298" y="4517"/>
                  <a:pt x="13268" y="4517"/>
                </a:cubicBezTo>
                <a:close/>
                <a:moveTo>
                  <a:pt x="13725" y="4109"/>
                </a:moveTo>
                <a:cubicBezTo>
                  <a:pt x="13755" y="4109"/>
                  <a:pt x="13779" y="4059"/>
                  <a:pt x="13779" y="3996"/>
                </a:cubicBezTo>
                <a:cubicBezTo>
                  <a:pt x="13779" y="3934"/>
                  <a:pt x="13755" y="3883"/>
                  <a:pt x="13725" y="3883"/>
                </a:cubicBezTo>
                <a:cubicBezTo>
                  <a:pt x="13696" y="3883"/>
                  <a:pt x="13672" y="3934"/>
                  <a:pt x="13672" y="3996"/>
                </a:cubicBezTo>
                <a:cubicBezTo>
                  <a:pt x="13672" y="4059"/>
                  <a:pt x="13696" y="4109"/>
                  <a:pt x="13725" y="4109"/>
                </a:cubicBezTo>
                <a:close/>
                <a:moveTo>
                  <a:pt x="13573" y="3883"/>
                </a:moveTo>
                <a:cubicBezTo>
                  <a:pt x="13543" y="3883"/>
                  <a:pt x="13519" y="3934"/>
                  <a:pt x="13519" y="3996"/>
                </a:cubicBezTo>
                <a:cubicBezTo>
                  <a:pt x="13519" y="4059"/>
                  <a:pt x="13543" y="4109"/>
                  <a:pt x="13573" y="4109"/>
                </a:cubicBezTo>
                <a:cubicBezTo>
                  <a:pt x="13602" y="4109"/>
                  <a:pt x="13626" y="4059"/>
                  <a:pt x="13626" y="3996"/>
                </a:cubicBezTo>
                <a:cubicBezTo>
                  <a:pt x="13626" y="3934"/>
                  <a:pt x="13602" y="3883"/>
                  <a:pt x="13573" y="3883"/>
                </a:cubicBezTo>
                <a:close/>
                <a:moveTo>
                  <a:pt x="14648" y="4435"/>
                </a:moveTo>
                <a:cubicBezTo>
                  <a:pt x="14677" y="4435"/>
                  <a:pt x="14701" y="4385"/>
                  <a:pt x="14701" y="4322"/>
                </a:cubicBezTo>
                <a:cubicBezTo>
                  <a:pt x="14701" y="4260"/>
                  <a:pt x="14677" y="4209"/>
                  <a:pt x="14648" y="4209"/>
                </a:cubicBezTo>
                <a:cubicBezTo>
                  <a:pt x="14618" y="4209"/>
                  <a:pt x="14594" y="4260"/>
                  <a:pt x="14594" y="4322"/>
                </a:cubicBezTo>
                <a:cubicBezTo>
                  <a:pt x="14594" y="4385"/>
                  <a:pt x="14618" y="4435"/>
                  <a:pt x="14648" y="4435"/>
                </a:cubicBezTo>
                <a:close/>
                <a:moveTo>
                  <a:pt x="14494" y="4435"/>
                </a:moveTo>
                <a:cubicBezTo>
                  <a:pt x="14523" y="4435"/>
                  <a:pt x="14547" y="4385"/>
                  <a:pt x="14547" y="4322"/>
                </a:cubicBezTo>
                <a:cubicBezTo>
                  <a:pt x="14547" y="4260"/>
                  <a:pt x="14523" y="4209"/>
                  <a:pt x="14494" y="4209"/>
                </a:cubicBezTo>
                <a:cubicBezTo>
                  <a:pt x="14464" y="4209"/>
                  <a:pt x="14440" y="4260"/>
                  <a:pt x="14440" y="4322"/>
                </a:cubicBezTo>
                <a:cubicBezTo>
                  <a:pt x="14440" y="4385"/>
                  <a:pt x="14464" y="4435"/>
                  <a:pt x="14494" y="4435"/>
                </a:cubicBezTo>
                <a:close/>
                <a:moveTo>
                  <a:pt x="14341" y="4435"/>
                </a:moveTo>
                <a:cubicBezTo>
                  <a:pt x="14371" y="4435"/>
                  <a:pt x="14395" y="4385"/>
                  <a:pt x="14395" y="4322"/>
                </a:cubicBezTo>
                <a:cubicBezTo>
                  <a:pt x="14395" y="4260"/>
                  <a:pt x="14371" y="4209"/>
                  <a:pt x="14341" y="4209"/>
                </a:cubicBezTo>
                <a:cubicBezTo>
                  <a:pt x="14311" y="4209"/>
                  <a:pt x="14287" y="4260"/>
                  <a:pt x="14287" y="4322"/>
                </a:cubicBezTo>
                <a:cubicBezTo>
                  <a:pt x="14287" y="4385"/>
                  <a:pt x="14311" y="4435"/>
                  <a:pt x="14341" y="4435"/>
                </a:cubicBezTo>
                <a:close/>
                <a:moveTo>
                  <a:pt x="14187" y="4435"/>
                </a:moveTo>
                <a:cubicBezTo>
                  <a:pt x="14217" y="4435"/>
                  <a:pt x="14241" y="4385"/>
                  <a:pt x="14241" y="4322"/>
                </a:cubicBezTo>
                <a:cubicBezTo>
                  <a:pt x="14241" y="4260"/>
                  <a:pt x="14217" y="4209"/>
                  <a:pt x="14187" y="4209"/>
                </a:cubicBezTo>
                <a:cubicBezTo>
                  <a:pt x="14158" y="4209"/>
                  <a:pt x="14134" y="4260"/>
                  <a:pt x="14134" y="4322"/>
                </a:cubicBezTo>
                <a:cubicBezTo>
                  <a:pt x="14134" y="4385"/>
                  <a:pt x="14158" y="4435"/>
                  <a:pt x="14187" y="4435"/>
                </a:cubicBezTo>
                <a:close/>
                <a:moveTo>
                  <a:pt x="14035" y="4209"/>
                </a:moveTo>
                <a:cubicBezTo>
                  <a:pt x="14005" y="4209"/>
                  <a:pt x="13981" y="4260"/>
                  <a:pt x="13981" y="4322"/>
                </a:cubicBezTo>
                <a:cubicBezTo>
                  <a:pt x="13981" y="4385"/>
                  <a:pt x="14005" y="4435"/>
                  <a:pt x="14035" y="4435"/>
                </a:cubicBezTo>
                <a:cubicBezTo>
                  <a:pt x="14064" y="4435"/>
                  <a:pt x="14088" y="4385"/>
                  <a:pt x="14088" y="4322"/>
                </a:cubicBezTo>
                <a:cubicBezTo>
                  <a:pt x="14088" y="4260"/>
                  <a:pt x="14064" y="4209"/>
                  <a:pt x="14035" y="4209"/>
                </a:cubicBezTo>
                <a:close/>
                <a:moveTo>
                  <a:pt x="13879" y="4435"/>
                </a:moveTo>
                <a:cubicBezTo>
                  <a:pt x="13909" y="4435"/>
                  <a:pt x="13933" y="4385"/>
                  <a:pt x="13933" y="4322"/>
                </a:cubicBezTo>
                <a:cubicBezTo>
                  <a:pt x="13933" y="4260"/>
                  <a:pt x="13909" y="4209"/>
                  <a:pt x="13879" y="4209"/>
                </a:cubicBezTo>
                <a:cubicBezTo>
                  <a:pt x="13850" y="4209"/>
                  <a:pt x="13826" y="4260"/>
                  <a:pt x="13826" y="4322"/>
                </a:cubicBezTo>
                <a:cubicBezTo>
                  <a:pt x="13826" y="4385"/>
                  <a:pt x="13850" y="4435"/>
                  <a:pt x="13879" y="4435"/>
                </a:cubicBezTo>
                <a:close/>
                <a:moveTo>
                  <a:pt x="13725" y="4435"/>
                </a:moveTo>
                <a:cubicBezTo>
                  <a:pt x="13755" y="4435"/>
                  <a:pt x="13779" y="4385"/>
                  <a:pt x="13779" y="4322"/>
                </a:cubicBezTo>
                <a:cubicBezTo>
                  <a:pt x="13779" y="4260"/>
                  <a:pt x="13755" y="4209"/>
                  <a:pt x="13725" y="4209"/>
                </a:cubicBezTo>
                <a:cubicBezTo>
                  <a:pt x="13696" y="4209"/>
                  <a:pt x="13672" y="4260"/>
                  <a:pt x="13672" y="4322"/>
                </a:cubicBezTo>
                <a:cubicBezTo>
                  <a:pt x="13672" y="4385"/>
                  <a:pt x="13696" y="4435"/>
                  <a:pt x="13725" y="4435"/>
                </a:cubicBezTo>
                <a:close/>
                <a:moveTo>
                  <a:pt x="13573" y="4209"/>
                </a:moveTo>
                <a:cubicBezTo>
                  <a:pt x="13543" y="4209"/>
                  <a:pt x="13519" y="4260"/>
                  <a:pt x="13519" y="4322"/>
                </a:cubicBezTo>
                <a:cubicBezTo>
                  <a:pt x="13519" y="4385"/>
                  <a:pt x="13543" y="4435"/>
                  <a:pt x="13573" y="4435"/>
                </a:cubicBezTo>
                <a:cubicBezTo>
                  <a:pt x="13602" y="4435"/>
                  <a:pt x="13626" y="4385"/>
                  <a:pt x="13626" y="4322"/>
                </a:cubicBezTo>
                <a:cubicBezTo>
                  <a:pt x="13626" y="4260"/>
                  <a:pt x="13602" y="4209"/>
                  <a:pt x="13573" y="4209"/>
                </a:cubicBezTo>
                <a:close/>
                <a:moveTo>
                  <a:pt x="14803" y="4517"/>
                </a:moveTo>
                <a:cubicBezTo>
                  <a:pt x="14773" y="4517"/>
                  <a:pt x="14749" y="4568"/>
                  <a:pt x="14749" y="4630"/>
                </a:cubicBezTo>
                <a:cubicBezTo>
                  <a:pt x="14749" y="4693"/>
                  <a:pt x="14773" y="4743"/>
                  <a:pt x="14803" y="4743"/>
                </a:cubicBezTo>
                <a:cubicBezTo>
                  <a:pt x="14833" y="4743"/>
                  <a:pt x="14857" y="4693"/>
                  <a:pt x="14857" y="4630"/>
                </a:cubicBezTo>
                <a:cubicBezTo>
                  <a:pt x="14857" y="4568"/>
                  <a:pt x="14833" y="4517"/>
                  <a:pt x="14803" y="4517"/>
                </a:cubicBezTo>
                <a:close/>
                <a:moveTo>
                  <a:pt x="14648" y="4743"/>
                </a:moveTo>
                <a:cubicBezTo>
                  <a:pt x="14677" y="4743"/>
                  <a:pt x="14701" y="4693"/>
                  <a:pt x="14701" y="4630"/>
                </a:cubicBezTo>
                <a:cubicBezTo>
                  <a:pt x="14701" y="4568"/>
                  <a:pt x="14677" y="4517"/>
                  <a:pt x="14648" y="4517"/>
                </a:cubicBezTo>
                <a:cubicBezTo>
                  <a:pt x="14618" y="4517"/>
                  <a:pt x="14594" y="4568"/>
                  <a:pt x="14594" y="4630"/>
                </a:cubicBezTo>
                <a:cubicBezTo>
                  <a:pt x="14594" y="4693"/>
                  <a:pt x="14618" y="4743"/>
                  <a:pt x="14648" y="4743"/>
                </a:cubicBezTo>
                <a:close/>
                <a:moveTo>
                  <a:pt x="14494" y="4743"/>
                </a:moveTo>
                <a:cubicBezTo>
                  <a:pt x="14523" y="4743"/>
                  <a:pt x="14547" y="4693"/>
                  <a:pt x="14547" y="4630"/>
                </a:cubicBezTo>
                <a:cubicBezTo>
                  <a:pt x="14547" y="4568"/>
                  <a:pt x="14523" y="4517"/>
                  <a:pt x="14494" y="4517"/>
                </a:cubicBezTo>
                <a:cubicBezTo>
                  <a:pt x="14464" y="4517"/>
                  <a:pt x="14440" y="4568"/>
                  <a:pt x="14440" y="4630"/>
                </a:cubicBezTo>
                <a:cubicBezTo>
                  <a:pt x="14440" y="4693"/>
                  <a:pt x="14464" y="4743"/>
                  <a:pt x="14494" y="4743"/>
                </a:cubicBezTo>
                <a:close/>
                <a:moveTo>
                  <a:pt x="14341" y="4743"/>
                </a:moveTo>
                <a:cubicBezTo>
                  <a:pt x="14371" y="4743"/>
                  <a:pt x="14395" y="4693"/>
                  <a:pt x="14395" y="4630"/>
                </a:cubicBezTo>
                <a:cubicBezTo>
                  <a:pt x="14395" y="4568"/>
                  <a:pt x="14371" y="4517"/>
                  <a:pt x="14341" y="4517"/>
                </a:cubicBezTo>
                <a:cubicBezTo>
                  <a:pt x="14311" y="4517"/>
                  <a:pt x="14287" y="4568"/>
                  <a:pt x="14287" y="4630"/>
                </a:cubicBezTo>
                <a:cubicBezTo>
                  <a:pt x="14287" y="4693"/>
                  <a:pt x="14311" y="4743"/>
                  <a:pt x="14341" y="4743"/>
                </a:cubicBezTo>
                <a:close/>
                <a:moveTo>
                  <a:pt x="14187" y="4743"/>
                </a:moveTo>
                <a:cubicBezTo>
                  <a:pt x="14217" y="4743"/>
                  <a:pt x="14241" y="4693"/>
                  <a:pt x="14241" y="4630"/>
                </a:cubicBezTo>
                <a:cubicBezTo>
                  <a:pt x="14241" y="4568"/>
                  <a:pt x="14217" y="4517"/>
                  <a:pt x="14187" y="4517"/>
                </a:cubicBezTo>
                <a:cubicBezTo>
                  <a:pt x="14158" y="4517"/>
                  <a:pt x="14134" y="4568"/>
                  <a:pt x="14134" y="4630"/>
                </a:cubicBezTo>
                <a:cubicBezTo>
                  <a:pt x="14134" y="4693"/>
                  <a:pt x="14158" y="4743"/>
                  <a:pt x="14187" y="4743"/>
                </a:cubicBezTo>
                <a:close/>
                <a:moveTo>
                  <a:pt x="14035" y="4517"/>
                </a:moveTo>
                <a:cubicBezTo>
                  <a:pt x="14005" y="4517"/>
                  <a:pt x="13981" y="4568"/>
                  <a:pt x="13981" y="4630"/>
                </a:cubicBezTo>
                <a:cubicBezTo>
                  <a:pt x="13981" y="4693"/>
                  <a:pt x="14005" y="4743"/>
                  <a:pt x="14035" y="4743"/>
                </a:cubicBezTo>
                <a:cubicBezTo>
                  <a:pt x="14064" y="4743"/>
                  <a:pt x="14088" y="4693"/>
                  <a:pt x="14088" y="4630"/>
                </a:cubicBezTo>
                <a:cubicBezTo>
                  <a:pt x="14088" y="4568"/>
                  <a:pt x="14064" y="4517"/>
                  <a:pt x="14035" y="4517"/>
                </a:cubicBezTo>
                <a:close/>
                <a:moveTo>
                  <a:pt x="13879" y="4743"/>
                </a:moveTo>
                <a:cubicBezTo>
                  <a:pt x="13909" y="4743"/>
                  <a:pt x="13933" y="4693"/>
                  <a:pt x="13933" y="4630"/>
                </a:cubicBezTo>
                <a:cubicBezTo>
                  <a:pt x="13933" y="4568"/>
                  <a:pt x="13909" y="4517"/>
                  <a:pt x="13879" y="4517"/>
                </a:cubicBezTo>
                <a:cubicBezTo>
                  <a:pt x="13850" y="4517"/>
                  <a:pt x="13826" y="4568"/>
                  <a:pt x="13826" y="4630"/>
                </a:cubicBezTo>
                <a:cubicBezTo>
                  <a:pt x="13826" y="4693"/>
                  <a:pt x="13850" y="4743"/>
                  <a:pt x="13879" y="4743"/>
                </a:cubicBezTo>
                <a:close/>
                <a:moveTo>
                  <a:pt x="13725" y="4743"/>
                </a:moveTo>
                <a:cubicBezTo>
                  <a:pt x="13755" y="4743"/>
                  <a:pt x="13779" y="4693"/>
                  <a:pt x="13779" y="4630"/>
                </a:cubicBezTo>
                <a:cubicBezTo>
                  <a:pt x="13779" y="4568"/>
                  <a:pt x="13755" y="4517"/>
                  <a:pt x="13725" y="4517"/>
                </a:cubicBezTo>
                <a:cubicBezTo>
                  <a:pt x="13696" y="4517"/>
                  <a:pt x="13672" y="4568"/>
                  <a:pt x="13672" y="4630"/>
                </a:cubicBezTo>
                <a:cubicBezTo>
                  <a:pt x="13672" y="4693"/>
                  <a:pt x="13696" y="4743"/>
                  <a:pt x="13725" y="4743"/>
                </a:cubicBezTo>
                <a:close/>
                <a:moveTo>
                  <a:pt x="13573" y="4517"/>
                </a:moveTo>
                <a:cubicBezTo>
                  <a:pt x="13543" y="4517"/>
                  <a:pt x="13519" y="4568"/>
                  <a:pt x="13519" y="4630"/>
                </a:cubicBezTo>
                <a:cubicBezTo>
                  <a:pt x="13519" y="4693"/>
                  <a:pt x="13543" y="4743"/>
                  <a:pt x="13573" y="4743"/>
                </a:cubicBezTo>
                <a:cubicBezTo>
                  <a:pt x="13602" y="4743"/>
                  <a:pt x="13626" y="4693"/>
                  <a:pt x="13626" y="4630"/>
                </a:cubicBezTo>
                <a:cubicBezTo>
                  <a:pt x="13626" y="4568"/>
                  <a:pt x="13602" y="4517"/>
                  <a:pt x="13573" y="4517"/>
                </a:cubicBezTo>
                <a:close/>
                <a:moveTo>
                  <a:pt x="12965" y="1847"/>
                </a:moveTo>
                <a:cubicBezTo>
                  <a:pt x="12994" y="1847"/>
                  <a:pt x="13018" y="1796"/>
                  <a:pt x="13018" y="1733"/>
                </a:cubicBezTo>
                <a:cubicBezTo>
                  <a:pt x="13018" y="1671"/>
                  <a:pt x="12994" y="1620"/>
                  <a:pt x="12965" y="1620"/>
                </a:cubicBezTo>
                <a:cubicBezTo>
                  <a:pt x="12935" y="1620"/>
                  <a:pt x="12911" y="1671"/>
                  <a:pt x="12911" y="1733"/>
                </a:cubicBezTo>
                <a:cubicBezTo>
                  <a:pt x="12911" y="1796"/>
                  <a:pt x="12935" y="1847"/>
                  <a:pt x="12965" y="1847"/>
                </a:cubicBezTo>
                <a:close/>
                <a:moveTo>
                  <a:pt x="12811" y="1620"/>
                </a:moveTo>
                <a:cubicBezTo>
                  <a:pt x="12781" y="1620"/>
                  <a:pt x="12757" y="1671"/>
                  <a:pt x="12757" y="1733"/>
                </a:cubicBezTo>
                <a:cubicBezTo>
                  <a:pt x="12757" y="1796"/>
                  <a:pt x="12781" y="1847"/>
                  <a:pt x="12811" y="1847"/>
                </a:cubicBezTo>
                <a:cubicBezTo>
                  <a:pt x="12840" y="1847"/>
                  <a:pt x="12864" y="1796"/>
                  <a:pt x="12864" y="1733"/>
                </a:cubicBezTo>
                <a:cubicBezTo>
                  <a:pt x="12864" y="1671"/>
                  <a:pt x="12840" y="1620"/>
                  <a:pt x="12811" y="1620"/>
                </a:cubicBezTo>
                <a:close/>
                <a:moveTo>
                  <a:pt x="12965" y="2168"/>
                </a:moveTo>
                <a:cubicBezTo>
                  <a:pt x="12994" y="2168"/>
                  <a:pt x="13018" y="2118"/>
                  <a:pt x="13018" y="2055"/>
                </a:cubicBezTo>
                <a:cubicBezTo>
                  <a:pt x="13018" y="1993"/>
                  <a:pt x="12994" y="1942"/>
                  <a:pt x="12965" y="1942"/>
                </a:cubicBezTo>
                <a:cubicBezTo>
                  <a:pt x="12935" y="1942"/>
                  <a:pt x="12911" y="1993"/>
                  <a:pt x="12911" y="2055"/>
                </a:cubicBezTo>
                <a:cubicBezTo>
                  <a:pt x="12911" y="2118"/>
                  <a:pt x="12935" y="2168"/>
                  <a:pt x="12965" y="2168"/>
                </a:cubicBezTo>
                <a:close/>
                <a:moveTo>
                  <a:pt x="12811" y="1942"/>
                </a:moveTo>
                <a:cubicBezTo>
                  <a:pt x="12781" y="1942"/>
                  <a:pt x="12757" y="1993"/>
                  <a:pt x="12757" y="2055"/>
                </a:cubicBezTo>
                <a:cubicBezTo>
                  <a:pt x="12757" y="2118"/>
                  <a:pt x="12781" y="2168"/>
                  <a:pt x="12811" y="2168"/>
                </a:cubicBezTo>
                <a:cubicBezTo>
                  <a:pt x="12840" y="2168"/>
                  <a:pt x="12864" y="2118"/>
                  <a:pt x="12864" y="2055"/>
                </a:cubicBezTo>
                <a:cubicBezTo>
                  <a:pt x="12864" y="1993"/>
                  <a:pt x="12840" y="1942"/>
                  <a:pt x="12811" y="1942"/>
                </a:cubicBezTo>
                <a:close/>
                <a:moveTo>
                  <a:pt x="12658" y="2168"/>
                </a:moveTo>
                <a:cubicBezTo>
                  <a:pt x="12688" y="2168"/>
                  <a:pt x="12712" y="2118"/>
                  <a:pt x="12712" y="2055"/>
                </a:cubicBezTo>
                <a:cubicBezTo>
                  <a:pt x="12712" y="1993"/>
                  <a:pt x="12688" y="1942"/>
                  <a:pt x="12658" y="1942"/>
                </a:cubicBezTo>
                <a:cubicBezTo>
                  <a:pt x="12628" y="1942"/>
                  <a:pt x="12604" y="1993"/>
                  <a:pt x="12604" y="2055"/>
                </a:cubicBezTo>
                <a:cubicBezTo>
                  <a:pt x="12604" y="2118"/>
                  <a:pt x="12628" y="2168"/>
                  <a:pt x="12658" y="2168"/>
                </a:cubicBezTo>
                <a:close/>
                <a:moveTo>
                  <a:pt x="12504" y="1847"/>
                </a:moveTo>
                <a:cubicBezTo>
                  <a:pt x="12534" y="1847"/>
                  <a:pt x="12558" y="1796"/>
                  <a:pt x="12558" y="1733"/>
                </a:cubicBezTo>
                <a:cubicBezTo>
                  <a:pt x="12558" y="1671"/>
                  <a:pt x="12534" y="1620"/>
                  <a:pt x="12504" y="1620"/>
                </a:cubicBezTo>
                <a:cubicBezTo>
                  <a:pt x="12475" y="1620"/>
                  <a:pt x="12451" y="1671"/>
                  <a:pt x="12451" y="1733"/>
                </a:cubicBezTo>
                <a:cubicBezTo>
                  <a:pt x="12451" y="1796"/>
                  <a:pt x="12475" y="1847"/>
                  <a:pt x="12504" y="1847"/>
                </a:cubicBezTo>
                <a:close/>
                <a:moveTo>
                  <a:pt x="12352" y="1620"/>
                </a:moveTo>
                <a:cubicBezTo>
                  <a:pt x="12322" y="1620"/>
                  <a:pt x="12298" y="1671"/>
                  <a:pt x="12298" y="1733"/>
                </a:cubicBezTo>
                <a:cubicBezTo>
                  <a:pt x="12298" y="1796"/>
                  <a:pt x="12322" y="1847"/>
                  <a:pt x="12352" y="1847"/>
                </a:cubicBezTo>
                <a:cubicBezTo>
                  <a:pt x="12381" y="1847"/>
                  <a:pt x="12406" y="1796"/>
                  <a:pt x="12406" y="1733"/>
                </a:cubicBezTo>
                <a:cubicBezTo>
                  <a:pt x="12406" y="1671"/>
                  <a:pt x="12381" y="1620"/>
                  <a:pt x="12352" y="1620"/>
                </a:cubicBezTo>
                <a:close/>
                <a:moveTo>
                  <a:pt x="12504" y="2168"/>
                </a:moveTo>
                <a:cubicBezTo>
                  <a:pt x="12534" y="2168"/>
                  <a:pt x="12558" y="2118"/>
                  <a:pt x="12558" y="2055"/>
                </a:cubicBezTo>
                <a:cubicBezTo>
                  <a:pt x="12558" y="1993"/>
                  <a:pt x="12534" y="1942"/>
                  <a:pt x="12504" y="1942"/>
                </a:cubicBezTo>
                <a:cubicBezTo>
                  <a:pt x="12475" y="1942"/>
                  <a:pt x="12451" y="1993"/>
                  <a:pt x="12451" y="2055"/>
                </a:cubicBezTo>
                <a:cubicBezTo>
                  <a:pt x="12451" y="2118"/>
                  <a:pt x="12475" y="2168"/>
                  <a:pt x="12504" y="2168"/>
                </a:cubicBezTo>
                <a:close/>
                <a:moveTo>
                  <a:pt x="12352" y="1942"/>
                </a:moveTo>
                <a:cubicBezTo>
                  <a:pt x="12322" y="1942"/>
                  <a:pt x="12298" y="1993"/>
                  <a:pt x="12298" y="2055"/>
                </a:cubicBezTo>
                <a:cubicBezTo>
                  <a:pt x="12298" y="2118"/>
                  <a:pt x="12322" y="2168"/>
                  <a:pt x="12352" y="2168"/>
                </a:cubicBezTo>
                <a:cubicBezTo>
                  <a:pt x="12381" y="2168"/>
                  <a:pt x="12406" y="2118"/>
                  <a:pt x="12406" y="2055"/>
                </a:cubicBezTo>
                <a:cubicBezTo>
                  <a:pt x="12406" y="1993"/>
                  <a:pt x="12381" y="1942"/>
                  <a:pt x="12352" y="1942"/>
                </a:cubicBezTo>
                <a:close/>
                <a:moveTo>
                  <a:pt x="12196" y="1189"/>
                </a:moveTo>
                <a:cubicBezTo>
                  <a:pt x="12226" y="1189"/>
                  <a:pt x="12250" y="1138"/>
                  <a:pt x="12250" y="1075"/>
                </a:cubicBezTo>
                <a:cubicBezTo>
                  <a:pt x="12250" y="1013"/>
                  <a:pt x="12226" y="962"/>
                  <a:pt x="12196" y="962"/>
                </a:cubicBezTo>
                <a:cubicBezTo>
                  <a:pt x="12167" y="962"/>
                  <a:pt x="12143" y="1013"/>
                  <a:pt x="12143" y="1075"/>
                </a:cubicBezTo>
                <a:cubicBezTo>
                  <a:pt x="12143" y="1138"/>
                  <a:pt x="12167" y="1189"/>
                  <a:pt x="12196" y="1189"/>
                </a:cubicBezTo>
                <a:close/>
                <a:moveTo>
                  <a:pt x="12042" y="962"/>
                </a:moveTo>
                <a:cubicBezTo>
                  <a:pt x="12013" y="962"/>
                  <a:pt x="11989" y="1013"/>
                  <a:pt x="11989" y="1075"/>
                </a:cubicBezTo>
                <a:cubicBezTo>
                  <a:pt x="11989" y="1138"/>
                  <a:pt x="12013" y="1189"/>
                  <a:pt x="12042" y="1189"/>
                </a:cubicBezTo>
                <a:cubicBezTo>
                  <a:pt x="12072" y="1189"/>
                  <a:pt x="12096" y="1138"/>
                  <a:pt x="12096" y="1075"/>
                </a:cubicBezTo>
                <a:cubicBezTo>
                  <a:pt x="12096" y="1013"/>
                  <a:pt x="12072" y="962"/>
                  <a:pt x="12042" y="962"/>
                </a:cubicBezTo>
                <a:close/>
                <a:moveTo>
                  <a:pt x="12042" y="1284"/>
                </a:moveTo>
                <a:cubicBezTo>
                  <a:pt x="12013" y="1284"/>
                  <a:pt x="11989" y="1335"/>
                  <a:pt x="11989" y="1397"/>
                </a:cubicBezTo>
                <a:cubicBezTo>
                  <a:pt x="11989" y="1460"/>
                  <a:pt x="12013" y="1510"/>
                  <a:pt x="12042" y="1510"/>
                </a:cubicBezTo>
                <a:cubicBezTo>
                  <a:pt x="12072" y="1510"/>
                  <a:pt x="12096" y="1460"/>
                  <a:pt x="12096" y="1397"/>
                </a:cubicBezTo>
                <a:cubicBezTo>
                  <a:pt x="12096" y="1335"/>
                  <a:pt x="12072" y="1284"/>
                  <a:pt x="12042" y="1284"/>
                </a:cubicBezTo>
                <a:close/>
                <a:moveTo>
                  <a:pt x="12196" y="2168"/>
                </a:moveTo>
                <a:cubicBezTo>
                  <a:pt x="12226" y="2168"/>
                  <a:pt x="12250" y="2118"/>
                  <a:pt x="12250" y="2055"/>
                </a:cubicBezTo>
                <a:cubicBezTo>
                  <a:pt x="12250" y="1993"/>
                  <a:pt x="12226" y="1942"/>
                  <a:pt x="12196" y="1942"/>
                </a:cubicBezTo>
                <a:cubicBezTo>
                  <a:pt x="12167" y="1942"/>
                  <a:pt x="12143" y="1993"/>
                  <a:pt x="12143" y="2055"/>
                </a:cubicBezTo>
                <a:cubicBezTo>
                  <a:pt x="12143" y="2118"/>
                  <a:pt x="12167" y="2168"/>
                  <a:pt x="12196" y="2168"/>
                </a:cubicBezTo>
                <a:close/>
                <a:moveTo>
                  <a:pt x="11738" y="1942"/>
                </a:moveTo>
                <a:cubicBezTo>
                  <a:pt x="11709" y="1942"/>
                  <a:pt x="11684" y="1993"/>
                  <a:pt x="11684" y="2055"/>
                </a:cubicBezTo>
                <a:cubicBezTo>
                  <a:pt x="11684" y="2118"/>
                  <a:pt x="11709" y="2168"/>
                  <a:pt x="11738" y="2168"/>
                </a:cubicBezTo>
                <a:cubicBezTo>
                  <a:pt x="11768" y="2168"/>
                  <a:pt x="11792" y="2118"/>
                  <a:pt x="11792" y="2055"/>
                </a:cubicBezTo>
                <a:cubicBezTo>
                  <a:pt x="11792" y="1993"/>
                  <a:pt x="11768" y="1942"/>
                  <a:pt x="11738" y="1942"/>
                </a:cubicBezTo>
                <a:close/>
                <a:moveTo>
                  <a:pt x="10032" y="887"/>
                </a:moveTo>
                <a:cubicBezTo>
                  <a:pt x="10062" y="887"/>
                  <a:pt x="10086" y="836"/>
                  <a:pt x="10086" y="774"/>
                </a:cubicBezTo>
                <a:cubicBezTo>
                  <a:pt x="10086" y="711"/>
                  <a:pt x="10062" y="660"/>
                  <a:pt x="10032" y="660"/>
                </a:cubicBezTo>
                <a:cubicBezTo>
                  <a:pt x="10003" y="660"/>
                  <a:pt x="9979" y="711"/>
                  <a:pt x="9979" y="774"/>
                </a:cubicBezTo>
                <a:cubicBezTo>
                  <a:pt x="9979" y="836"/>
                  <a:pt x="10003" y="887"/>
                  <a:pt x="10032" y="887"/>
                </a:cubicBezTo>
                <a:close/>
                <a:moveTo>
                  <a:pt x="10199" y="660"/>
                </a:moveTo>
                <a:cubicBezTo>
                  <a:pt x="10169" y="660"/>
                  <a:pt x="10145" y="711"/>
                  <a:pt x="10145" y="774"/>
                </a:cubicBezTo>
                <a:cubicBezTo>
                  <a:pt x="10145" y="836"/>
                  <a:pt x="10169" y="887"/>
                  <a:pt x="10199" y="887"/>
                </a:cubicBezTo>
                <a:cubicBezTo>
                  <a:pt x="10229" y="887"/>
                  <a:pt x="10253" y="836"/>
                  <a:pt x="10253" y="774"/>
                </a:cubicBezTo>
                <a:cubicBezTo>
                  <a:pt x="10253" y="711"/>
                  <a:pt x="10229" y="660"/>
                  <a:pt x="10199" y="660"/>
                </a:cubicBezTo>
                <a:close/>
                <a:moveTo>
                  <a:pt x="10352" y="309"/>
                </a:moveTo>
                <a:cubicBezTo>
                  <a:pt x="10322" y="309"/>
                  <a:pt x="10298" y="360"/>
                  <a:pt x="10298" y="423"/>
                </a:cubicBezTo>
                <a:cubicBezTo>
                  <a:pt x="10298" y="485"/>
                  <a:pt x="10322" y="536"/>
                  <a:pt x="10352" y="536"/>
                </a:cubicBezTo>
                <a:cubicBezTo>
                  <a:pt x="10382" y="536"/>
                  <a:pt x="10406" y="485"/>
                  <a:pt x="10406" y="423"/>
                </a:cubicBezTo>
                <a:cubicBezTo>
                  <a:pt x="10406" y="360"/>
                  <a:pt x="10382" y="309"/>
                  <a:pt x="10352" y="309"/>
                </a:cubicBezTo>
                <a:close/>
                <a:moveTo>
                  <a:pt x="10509" y="309"/>
                </a:moveTo>
                <a:cubicBezTo>
                  <a:pt x="10479" y="309"/>
                  <a:pt x="10455" y="360"/>
                  <a:pt x="10455" y="423"/>
                </a:cubicBezTo>
                <a:cubicBezTo>
                  <a:pt x="10455" y="485"/>
                  <a:pt x="10479" y="536"/>
                  <a:pt x="10509" y="536"/>
                </a:cubicBezTo>
                <a:cubicBezTo>
                  <a:pt x="10538" y="536"/>
                  <a:pt x="10562" y="485"/>
                  <a:pt x="10562" y="423"/>
                </a:cubicBezTo>
                <a:cubicBezTo>
                  <a:pt x="10562" y="360"/>
                  <a:pt x="10538" y="309"/>
                  <a:pt x="10509" y="309"/>
                </a:cubicBezTo>
                <a:close/>
                <a:moveTo>
                  <a:pt x="10352" y="660"/>
                </a:moveTo>
                <a:cubicBezTo>
                  <a:pt x="10322" y="660"/>
                  <a:pt x="10298" y="711"/>
                  <a:pt x="10298" y="774"/>
                </a:cubicBezTo>
                <a:cubicBezTo>
                  <a:pt x="10298" y="836"/>
                  <a:pt x="10322" y="887"/>
                  <a:pt x="10352" y="887"/>
                </a:cubicBezTo>
                <a:cubicBezTo>
                  <a:pt x="10382" y="887"/>
                  <a:pt x="10406" y="836"/>
                  <a:pt x="10406" y="774"/>
                </a:cubicBezTo>
                <a:cubicBezTo>
                  <a:pt x="10406" y="711"/>
                  <a:pt x="10382" y="660"/>
                  <a:pt x="10352" y="660"/>
                </a:cubicBezTo>
                <a:close/>
                <a:moveTo>
                  <a:pt x="10509" y="660"/>
                </a:moveTo>
                <a:cubicBezTo>
                  <a:pt x="10479" y="660"/>
                  <a:pt x="10455" y="711"/>
                  <a:pt x="10455" y="774"/>
                </a:cubicBezTo>
                <a:cubicBezTo>
                  <a:pt x="10455" y="836"/>
                  <a:pt x="10479" y="887"/>
                  <a:pt x="10509" y="887"/>
                </a:cubicBezTo>
                <a:cubicBezTo>
                  <a:pt x="10538" y="887"/>
                  <a:pt x="10562" y="836"/>
                  <a:pt x="10562" y="774"/>
                </a:cubicBezTo>
                <a:cubicBezTo>
                  <a:pt x="10562" y="711"/>
                  <a:pt x="10538" y="660"/>
                  <a:pt x="10509" y="660"/>
                </a:cubicBezTo>
                <a:close/>
                <a:moveTo>
                  <a:pt x="10199" y="1626"/>
                </a:moveTo>
                <a:cubicBezTo>
                  <a:pt x="10169" y="1626"/>
                  <a:pt x="10145" y="1676"/>
                  <a:pt x="10145" y="1739"/>
                </a:cubicBezTo>
                <a:cubicBezTo>
                  <a:pt x="10145" y="1801"/>
                  <a:pt x="10169" y="1852"/>
                  <a:pt x="10199" y="1852"/>
                </a:cubicBezTo>
                <a:cubicBezTo>
                  <a:pt x="10229" y="1852"/>
                  <a:pt x="10253" y="1801"/>
                  <a:pt x="10253" y="1739"/>
                </a:cubicBezTo>
                <a:cubicBezTo>
                  <a:pt x="10253" y="1676"/>
                  <a:pt x="10229" y="1626"/>
                  <a:pt x="10199" y="1626"/>
                </a:cubicBezTo>
                <a:close/>
                <a:moveTo>
                  <a:pt x="10199" y="1942"/>
                </a:moveTo>
                <a:cubicBezTo>
                  <a:pt x="10169" y="1942"/>
                  <a:pt x="10145" y="1993"/>
                  <a:pt x="10145" y="2055"/>
                </a:cubicBezTo>
                <a:cubicBezTo>
                  <a:pt x="10145" y="2118"/>
                  <a:pt x="10169" y="2168"/>
                  <a:pt x="10199" y="2168"/>
                </a:cubicBezTo>
                <a:cubicBezTo>
                  <a:pt x="10229" y="2168"/>
                  <a:pt x="10253" y="2118"/>
                  <a:pt x="10253" y="2055"/>
                </a:cubicBezTo>
                <a:cubicBezTo>
                  <a:pt x="10253" y="1993"/>
                  <a:pt x="10229" y="1942"/>
                  <a:pt x="10199" y="1942"/>
                </a:cubicBezTo>
                <a:close/>
                <a:moveTo>
                  <a:pt x="10199" y="2264"/>
                </a:moveTo>
                <a:cubicBezTo>
                  <a:pt x="10169" y="2264"/>
                  <a:pt x="10145" y="2314"/>
                  <a:pt x="10145" y="2377"/>
                </a:cubicBezTo>
                <a:cubicBezTo>
                  <a:pt x="10145" y="2439"/>
                  <a:pt x="10169" y="2490"/>
                  <a:pt x="10199" y="2490"/>
                </a:cubicBezTo>
                <a:cubicBezTo>
                  <a:pt x="10229" y="2490"/>
                  <a:pt x="10253" y="2439"/>
                  <a:pt x="10253" y="2377"/>
                </a:cubicBezTo>
                <a:cubicBezTo>
                  <a:pt x="10253" y="2314"/>
                  <a:pt x="10229" y="2264"/>
                  <a:pt x="10199" y="2264"/>
                </a:cubicBezTo>
                <a:close/>
                <a:moveTo>
                  <a:pt x="10352" y="1626"/>
                </a:moveTo>
                <a:cubicBezTo>
                  <a:pt x="10322" y="1626"/>
                  <a:pt x="10298" y="1676"/>
                  <a:pt x="10298" y="1739"/>
                </a:cubicBezTo>
                <a:cubicBezTo>
                  <a:pt x="10298" y="1801"/>
                  <a:pt x="10322" y="1852"/>
                  <a:pt x="10352" y="1852"/>
                </a:cubicBezTo>
                <a:cubicBezTo>
                  <a:pt x="10382" y="1852"/>
                  <a:pt x="10406" y="1801"/>
                  <a:pt x="10406" y="1739"/>
                </a:cubicBezTo>
                <a:cubicBezTo>
                  <a:pt x="10406" y="1676"/>
                  <a:pt x="10382" y="1626"/>
                  <a:pt x="10352" y="1626"/>
                </a:cubicBezTo>
                <a:close/>
                <a:moveTo>
                  <a:pt x="10352" y="1942"/>
                </a:moveTo>
                <a:cubicBezTo>
                  <a:pt x="10322" y="1942"/>
                  <a:pt x="10298" y="1993"/>
                  <a:pt x="10298" y="2055"/>
                </a:cubicBezTo>
                <a:cubicBezTo>
                  <a:pt x="10298" y="2118"/>
                  <a:pt x="10322" y="2168"/>
                  <a:pt x="10352" y="2168"/>
                </a:cubicBezTo>
                <a:cubicBezTo>
                  <a:pt x="10382" y="2168"/>
                  <a:pt x="10406" y="2118"/>
                  <a:pt x="10406" y="2055"/>
                </a:cubicBezTo>
                <a:cubicBezTo>
                  <a:pt x="10406" y="1993"/>
                  <a:pt x="10382" y="1942"/>
                  <a:pt x="10352" y="1942"/>
                </a:cubicBezTo>
                <a:close/>
                <a:moveTo>
                  <a:pt x="10352" y="2264"/>
                </a:moveTo>
                <a:cubicBezTo>
                  <a:pt x="10322" y="2264"/>
                  <a:pt x="10298" y="2314"/>
                  <a:pt x="10298" y="2377"/>
                </a:cubicBezTo>
                <a:cubicBezTo>
                  <a:pt x="10298" y="2439"/>
                  <a:pt x="10322" y="2490"/>
                  <a:pt x="10352" y="2490"/>
                </a:cubicBezTo>
                <a:cubicBezTo>
                  <a:pt x="10382" y="2490"/>
                  <a:pt x="10406" y="2439"/>
                  <a:pt x="10406" y="2377"/>
                </a:cubicBezTo>
                <a:cubicBezTo>
                  <a:pt x="10406" y="2314"/>
                  <a:pt x="10382" y="2264"/>
                  <a:pt x="10352" y="2264"/>
                </a:cubicBezTo>
                <a:close/>
                <a:moveTo>
                  <a:pt x="10509" y="1626"/>
                </a:moveTo>
                <a:cubicBezTo>
                  <a:pt x="10479" y="1626"/>
                  <a:pt x="10455" y="1676"/>
                  <a:pt x="10455" y="1739"/>
                </a:cubicBezTo>
                <a:cubicBezTo>
                  <a:pt x="10455" y="1801"/>
                  <a:pt x="10479" y="1852"/>
                  <a:pt x="10509" y="1852"/>
                </a:cubicBezTo>
                <a:cubicBezTo>
                  <a:pt x="10538" y="1852"/>
                  <a:pt x="10562" y="1801"/>
                  <a:pt x="10562" y="1739"/>
                </a:cubicBezTo>
                <a:cubicBezTo>
                  <a:pt x="10562" y="1676"/>
                  <a:pt x="10538" y="1626"/>
                  <a:pt x="10509" y="1626"/>
                </a:cubicBezTo>
                <a:close/>
                <a:moveTo>
                  <a:pt x="10814" y="1626"/>
                </a:moveTo>
                <a:cubicBezTo>
                  <a:pt x="10784" y="1626"/>
                  <a:pt x="10760" y="1676"/>
                  <a:pt x="10760" y="1739"/>
                </a:cubicBezTo>
                <a:cubicBezTo>
                  <a:pt x="10760" y="1801"/>
                  <a:pt x="10784" y="1852"/>
                  <a:pt x="10814" y="1852"/>
                </a:cubicBezTo>
                <a:cubicBezTo>
                  <a:pt x="10844" y="1852"/>
                  <a:pt x="10868" y="1801"/>
                  <a:pt x="10868" y="1739"/>
                </a:cubicBezTo>
                <a:cubicBezTo>
                  <a:pt x="10868" y="1676"/>
                  <a:pt x="10844" y="1626"/>
                  <a:pt x="10814" y="1626"/>
                </a:cubicBezTo>
                <a:close/>
                <a:moveTo>
                  <a:pt x="10661" y="1626"/>
                </a:moveTo>
                <a:cubicBezTo>
                  <a:pt x="10632" y="1626"/>
                  <a:pt x="10608" y="1676"/>
                  <a:pt x="10608" y="1739"/>
                </a:cubicBezTo>
                <a:cubicBezTo>
                  <a:pt x="10608" y="1801"/>
                  <a:pt x="10632" y="1852"/>
                  <a:pt x="10661" y="1852"/>
                </a:cubicBezTo>
                <a:cubicBezTo>
                  <a:pt x="10691" y="1852"/>
                  <a:pt x="10715" y="1801"/>
                  <a:pt x="10715" y="1739"/>
                </a:cubicBezTo>
                <a:cubicBezTo>
                  <a:pt x="10715" y="1676"/>
                  <a:pt x="10691" y="1626"/>
                  <a:pt x="10661" y="1626"/>
                </a:cubicBezTo>
                <a:close/>
                <a:moveTo>
                  <a:pt x="11118" y="1852"/>
                </a:moveTo>
                <a:cubicBezTo>
                  <a:pt x="11148" y="1852"/>
                  <a:pt x="11172" y="1801"/>
                  <a:pt x="11172" y="1739"/>
                </a:cubicBezTo>
                <a:cubicBezTo>
                  <a:pt x="11172" y="1676"/>
                  <a:pt x="11148" y="1626"/>
                  <a:pt x="11118" y="1626"/>
                </a:cubicBezTo>
                <a:cubicBezTo>
                  <a:pt x="11089" y="1626"/>
                  <a:pt x="11065" y="1676"/>
                  <a:pt x="11065" y="1739"/>
                </a:cubicBezTo>
                <a:cubicBezTo>
                  <a:pt x="11065" y="1801"/>
                  <a:pt x="11089" y="1852"/>
                  <a:pt x="11118" y="1852"/>
                </a:cubicBezTo>
                <a:close/>
                <a:moveTo>
                  <a:pt x="10966" y="1852"/>
                </a:moveTo>
                <a:cubicBezTo>
                  <a:pt x="10995" y="1852"/>
                  <a:pt x="11019" y="1801"/>
                  <a:pt x="11019" y="1739"/>
                </a:cubicBezTo>
                <a:cubicBezTo>
                  <a:pt x="11019" y="1676"/>
                  <a:pt x="10995" y="1626"/>
                  <a:pt x="10966" y="1626"/>
                </a:cubicBezTo>
                <a:cubicBezTo>
                  <a:pt x="10936" y="1626"/>
                  <a:pt x="10912" y="1676"/>
                  <a:pt x="10912" y="1739"/>
                </a:cubicBezTo>
                <a:cubicBezTo>
                  <a:pt x="10912" y="1801"/>
                  <a:pt x="10936" y="1852"/>
                  <a:pt x="10966" y="1852"/>
                </a:cubicBezTo>
                <a:close/>
                <a:moveTo>
                  <a:pt x="10509" y="1942"/>
                </a:moveTo>
                <a:cubicBezTo>
                  <a:pt x="10479" y="1942"/>
                  <a:pt x="10455" y="1993"/>
                  <a:pt x="10455" y="2055"/>
                </a:cubicBezTo>
                <a:cubicBezTo>
                  <a:pt x="10455" y="2118"/>
                  <a:pt x="10479" y="2168"/>
                  <a:pt x="10509" y="2168"/>
                </a:cubicBezTo>
                <a:cubicBezTo>
                  <a:pt x="10538" y="2168"/>
                  <a:pt x="10562" y="2118"/>
                  <a:pt x="10562" y="2055"/>
                </a:cubicBezTo>
                <a:cubicBezTo>
                  <a:pt x="10562" y="1993"/>
                  <a:pt x="10538" y="1942"/>
                  <a:pt x="10509" y="1942"/>
                </a:cubicBezTo>
                <a:close/>
                <a:moveTo>
                  <a:pt x="10814" y="1942"/>
                </a:moveTo>
                <a:cubicBezTo>
                  <a:pt x="10784" y="1942"/>
                  <a:pt x="10760" y="1993"/>
                  <a:pt x="10760" y="2055"/>
                </a:cubicBezTo>
                <a:cubicBezTo>
                  <a:pt x="10760" y="2118"/>
                  <a:pt x="10784" y="2168"/>
                  <a:pt x="10814" y="2168"/>
                </a:cubicBezTo>
                <a:cubicBezTo>
                  <a:pt x="10844" y="2168"/>
                  <a:pt x="10868" y="2118"/>
                  <a:pt x="10868" y="2055"/>
                </a:cubicBezTo>
                <a:cubicBezTo>
                  <a:pt x="10868" y="1993"/>
                  <a:pt x="10844" y="1942"/>
                  <a:pt x="10814" y="1942"/>
                </a:cubicBezTo>
                <a:close/>
                <a:moveTo>
                  <a:pt x="10661" y="1942"/>
                </a:moveTo>
                <a:cubicBezTo>
                  <a:pt x="10632" y="1942"/>
                  <a:pt x="10608" y="1993"/>
                  <a:pt x="10608" y="2055"/>
                </a:cubicBezTo>
                <a:cubicBezTo>
                  <a:pt x="10608" y="2118"/>
                  <a:pt x="10632" y="2168"/>
                  <a:pt x="10661" y="2168"/>
                </a:cubicBezTo>
                <a:cubicBezTo>
                  <a:pt x="10691" y="2168"/>
                  <a:pt x="10715" y="2118"/>
                  <a:pt x="10715" y="2055"/>
                </a:cubicBezTo>
                <a:cubicBezTo>
                  <a:pt x="10715" y="1993"/>
                  <a:pt x="10691" y="1942"/>
                  <a:pt x="10661" y="1942"/>
                </a:cubicBezTo>
                <a:close/>
                <a:moveTo>
                  <a:pt x="11118" y="2168"/>
                </a:moveTo>
                <a:cubicBezTo>
                  <a:pt x="11148" y="2168"/>
                  <a:pt x="11172" y="2118"/>
                  <a:pt x="11172" y="2055"/>
                </a:cubicBezTo>
                <a:cubicBezTo>
                  <a:pt x="11172" y="1993"/>
                  <a:pt x="11148" y="1942"/>
                  <a:pt x="11118" y="1942"/>
                </a:cubicBezTo>
                <a:cubicBezTo>
                  <a:pt x="11089" y="1942"/>
                  <a:pt x="11065" y="1993"/>
                  <a:pt x="11065" y="2055"/>
                </a:cubicBezTo>
                <a:cubicBezTo>
                  <a:pt x="11065" y="2118"/>
                  <a:pt x="11089" y="2168"/>
                  <a:pt x="11118" y="2168"/>
                </a:cubicBezTo>
                <a:close/>
                <a:moveTo>
                  <a:pt x="10966" y="2168"/>
                </a:moveTo>
                <a:cubicBezTo>
                  <a:pt x="10995" y="2168"/>
                  <a:pt x="11019" y="2118"/>
                  <a:pt x="11019" y="2055"/>
                </a:cubicBezTo>
                <a:cubicBezTo>
                  <a:pt x="11019" y="1993"/>
                  <a:pt x="10995" y="1942"/>
                  <a:pt x="10966" y="1942"/>
                </a:cubicBezTo>
                <a:cubicBezTo>
                  <a:pt x="10936" y="1942"/>
                  <a:pt x="10912" y="1993"/>
                  <a:pt x="10912" y="2055"/>
                </a:cubicBezTo>
                <a:cubicBezTo>
                  <a:pt x="10912" y="2118"/>
                  <a:pt x="10936" y="2168"/>
                  <a:pt x="10966" y="2168"/>
                </a:cubicBezTo>
                <a:close/>
                <a:moveTo>
                  <a:pt x="10509" y="2264"/>
                </a:moveTo>
                <a:cubicBezTo>
                  <a:pt x="10479" y="2264"/>
                  <a:pt x="10455" y="2314"/>
                  <a:pt x="10455" y="2377"/>
                </a:cubicBezTo>
                <a:cubicBezTo>
                  <a:pt x="10455" y="2439"/>
                  <a:pt x="10479" y="2490"/>
                  <a:pt x="10509" y="2490"/>
                </a:cubicBezTo>
                <a:cubicBezTo>
                  <a:pt x="10538" y="2490"/>
                  <a:pt x="10562" y="2439"/>
                  <a:pt x="10562" y="2377"/>
                </a:cubicBezTo>
                <a:cubicBezTo>
                  <a:pt x="10562" y="2314"/>
                  <a:pt x="10538" y="2264"/>
                  <a:pt x="10509" y="2264"/>
                </a:cubicBezTo>
                <a:close/>
                <a:moveTo>
                  <a:pt x="10509" y="2590"/>
                </a:moveTo>
                <a:cubicBezTo>
                  <a:pt x="10479" y="2590"/>
                  <a:pt x="10455" y="2641"/>
                  <a:pt x="10455" y="2703"/>
                </a:cubicBezTo>
                <a:cubicBezTo>
                  <a:pt x="10455" y="2766"/>
                  <a:pt x="10479" y="2816"/>
                  <a:pt x="10509" y="2816"/>
                </a:cubicBezTo>
                <a:cubicBezTo>
                  <a:pt x="10538" y="2816"/>
                  <a:pt x="10562" y="2766"/>
                  <a:pt x="10562" y="2703"/>
                </a:cubicBezTo>
                <a:cubicBezTo>
                  <a:pt x="10562" y="2641"/>
                  <a:pt x="10538" y="2590"/>
                  <a:pt x="10509" y="2590"/>
                </a:cubicBezTo>
                <a:close/>
                <a:moveTo>
                  <a:pt x="10814" y="2264"/>
                </a:moveTo>
                <a:cubicBezTo>
                  <a:pt x="10784" y="2264"/>
                  <a:pt x="10760" y="2314"/>
                  <a:pt x="10760" y="2377"/>
                </a:cubicBezTo>
                <a:cubicBezTo>
                  <a:pt x="10760" y="2439"/>
                  <a:pt x="10784" y="2490"/>
                  <a:pt x="10814" y="2490"/>
                </a:cubicBezTo>
                <a:cubicBezTo>
                  <a:pt x="10844" y="2490"/>
                  <a:pt x="10868" y="2439"/>
                  <a:pt x="10868" y="2377"/>
                </a:cubicBezTo>
                <a:cubicBezTo>
                  <a:pt x="10868" y="2314"/>
                  <a:pt x="10844" y="2264"/>
                  <a:pt x="10814" y="2264"/>
                </a:cubicBezTo>
                <a:close/>
                <a:moveTo>
                  <a:pt x="10661" y="2264"/>
                </a:moveTo>
                <a:cubicBezTo>
                  <a:pt x="10632" y="2264"/>
                  <a:pt x="10608" y="2314"/>
                  <a:pt x="10608" y="2377"/>
                </a:cubicBezTo>
                <a:cubicBezTo>
                  <a:pt x="10608" y="2439"/>
                  <a:pt x="10632" y="2490"/>
                  <a:pt x="10661" y="2490"/>
                </a:cubicBezTo>
                <a:cubicBezTo>
                  <a:pt x="10691" y="2490"/>
                  <a:pt x="10715" y="2439"/>
                  <a:pt x="10715" y="2377"/>
                </a:cubicBezTo>
                <a:cubicBezTo>
                  <a:pt x="10715" y="2314"/>
                  <a:pt x="10691" y="2264"/>
                  <a:pt x="10661" y="2264"/>
                </a:cubicBezTo>
                <a:close/>
                <a:moveTo>
                  <a:pt x="10814" y="2590"/>
                </a:moveTo>
                <a:cubicBezTo>
                  <a:pt x="10784" y="2590"/>
                  <a:pt x="10760" y="2641"/>
                  <a:pt x="10760" y="2703"/>
                </a:cubicBezTo>
                <a:cubicBezTo>
                  <a:pt x="10760" y="2766"/>
                  <a:pt x="10784" y="2816"/>
                  <a:pt x="10814" y="2816"/>
                </a:cubicBezTo>
                <a:cubicBezTo>
                  <a:pt x="10844" y="2816"/>
                  <a:pt x="10868" y="2766"/>
                  <a:pt x="10868" y="2703"/>
                </a:cubicBezTo>
                <a:cubicBezTo>
                  <a:pt x="10868" y="2641"/>
                  <a:pt x="10844" y="2590"/>
                  <a:pt x="10814" y="2590"/>
                </a:cubicBezTo>
                <a:close/>
                <a:moveTo>
                  <a:pt x="10661" y="2590"/>
                </a:moveTo>
                <a:cubicBezTo>
                  <a:pt x="10632" y="2590"/>
                  <a:pt x="10608" y="2641"/>
                  <a:pt x="10608" y="2703"/>
                </a:cubicBezTo>
                <a:cubicBezTo>
                  <a:pt x="10608" y="2766"/>
                  <a:pt x="10632" y="2816"/>
                  <a:pt x="10661" y="2816"/>
                </a:cubicBezTo>
                <a:cubicBezTo>
                  <a:pt x="10691" y="2816"/>
                  <a:pt x="10715" y="2766"/>
                  <a:pt x="10715" y="2703"/>
                </a:cubicBezTo>
                <a:cubicBezTo>
                  <a:pt x="10715" y="2641"/>
                  <a:pt x="10691" y="2590"/>
                  <a:pt x="10661" y="2590"/>
                </a:cubicBezTo>
                <a:close/>
                <a:moveTo>
                  <a:pt x="11118" y="2490"/>
                </a:moveTo>
                <a:cubicBezTo>
                  <a:pt x="11148" y="2490"/>
                  <a:pt x="11172" y="2439"/>
                  <a:pt x="11172" y="2377"/>
                </a:cubicBezTo>
                <a:cubicBezTo>
                  <a:pt x="11172" y="2314"/>
                  <a:pt x="11148" y="2264"/>
                  <a:pt x="11118" y="2264"/>
                </a:cubicBezTo>
                <a:cubicBezTo>
                  <a:pt x="11089" y="2264"/>
                  <a:pt x="11065" y="2314"/>
                  <a:pt x="11065" y="2377"/>
                </a:cubicBezTo>
                <a:cubicBezTo>
                  <a:pt x="11065" y="2439"/>
                  <a:pt x="11089" y="2490"/>
                  <a:pt x="11118" y="2490"/>
                </a:cubicBezTo>
                <a:close/>
                <a:moveTo>
                  <a:pt x="10966" y="2490"/>
                </a:moveTo>
                <a:cubicBezTo>
                  <a:pt x="10995" y="2490"/>
                  <a:pt x="11019" y="2439"/>
                  <a:pt x="11019" y="2377"/>
                </a:cubicBezTo>
                <a:cubicBezTo>
                  <a:pt x="11019" y="2314"/>
                  <a:pt x="10995" y="2264"/>
                  <a:pt x="10966" y="2264"/>
                </a:cubicBezTo>
                <a:cubicBezTo>
                  <a:pt x="10936" y="2264"/>
                  <a:pt x="10912" y="2314"/>
                  <a:pt x="10912" y="2377"/>
                </a:cubicBezTo>
                <a:cubicBezTo>
                  <a:pt x="10912" y="2439"/>
                  <a:pt x="10936" y="2490"/>
                  <a:pt x="10966" y="2490"/>
                </a:cubicBezTo>
                <a:close/>
                <a:moveTo>
                  <a:pt x="11118" y="2816"/>
                </a:moveTo>
                <a:cubicBezTo>
                  <a:pt x="11148" y="2816"/>
                  <a:pt x="11172" y="2766"/>
                  <a:pt x="11172" y="2703"/>
                </a:cubicBezTo>
                <a:cubicBezTo>
                  <a:pt x="11172" y="2641"/>
                  <a:pt x="11148" y="2590"/>
                  <a:pt x="11118" y="2590"/>
                </a:cubicBezTo>
                <a:cubicBezTo>
                  <a:pt x="11089" y="2590"/>
                  <a:pt x="11065" y="2641"/>
                  <a:pt x="11065" y="2703"/>
                </a:cubicBezTo>
                <a:cubicBezTo>
                  <a:pt x="11065" y="2766"/>
                  <a:pt x="11089" y="2816"/>
                  <a:pt x="11118" y="2816"/>
                </a:cubicBezTo>
                <a:close/>
                <a:moveTo>
                  <a:pt x="10966" y="2816"/>
                </a:moveTo>
                <a:cubicBezTo>
                  <a:pt x="10995" y="2816"/>
                  <a:pt x="11019" y="2766"/>
                  <a:pt x="11019" y="2703"/>
                </a:cubicBezTo>
                <a:cubicBezTo>
                  <a:pt x="11019" y="2641"/>
                  <a:pt x="10995" y="2590"/>
                  <a:pt x="10966" y="2590"/>
                </a:cubicBezTo>
                <a:cubicBezTo>
                  <a:pt x="10936" y="2590"/>
                  <a:pt x="10912" y="2641"/>
                  <a:pt x="10912" y="2703"/>
                </a:cubicBezTo>
                <a:cubicBezTo>
                  <a:pt x="10912" y="2766"/>
                  <a:pt x="10936" y="2816"/>
                  <a:pt x="10966" y="2816"/>
                </a:cubicBezTo>
                <a:close/>
                <a:moveTo>
                  <a:pt x="11433" y="2264"/>
                </a:moveTo>
                <a:cubicBezTo>
                  <a:pt x="11403" y="2264"/>
                  <a:pt x="11379" y="2314"/>
                  <a:pt x="11379" y="2377"/>
                </a:cubicBezTo>
                <a:cubicBezTo>
                  <a:pt x="11379" y="2439"/>
                  <a:pt x="11403" y="2490"/>
                  <a:pt x="11433" y="2490"/>
                </a:cubicBezTo>
                <a:cubicBezTo>
                  <a:pt x="11462" y="2490"/>
                  <a:pt x="11486" y="2439"/>
                  <a:pt x="11486" y="2377"/>
                </a:cubicBezTo>
                <a:cubicBezTo>
                  <a:pt x="11486" y="2314"/>
                  <a:pt x="11462" y="2264"/>
                  <a:pt x="11433" y="2264"/>
                </a:cubicBezTo>
                <a:close/>
                <a:moveTo>
                  <a:pt x="11269" y="2816"/>
                </a:moveTo>
                <a:cubicBezTo>
                  <a:pt x="11299" y="2816"/>
                  <a:pt x="11323" y="2766"/>
                  <a:pt x="11323" y="2703"/>
                </a:cubicBezTo>
                <a:cubicBezTo>
                  <a:pt x="11323" y="2641"/>
                  <a:pt x="11299" y="2590"/>
                  <a:pt x="11269" y="2590"/>
                </a:cubicBezTo>
                <a:cubicBezTo>
                  <a:pt x="11239" y="2590"/>
                  <a:pt x="11215" y="2641"/>
                  <a:pt x="11215" y="2703"/>
                </a:cubicBezTo>
                <a:cubicBezTo>
                  <a:pt x="11215" y="2766"/>
                  <a:pt x="11239" y="2816"/>
                  <a:pt x="11269" y="2816"/>
                </a:cubicBezTo>
                <a:close/>
                <a:moveTo>
                  <a:pt x="11433" y="2590"/>
                </a:moveTo>
                <a:cubicBezTo>
                  <a:pt x="11403" y="2590"/>
                  <a:pt x="11379" y="2641"/>
                  <a:pt x="11379" y="2703"/>
                </a:cubicBezTo>
                <a:cubicBezTo>
                  <a:pt x="11379" y="2766"/>
                  <a:pt x="11403" y="2816"/>
                  <a:pt x="11433" y="2816"/>
                </a:cubicBezTo>
                <a:cubicBezTo>
                  <a:pt x="11462" y="2816"/>
                  <a:pt x="11486" y="2766"/>
                  <a:pt x="11486" y="2703"/>
                </a:cubicBezTo>
                <a:cubicBezTo>
                  <a:pt x="11486" y="2641"/>
                  <a:pt x="11462" y="2590"/>
                  <a:pt x="11433" y="2590"/>
                </a:cubicBezTo>
                <a:close/>
                <a:moveTo>
                  <a:pt x="11433" y="2936"/>
                </a:moveTo>
                <a:cubicBezTo>
                  <a:pt x="11403" y="2936"/>
                  <a:pt x="11379" y="2987"/>
                  <a:pt x="11379" y="3049"/>
                </a:cubicBezTo>
                <a:cubicBezTo>
                  <a:pt x="11379" y="3112"/>
                  <a:pt x="11403" y="3163"/>
                  <a:pt x="11433" y="3163"/>
                </a:cubicBezTo>
                <a:cubicBezTo>
                  <a:pt x="11462" y="3163"/>
                  <a:pt x="11486" y="3112"/>
                  <a:pt x="11486" y="3049"/>
                </a:cubicBezTo>
                <a:cubicBezTo>
                  <a:pt x="11486" y="2987"/>
                  <a:pt x="11462" y="2936"/>
                  <a:pt x="11433" y="2936"/>
                </a:cubicBezTo>
                <a:close/>
                <a:moveTo>
                  <a:pt x="11433" y="3263"/>
                </a:moveTo>
                <a:cubicBezTo>
                  <a:pt x="11403" y="3263"/>
                  <a:pt x="11379" y="3313"/>
                  <a:pt x="11379" y="3376"/>
                </a:cubicBezTo>
                <a:cubicBezTo>
                  <a:pt x="11379" y="3438"/>
                  <a:pt x="11403" y="3489"/>
                  <a:pt x="11433" y="3489"/>
                </a:cubicBezTo>
                <a:cubicBezTo>
                  <a:pt x="11462" y="3489"/>
                  <a:pt x="11486" y="3438"/>
                  <a:pt x="11486" y="3376"/>
                </a:cubicBezTo>
                <a:cubicBezTo>
                  <a:pt x="11486" y="3313"/>
                  <a:pt x="11462" y="3263"/>
                  <a:pt x="11433" y="3263"/>
                </a:cubicBezTo>
                <a:close/>
                <a:moveTo>
                  <a:pt x="11269" y="2168"/>
                </a:moveTo>
                <a:cubicBezTo>
                  <a:pt x="11299" y="2168"/>
                  <a:pt x="11323" y="2118"/>
                  <a:pt x="11323" y="2055"/>
                </a:cubicBezTo>
                <a:cubicBezTo>
                  <a:pt x="11323" y="1993"/>
                  <a:pt x="11299" y="1942"/>
                  <a:pt x="11269" y="1942"/>
                </a:cubicBezTo>
                <a:cubicBezTo>
                  <a:pt x="11239" y="1942"/>
                  <a:pt x="11215" y="1993"/>
                  <a:pt x="11215" y="2055"/>
                </a:cubicBezTo>
                <a:cubicBezTo>
                  <a:pt x="11215" y="2118"/>
                  <a:pt x="11239" y="2168"/>
                  <a:pt x="11269" y="2168"/>
                </a:cubicBezTo>
                <a:close/>
                <a:moveTo>
                  <a:pt x="11586" y="1942"/>
                </a:moveTo>
                <a:cubicBezTo>
                  <a:pt x="11556" y="1942"/>
                  <a:pt x="11532" y="1993"/>
                  <a:pt x="11532" y="2055"/>
                </a:cubicBezTo>
                <a:cubicBezTo>
                  <a:pt x="11532" y="2118"/>
                  <a:pt x="11556" y="2168"/>
                  <a:pt x="11586" y="2168"/>
                </a:cubicBezTo>
                <a:cubicBezTo>
                  <a:pt x="11615" y="2168"/>
                  <a:pt x="11639" y="2118"/>
                  <a:pt x="11639" y="2055"/>
                </a:cubicBezTo>
                <a:cubicBezTo>
                  <a:pt x="11639" y="1993"/>
                  <a:pt x="11615" y="1942"/>
                  <a:pt x="11586" y="1942"/>
                </a:cubicBezTo>
                <a:close/>
                <a:moveTo>
                  <a:pt x="12042" y="1942"/>
                </a:moveTo>
                <a:cubicBezTo>
                  <a:pt x="12013" y="1942"/>
                  <a:pt x="11989" y="1993"/>
                  <a:pt x="11989" y="2055"/>
                </a:cubicBezTo>
                <a:cubicBezTo>
                  <a:pt x="11989" y="2118"/>
                  <a:pt x="12013" y="2168"/>
                  <a:pt x="12042" y="2168"/>
                </a:cubicBezTo>
                <a:cubicBezTo>
                  <a:pt x="12072" y="2168"/>
                  <a:pt x="12096" y="2118"/>
                  <a:pt x="12096" y="2055"/>
                </a:cubicBezTo>
                <a:cubicBezTo>
                  <a:pt x="12096" y="1993"/>
                  <a:pt x="12072" y="1942"/>
                  <a:pt x="12042" y="1942"/>
                </a:cubicBezTo>
                <a:close/>
                <a:moveTo>
                  <a:pt x="11890" y="1942"/>
                </a:moveTo>
                <a:cubicBezTo>
                  <a:pt x="11860" y="1942"/>
                  <a:pt x="11836" y="1993"/>
                  <a:pt x="11836" y="2055"/>
                </a:cubicBezTo>
                <a:cubicBezTo>
                  <a:pt x="11836" y="2118"/>
                  <a:pt x="11860" y="2168"/>
                  <a:pt x="11890" y="2168"/>
                </a:cubicBezTo>
                <a:cubicBezTo>
                  <a:pt x="11919" y="2168"/>
                  <a:pt x="11944" y="2118"/>
                  <a:pt x="11944" y="2055"/>
                </a:cubicBezTo>
                <a:cubicBezTo>
                  <a:pt x="11944" y="1993"/>
                  <a:pt x="11919" y="1942"/>
                  <a:pt x="11890" y="1942"/>
                </a:cubicBezTo>
                <a:close/>
                <a:moveTo>
                  <a:pt x="12965" y="2490"/>
                </a:moveTo>
                <a:cubicBezTo>
                  <a:pt x="12994" y="2490"/>
                  <a:pt x="13018" y="2439"/>
                  <a:pt x="13018" y="2377"/>
                </a:cubicBezTo>
                <a:cubicBezTo>
                  <a:pt x="13018" y="2314"/>
                  <a:pt x="12994" y="2264"/>
                  <a:pt x="12965" y="2264"/>
                </a:cubicBezTo>
                <a:cubicBezTo>
                  <a:pt x="12935" y="2264"/>
                  <a:pt x="12911" y="2314"/>
                  <a:pt x="12911" y="2377"/>
                </a:cubicBezTo>
                <a:cubicBezTo>
                  <a:pt x="12911" y="2439"/>
                  <a:pt x="12935" y="2490"/>
                  <a:pt x="12965" y="2490"/>
                </a:cubicBezTo>
                <a:close/>
                <a:moveTo>
                  <a:pt x="12811" y="2264"/>
                </a:moveTo>
                <a:cubicBezTo>
                  <a:pt x="12781" y="2264"/>
                  <a:pt x="12757" y="2314"/>
                  <a:pt x="12757" y="2377"/>
                </a:cubicBezTo>
                <a:cubicBezTo>
                  <a:pt x="12757" y="2439"/>
                  <a:pt x="12781" y="2490"/>
                  <a:pt x="12811" y="2490"/>
                </a:cubicBezTo>
                <a:cubicBezTo>
                  <a:pt x="12840" y="2490"/>
                  <a:pt x="12864" y="2439"/>
                  <a:pt x="12864" y="2377"/>
                </a:cubicBezTo>
                <a:cubicBezTo>
                  <a:pt x="12864" y="2314"/>
                  <a:pt x="12840" y="2264"/>
                  <a:pt x="12811" y="2264"/>
                </a:cubicBezTo>
                <a:close/>
                <a:moveTo>
                  <a:pt x="12658" y="2490"/>
                </a:moveTo>
                <a:cubicBezTo>
                  <a:pt x="12688" y="2490"/>
                  <a:pt x="12712" y="2439"/>
                  <a:pt x="12712" y="2377"/>
                </a:cubicBezTo>
                <a:cubicBezTo>
                  <a:pt x="12712" y="2314"/>
                  <a:pt x="12688" y="2264"/>
                  <a:pt x="12658" y="2264"/>
                </a:cubicBezTo>
                <a:cubicBezTo>
                  <a:pt x="12628" y="2264"/>
                  <a:pt x="12604" y="2314"/>
                  <a:pt x="12604" y="2377"/>
                </a:cubicBezTo>
                <a:cubicBezTo>
                  <a:pt x="12604" y="2439"/>
                  <a:pt x="12628" y="2490"/>
                  <a:pt x="12658" y="2490"/>
                </a:cubicBezTo>
                <a:close/>
                <a:moveTo>
                  <a:pt x="12504" y="2490"/>
                </a:moveTo>
                <a:cubicBezTo>
                  <a:pt x="12534" y="2490"/>
                  <a:pt x="12558" y="2439"/>
                  <a:pt x="12558" y="2377"/>
                </a:cubicBezTo>
                <a:cubicBezTo>
                  <a:pt x="12558" y="2314"/>
                  <a:pt x="12534" y="2264"/>
                  <a:pt x="12504" y="2264"/>
                </a:cubicBezTo>
                <a:cubicBezTo>
                  <a:pt x="12475" y="2264"/>
                  <a:pt x="12451" y="2314"/>
                  <a:pt x="12451" y="2377"/>
                </a:cubicBezTo>
                <a:cubicBezTo>
                  <a:pt x="12451" y="2439"/>
                  <a:pt x="12475" y="2490"/>
                  <a:pt x="12504" y="2490"/>
                </a:cubicBezTo>
                <a:close/>
                <a:moveTo>
                  <a:pt x="12352" y="2264"/>
                </a:moveTo>
                <a:cubicBezTo>
                  <a:pt x="12322" y="2264"/>
                  <a:pt x="12298" y="2314"/>
                  <a:pt x="12298" y="2377"/>
                </a:cubicBezTo>
                <a:cubicBezTo>
                  <a:pt x="12298" y="2439"/>
                  <a:pt x="12322" y="2490"/>
                  <a:pt x="12352" y="2490"/>
                </a:cubicBezTo>
                <a:cubicBezTo>
                  <a:pt x="12381" y="2490"/>
                  <a:pt x="12406" y="2439"/>
                  <a:pt x="12406" y="2377"/>
                </a:cubicBezTo>
                <a:cubicBezTo>
                  <a:pt x="12406" y="2314"/>
                  <a:pt x="12381" y="2264"/>
                  <a:pt x="12352" y="2264"/>
                </a:cubicBezTo>
                <a:close/>
                <a:moveTo>
                  <a:pt x="12196" y="2490"/>
                </a:moveTo>
                <a:cubicBezTo>
                  <a:pt x="12226" y="2490"/>
                  <a:pt x="12250" y="2439"/>
                  <a:pt x="12250" y="2377"/>
                </a:cubicBezTo>
                <a:cubicBezTo>
                  <a:pt x="12250" y="2314"/>
                  <a:pt x="12226" y="2264"/>
                  <a:pt x="12196" y="2264"/>
                </a:cubicBezTo>
                <a:cubicBezTo>
                  <a:pt x="12167" y="2264"/>
                  <a:pt x="12143" y="2314"/>
                  <a:pt x="12143" y="2377"/>
                </a:cubicBezTo>
                <a:cubicBezTo>
                  <a:pt x="12143" y="2439"/>
                  <a:pt x="12167" y="2490"/>
                  <a:pt x="12196" y="2490"/>
                </a:cubicBezTo>
                <a:close/>
                <a:moveTo>
                  <a:pt x="11738" y="2264"/>
                </a:moveTo>
                <a:cubicBezTo>
                  <a:pt x="11709" y="2264"/>
                  <a:pt x="11684" y="2314"/>
                  <a:pt x="11684" y="2377"/>
                </a:cubicBezTo>
                <a:cubicBezTo>
                  <a:pt x="11684" y="2439"/>
                  <a:pt x="11709" y="2490"/>
                  <a:pt x="11738" y="2490"/>
                </a:cubicBezTo>
                <a:cubicBezTo>
                  <a:pt x="11768" y="2490"/>
                  <a:pt x="11792" y="2439"/>
                  <a:pt x="11792" y="2377"/>
                </a:cubicBezTo>
                <a:cubicBezTo>
                  <a:pt x="11792" y="2314"/>
                  <a:pt x="11768" y="2264"/>
                  <a:pt x="11738" y="2264"/>
                </a:cubicBezTo>
                <a:close/>
                <a:moveTo>
                  <a:pt x="11586" y="2264"/>
                </a:moveTo>
                <a:cubicBezTo>
                  <a:pt x="11556" y="2264"/>
                  <a:pt x="11532" y="2314"/>
                  <a:pt x="11532" y="2377"/>
                </a:cubicBezTo>
                <a:cubicBezTo>
                  <a:pt x="11532" y="2439"/>
                  <a:pt x="11556" y="2490"/>
                  <a:pt x="11586" y="2490"/>
                </a:cubicBezTo>
                <a:cubicBezTo>
                  <a:pt x="11615" y="2490"/>
                  <a:pt x="11639" y="2439"/>
                  <a:pt x="11639" y="2377"/>
                </a:cubicBezTo>
                <a:cubicBezTo>
                  <a:pt x="11639" y="2314"/>
                  <a:pt x="11615" y="2264"/>
                  <a:pt x="11586" y="2264"/>
                </a:cubicBezTo>
                <a:close/>
                <a:moveTo>
                  <a:pt x="11738" y="2590"/>
                </a:moveTo>
                <a:cubicBezTo>
                  <a:pt x="11709" y="2590"/>
                  <a:pt x="11684" y="2641"/>
                  <a:pt x="11684" y="2703"/>
                </a:cubicBezTo>
                <a:cubicBezTo>
                  <a:pt x="11684" y="2766"/>
                  <a:pt x="11709" y="2816"/>
                  <a:pt x="11738" y="2816"/>
                </a:cubicBezTo>
                <a:cubicBezTo>
                  <a:pt x="11768" y="2816"/>
                  <a:pt x="11792" y="2766"/>
                  <a:pt x="11792" y="2703"/>
                </a:cubicBezTo>
                <a:cubicBezTo>
                  <a:pt x="11792" y="2641"/>
                  <a:pt x="11768" y="2590"/>
                  <a:pt x="11738" y="2590"/>
                </a:cubicBezTo>
                <a:close/>
                <a:moveTo>
                  <a:pt x="11586" y="2590"/>
                </a:moveTo>
                <a:cubicBezTo>
                  <a:pt x="11556" y="2590"/>
                  <a:pt x="11532" y="2641"/>
                  <a:pt x="11532" y="2703"/>
                </a:cubicBezTo>
                <a:cubicBezTo>
                  <a:pt x="11532" y="2766"/>
                  <a:pt x="11556" y="2816"/>
                  <a:pt x="11586" y="2816"/>
                </a:cubicBezTo>
                <a:cubicBezTo>
                  <a:pt x="11615" y="2816"/>
                  <a:pt x="11639" y="2766"/>
                  <a:pt x="11639" y="2703"/>
                </a:cubicBezTo>
                <a:cubicBezTo>
                  <a:pt x="11639" y="2641"/>
                  <a:pt x="11615" y="2590"/>
                  <a:pt x="11586" y="2590"/>
                </a:cubicBezTo>
                <a:close/>
                <a:moveTo>
                  <a:pt x="12042" y="2264"/>
                </a:moveTo>
                <a:cubicBezTo>
                  <a:pt x="12013" y="2264"/>
                  <a:pt x="11989" y="2314"/>
                  <a:pt x="11989" y="2377"/>
                </a:cubicBezTo>
                <a:cubicBezTo>
                  <a:pt x="11989" y="2439"/>
                  <a:pt x="12013" y="2490"/>
                  <a:pt x="12042" y="2490"/>
                </a:cubicBezTo>
                <a:cubicBezTo>
                  <a:pt x="12072" y="2490"/>
                  <a:pt x="12096" y="2439"/>
                  <a:pt x="12096" y="2377"/>
                </a:cubicBezTo>
                <a:cubicBezTo>
                  <a:pt x="12096" y="2314"/>
                  <a:pt x="12072" y="2264"/>
                  <a:pt x="12042" y="2264"/>
                </a:cubicBezTo>
                <a:close/>
                <a:moveTo>
                  <a:pt x="11890" y="2264"/>
                </a:moveTo>
                <a:cubicBezTo>
                  <a:pt x="11860" y="2264"/>
                  <a:pt x="11836" y="2314"/>
                  <a:pt x="11836" y="2377"/>
                </a:cubicBezTo>
                <a:cubicBezTo>
                  <a:pt x="11836" y="2439"/>
                  <a:pt x="11860" y="2490"/>
                  <a:pt x="11890" y="2490"/>
                </a:cubicBezTo>
                <a:cubicBezTo>
                  <a:pt x="11919" y="2490"/>
                  <a:pt x="11944" y="2439"/>
                  <a:pt x="11944" y="2377"/>
                </a:cubicBezTo>
                <a:cubicBezTo>
                  <a:pt x="11944" y="2314"/>
                  <a:pt x="11919" y="2264"/>
                  <a:pt x="11890" y="2264"/>
                </a:cubicBezTo>
                <a:close/>
                <a:moveTo>
                  <a:pt x="12965" y="2816"/>
                </a:moveTo>
                <a:cubicBezTo>
                  <a:pt x="12994" y="2816"/>
                  <a:pt x="13018" y="2766"/>
                  <a:pt x="13018" y="2703"/>
                </a:cubicBezTo>
                <a:cubicBezTo>
                  <a:pt x="13018" y="2641"/>
                  <a:pt x="12994" y="2590"/>
                  <a:pt x="12965" y="2590"/>
                </a:cubicBezTo>
                <a:cubicBezTo>
                  <a:pt x="12935" y="2590"/>
                  <a:pt x="12911" y="2641"/>
                  <a:pt x="12911" y="2703"/>
                </a:cubicBezTo>
                <a:cubicBezTo>
                  <a:pt x="12911" y="2766"/>
                  <a:pt x="12935" y="2816"/>
                  <a:pt x="12965" y="2816"/>
                </a:cubicBezTo>
                <a:close/>
                <a:moveTo>
                  <a:pt x="12811" y="2590"/>
                </a:moveTo>
                <a:cubicBezTo>
                  <a:pt x="12781" y="2590"/>
                  <a:pt x="12757" y="2641"/>
                  <a:pt x="12757" y="2703"/>
                </a:cubicBezTo>
                <a:cubicBezTo>
                  <a:pt x="12757" y="2766"/>
                  <a:pt x="12781" y="2816"/>
                  <a:pt x="12811" y="2816"/>
                </a:cubicBezTo>
                <a:cubicBezTo>
                  <a:pt x="12840" y="2816"/>
                  <a:pt x="12864" y="2766"/>
                  <a:pt x="12864" y="2703"/>
                </a:cubicBezTo>
                <a:cubicBezTo>
                  <a:pt x="12864" y="2641"/>
                  <a:pt x="12840" y="2590"/>
                  <a:pt x="12811" y="2590"/>
                </a:cubicBezTo>
                <a:close/>
                <a:moveTo>
                  <a:pt x="12658" y="2816"/>
                </a:moveTo>
                <a:cubicBezTo>
                  <a:pt x="12688" y="2816"/>
                  <a:pt x="12712" y="2766"/>
                  <a:pt x="12712" y="2703"/>
                </a:cubicBezTo>
                <a:cubicBezTo>
                  <a:pt x="12712" y="2641"/>
                  <a:pt x="12688" y="2590"/>
                  <a:pt x="12658" y="2590"/>
                </a:cubicBezTo>
                <a:cubicBezTo>
                  <a:pt x="12628" y="2590"/>
                  <a:pt x="12604" y="2641"/>
                  <a:pt x="12604" y="2703"/>
                </a:cubicBezTo>
                <a:cubicBezTo>
                  <a:pt x="12604" y="2766"/>
                  <a:pt x="12628" y="2816"/>
                  <a:pt x="12658" y="2816"/>
                </a:cubicBezTo>
                <a:close/>
                <a:moveTo>
                  <a:pt x="12504" y="2816"/>
                </a:moveTo>
                <a:cubicBezTo>
                  <a:pt x="12534" y="2816"/>
                  <a:pt x="12558" y="2766"/>
                  <a:pt x="12558" y="2703"/>
                </a:cubicBezTo>
                <a:cubicBezTo>
                  <a:pt x="12558" y="2641"/>
                  <a:pt x="12534" y="2590"/>
                  <a:pt x="12504" y="2590"/>
                </a:cubicBezTo>
                <a:cubicBezTo>
                  <a:pt x="12475" y="2590"/>
                  <a:pt x="12451" y="2641"/>
                  <a:pt x="12451" y="2703"/>
                </a:cubicBezTo>
                <a:cubicBezTo>
                  <a:pt x="12451" y="2766"/>
                  <a:pt x="12475" y="2816"/>
                  <a:pt x="12504" y="2816"/>
                </a:cubicBezTo>
                <a:close/>
                <a:moveTo>
                  <a:pt x="12352" y="2590"/>
                </a:moveTo>
                <a:cubicBezTo>
                  <a:pt x="12322" y="2590"/>
                  <a:pt x="12298" y="2641"/>
                  <a:pt x="12298" y="2703"/>
                </a:cubicBezTo>
                <a:cubicBezTo>
                  <a:pt x="12298" y="2766"/>
                  <a:pt x="12322" y="2816"/>
                  <a:pt x="12352" y="2816"/>
                </a:cubicBezTo>
                <a:cubicBezTo>
                  <a:pt x="12381" y="2816"/>
                  <a:pt x="12406" y="2766"/>
                  <a:pt x="12406" y="2703"/>
                </a:cubicBezTo>
                <a:cubicBezTo>
                  <a:pt x="12406" y="2641"/>
                  <a:pt x="12381" y="2590"/>
                  <a:pt x="12352" y="2590"/>
                </a:cubicBezTo>
                <a:close/>
                <a:moveTo>
                  <a:pt x="12196" y="2816"/>
                </a:moveTo>
                <a:cubicBezTo>
                  <a:pt x="12226" y="2816"/>
                  <a:pt x="12250" y="2766"/>
                  <a:pt x="12250" y="2703"/>
                </a:cubicBezTo>
                <a:cubicBezTo>
                  <a:pt x="12250" y="2641"/>
                  <a:pt x="12226" y="2590"/>
                  <a:pt x="12196" y="2590"/>
                </a:cubicBezTo>
                <a:cubicBezTo>
                  <a:pt x="12167" y="2590"/>
                  <a:pt x="12143" y="2641"/>
                  <a:pt x="12143" y="2703"/>
                </a:cubicBezTo>
                <a:cubicBezTo>
                  <a:pt x="12143" y="2766"/>
                  <a:pt x="12167" y="2816"/>
                  <a:pt x="12196" y="2816"/>
                </a:cubicBezTo>
                <a:close/>
                <a:moveTo>
                  <a:pt x="12042" y="2590"/>
                </a:moveTo>
                <a:cubicBezTo>
                  <a:pt x="12013" y="2590"/>
                  <a:pt x="11989" y="2641"/>
                  <a:pt x="11989" y="2703"/>
                </a:cubicBezTo>
                <a:cubicBezTo>
                  <a:pt x="11989" y="2766"/>
                  <a:pt x="12013" y="2816"/>
                  <a:pt x="12042" y="2816"/>
                </a:cubicBezTo>
                <a:cubicBezTo>
                  <a:pt x="12072" y="2816"/>
                  <a:pt x="12096" y="2766"/>
                  <a:pt x="12096" y="2703"/>
                </a:cubicBezTo>
                <a:cubicBezTo>
                  <a:pt x="12096" y="2641"/>
                  <a:pt x="12072" y="2590"/>
                  <a:pt x="12042" y="2590"/>
                </a:cubicBezTo>
                <a:close/>
                <a:moveTo>
                  <a:pt x="11890" y="2590"/>
                </a:moveTo>
                <a:cubicBezTo>
                  <a:pt x="11860" y="2590"/>
                  <a:pt x="11836" y="2641"/>
                  <a:pt x="11836" y="2703"/>
                </a:cubicBezTo>
                <a:cubicBezTo>
                  <a:pt x="11836" y="2766"/>
                  <a:pt x="11860" y="2816"/>
                  <a:pt x="11890" y="2816"/>
                </a:cubicBezTo>
                <a:cubicBezTo>
                  <a:pt x="11919" y="2816"/>
                  <a:pt x="11944" y="2766"/>
                  <a:pt x="11944" y="2703"/>
                </a:cubicBezTo>
                <a:cubicBezTo>
                  <a:pt x="11944" y="2641"/>
                  <a:pt x="11919" y="2590"/>
                  <a:pt x="11890" y="2590"/>
                </a:cubicBezTo>
                <a:close/>
                <a:moveTo>
                  <a:pt x="12965" y="3163"/>
                </a:moveTo>
                <a:cubicBezTo>
                  <a:pt x="12994" y="3163"/>
                  <a:pt x="13018" y="3112"/>
                  <a:pt x="13018" y="3049"/>
                </a:cubicBezTo>
                <a:cubicBezTo>
                  <a:pt x="13018" y="2987"/>
                  <a:pt x="12994" y="2936"/>
                  <a:pt x="12965" y="2936"/>
                </a:cubicBezTo>
                <a:cubicBezTo>
                  <a:pt x="12935" y="2936"/>
                  <a:pt x="12911" y="2987"/>
                  <a:pt x="12911" y="3049"/>
                </a:cubicBezTo>
                <a:cubicBezTo>
                  <a:pt x="12911" y="3112"/>
                  <a:pt x="12935" y="3163"/>
                  <a:pt x="12965" y="3163"/>
                </a:cubicBezTo>
                <a:close/>
                <a:moveTo>
                  <a:pt x="12811" y="2936"/>
                </a:moveTo>
                <a:cubicBezTo>
                  <a:pt x="12781" y="2936"/>
                  <a:pt x="12757" y="2987"/>
                  <a:pt x="12757" y="3049"/>
                </a:cubicBezTo>
                <a:cubicBezTo>
                  <a:pt x="12757" y="3112"/>
                  <a:pt x="12781" y="3163"/>
                  <a:pt x="12811" y="3163"/>
                </a:cubicBezTo>
                <a:cubicBezTo>
                  <a:pt x="12840" y="3163"/>
                  <a:pt x="12864" y="3112"/>
                  <a:pt x="12864" y="3049"/>
                </a:cubicBezTo>
                <a:cubicBezTo>
                  <a:pt x="12864" y="2987"/>
                  <a:pt x="12840" y="2936"/>
                  <a:pt x="12811" y="2936"/>
                </a:cubicBezTo>
                <a:close/>
                <a:moveTo>
                  <a:pt x="12658" y="3163"/>
                </a:moveTo>
                <a:cubicBezTo>
                  <a:pt x="12688" y="3163"/>
                  <a:pt x="12712" y="3112"/>
                  <a:pt x="12712" y="3049"/>
                </a:cubicBezTo>
                <a:cubicBezTo>
                  <a:pt x="12712" y="2987"/>
                  <a:pt x="12688" y="2936"/>
                  <a:pt x="12658" y="2936"/>
                </a:cubicBezTo>
                <a:cubicBezTo>
                  <a:pt x="12628" y="2936"/>
                  <a:pt x="12604" y="2987"/>
                  <a:pt x="12604" y="3049"/>
                </a:cubicBezTo>
                <a:cubicBezTo>
                  <a:pt x="12604" y="3112"/>
                  <a:pt x="12628" y="3163"/>
                  <a:pt x="12658" y="3163"/>
                </a:cubicBezTo>
                <a:close/>
                <a:moveTo>
                  <a:pt x="12504" y="3163"/>
                </a:moveTo>
                <a:cubicBezTo>
                  <a:pt x="12534" y="3163"/>
                  <a:pt x="12558" y="3112"/>
                  <a:pt x="12558" y="3049"/>
                </a:cubicBezTo>
                <a:cubicBezTo>
                  <a:pt x="12558" y="2987"/>
                  <a:pt x="12534" y="2936"/>
                  <a:pt x="12504" y="2936"/>
                </a:cubicBezTo>
                <a:cubicBezTo>
                  <a:pt x="12475" y="2936"/>
                  <a:pt x="12451" y="2987"/>
                  <a:pt x="12451" y="3049"/>
                </a:cubicBezTo>
                <a:cubicBezTo>
                  <a:pt x="12451" y="3112"/>
                  <a:pt x="12475" y="3163"/>
                  <a:pt x="12504" y="3163"/>
                </a:cubicBezTo>
                <a:close/>
                <a:moveTo>
                  <a:pt x="12352" y="2936"/>
                </a:moveTo>
                <a:cubicBezTo>
                  <a:pt x="12322" y="2936"/>
                  <a:pt x="12298" y="2987"/>
                  <a:pt x="12298" y="3049"/>
                </a:cubicBezTo>
                <a:cubicBezTo>
                  <a:pt x="12298" y="3112"/>
                  <a:pt x="12322" y="3163"/>
                  <a:pt x="12352" y="3163"/>
                </a:cubicBezTo>
                <a:cubicBezTo>
                  <a:pt x="12381" y="3163"/>
                  <a:pt x="12406" y="3112"/>
                  <a:pt x="12406" y="3049"/>
                </a:cubicBezTo>
                <a:cubicBezTo>
                  <a:pt x="12406" y="2987"/>
                  <a:pt x="12381" y="2936"/>
                  <a:pt x="12352" y="2936"/>
                </a:cubicBezTo>
                <a:close/>
                <a:moveTo>
                  <a:pt x="12196" y="3163"/>
                </a:moveTo>
                <a:cubicBezTo>
                  <a:pt x="12226" y="3163"/>
                  <a:pt x="12250" y="3112"/>
                  <a:pt x="12250" y="3049"/>
                </a:cubicBezTo>
                <a:cubicBezTo>
                  <a:pt x="12250" y="2987"/>
                  <a:pt x="12226" y="2936"/>
                  <a:pt x="12196" y="2936"/>
                </a:cubicBezTo>
                <a:cubicBezTo>
                  <a:pt x="12167" y="2936"/>
                  <a:pt x="12143" y="2987"/>
                  <a:pt x="12143" y="3049"/>
                </a:cubicBezTo>
                <a:cubicBezTo>
                  <a:pt x="12143" y="3112"/>
                  <a:pt x="12167" y="3163"/>
                  <a:pt x="12196" y="3163"/>
                </a:cubicBezTo>
                <a:close/>
                <a:moveTo>
                  <a:pt x="11738" y="2936"/>
                </a:moveTo>
                <a:cubicBezTo>
                  <a:pt x="11709" y="2936"/>
                  <a:pt x="11684" y="2987"/>
                  <a:pt x="11684" y="3049"/>
                </a:cubicBezTo>
                <a:cubicBezTo>
                  <a:pt x="11684" y="3112"/>
                  <a:pt x="11709" y="3163"/>
                  <a:pt x="11738" y="3163"/>
                </a:cubicBezTo>
                <a:cubicBezTo>
                  <a:pt x="11768" y="3163"/>
                  <a:pt x="11792" y="3112"/>
                  <a:pt x="11792" y="3049"/>
                </a:cubicBezTo>
                <a:cubicBezTo>
                  <a:pt x="11792" y="2987"/>
                  <a:pt x="11768" y="2936"/>
                  <a:pt x="11738" y="2936"/>
                </a:cubicBezTo>
                <a:close/>
                <a:moveTo>
                  <a:pt x="11586" y="6139"/>
                </a:moveTo>
                <a:cubicBezTo>
                  <a:pt x="11556" y="6139"/>
                  <a:pt x="11532" y="6189"/>
                  <a:pt x="11532" y="6252"/>
                </a:cubicBezTo>
                <a:cubicBezTo>
                  <a:pt x="11532" y="6314"/>
                  <a:pt x="11556" y="6365"/>
                  <a:pt x="11586" y="6365"/>
                </a:cubicBezTo>
                <a:cubicBezTo>
                  <a:pt x="11615" y="6365"/>
                  <a:pt x="11639" y="6314"/>
                  <a:pt x="11639" y="6252"/>
                </a:cubicBezTo>
                <a:cubicBezTo>
                  <a:pt x="11639" y="6189"/>
                  <a:pt x="11615" y="6139"/>
                  <a:pt x="11586" y="6139"/>
                </a:cubicBezTo>
                <a:close/>
                <a:moveTo>
                  <a:pt x="11586" y="6465"/>
                </a:moveTo>
                <a:cubicBezTo>
                  <a:pt x="11556" y="6465"/>
                  <a:pt x="11532" y="6516"/>
                  <a:pt x="11532" y="6578"/>
                </a:cubicBezTo>
                <a:cubicBezTo>
                  <a:pt x="11532" y="6641"/>
                  <a:pt x="11556" y="6691"/>
                  <a:pt x="11586" y="6691"/>
                </a:cubicBezTo>
                <a:cubicBezTo>
                  <a:pt x="11615" y="6691"/>
                  <a:pt x="11639" y="6641"/>
                  <a:pt x="11639" y="6578"/>
                </a:cubicBezTo>
                <a:cubicBezTo>
                  <a:pt x="11639" y="6516"/>
                  <a:pt x="11615" y="6465"/>
                  <a:pt x="11586" y="6465"/>
                </a:cubicBezTo>
                <a:close/>
                <a:moveTo>
                  <a:pt x="11586" y="6773"/>
                </a:moveTo>
                <a:cubicBezTo>
                  <a:pt x="11556" y="6773"/>
                  <a:pt x="11532" y="6824"/>
                  <a:pt x="11532" y="6886"/>
                </a:cubicBezTo>
                <a:cubicBezTo>
                  <a:pt x="11532" y="6949"/>
                  <a:pt x="11556" y="6999"/>
                  <a:pt x="11586" y="6999"/>
                </a:cubicBezTo>
                <a:cubicBezTo>
                  <a:pt x="11615" y="6999"/>
                  <a:pt x="11639" y="6949"/>
                  <a:pt x="11639" y="6886"/>
                </a:cubicBezTo>
                <a:cubicBezTo>
                  <a:pt x="11639" y="6824"/>
                  <a:pt x="11615" y="6773"/>
                  <a:pt x="11586" y="6773"/>
                </a:cubicBezTo>
                <a:close/>
                <a:moveTo>
                  <a:pt x="11586" y="7085"/>
                </a:moveTo>
                <a:cubicBezTo>
                  <a:pt x="11556" y="7085"/>
                  <a:pt x="11532" y="7136"/>
                  <a:pt x="11532" y="7199"/>
                </a:cubicBezTo>
                <a:cubicBezTo>
                  <a:pt x="11532" y="7261"/>
                  <a:pt x="11556" y="7312"/>
                  <a:pt x="11586" y="7312"/>
                </a:cubicBezTo>
                <a:cubicBezTo>
                  <a:pt x="11615" y="7312"/>
                  <a:pt x="11639" y="7261"/>
                  <a:pt x="11639" y="7199"/>
                </a:cubicBezTo>
                <a:cubicBezTo>
                  <a:pt x="11639" y="7136"/>
                  <a:pt x="11615" y="7085"/>
                  <a:pt x="11586" y="7085"/>
                </a:cubicBezTo>
                <a:close/>
                <a:moveTo>
                  <a:pt x="11586" y="7412"/>
                </a:moveTo>
                <a:cubicBezTo>
                  <a:pt x="11556" y="7412"/>
                  <a:pt x="11532" y="7462"/>
                  <a:pt x="11532" y="7525"/>
                </a:cubicBezTo>
                <a:cubicBezTo>
                  <a:pt x="11532" y="7587"/>
                  <a:pt x="11556" y="7638"/>
                  <a:pt x="11586" y="7638"/>
                </a:cubicBezTo>
                <a:cubicBezTo>
                  <a:pt x="11615" y="7638"/>
                  <a:pt x="11639" y="7587"/>
                  <a:pt x="11639" y="7525"/>
                </a:cubicBezTo>
                <a:cubicBezTo>
                  <a:pt x="11639" y="7462"/>
                  <a:pt x="11615" y="7412"/>
                  <a:pt x="11586" y="7412"/>
                </a:cubicBezTo>
                <a:close/>
                <a:moveTo>
                  <a:pt x="11586" y="7719"/>
                </a:moveTo>
                <a:cubicBezTo>
                  <a:pt x="11556" y="7719"/>
                  <a:pt x="11532" y="7770"/>
                  <a:pt x="11532" y="7833"/>
                </a:cubicBezTo>
                <a:cubicBezTo>
                  <a:pt x="11532" y="7895"/>
                  <a:pt x="11556" y="7946"/>
                  <a:pt x="11586" y="7946"/>
                </a:cubicBezTo>
                <a:cubicBezTo>
                  <a:pt x="11615" y="7946"/>
                  <a:pt x="11639" y="7895"/>
                  <a:pt x="11639" y="7833"/>
                </a:cubicBezTo>
                <a:cubicBezTo>
                  <a:pt x="11639" y="7770"/>
                  <a:pt x="11615" y="7719"/>
                  <a:pt x="11586" y="7719"/>
                </a:cubicBezTo>
                <a:close/>
                <a:moveTo>
                  <a:pt x="11586" y="2936"/>
                </a:moveTo>
                <a:cubicBezTo>
                  <a:pt x="11556" y="2936"/>
                  <a:pt x="11532" y="2987"/>
                  <a:pt x="11532" y="3049"/>
                </a:cubicBezTo>
                <a:cubicBezTo>
                  <a:pt x="11532" y="3112"/>
                  <a:pt x="11556" y="3163"/>
                  <a:pt x="11586" y="3163"/>
                </a:cubicBezTo>
                <a:cubicBezTo>
                  <a:pt x="11615" y="3163"/>
                  <a:pt x="11639" y="3112"/>
                  <a:pt x="11639" y="3049"/>
                </a:cubicBezTo>
                <a:cubicBezTo>
                  <a:pt x="11639" y="2987"/>
                  <a:pt x="11615" y="2936"/>
                  <a:pt x="11586" y="2936"/>
                </a:cubicBezTo>
                <a:close/>
                <a:moveTo>
                  <a:pt x="11738" y="3263"/>
                </a:moveTo>
                <a:cubicBezTo>
                  <a:pt x="11709" y="3263"/>
                  <a:pt x="11684" y="3313"/>
                  <a:pt x="11684" y="3376"/>
                </a:cubicBezTo>
                <a:cubicBezTo>
                  <a:pt x="11684" y="3438"/>
                  <a:pt x="11709" y="3489"/>
                  <a:pt x="11738" y="3489"/>
                </a:cubicBezTo>
                <a:cubicBezTo>
                  <a:pt x="11768" y="3489"/>
                  <a:pt x="11792" y="3438"/>
                  <a:pt x="11792" y="3376"/>
                </a:cubicBezTo>
                <a:cubicBezTo>
                  <a:pt x="11792" y="3313"/>
                  <a:pt x="11768" y="3263"/>
                  <a:pt x="11738" y="3263"/>
                </a:cubicBezTo>
                <a:close/>
                <a:moveTo>
                  <a:pt x="11586" y="3263"/>
                </a:moveTo>
                <a:cubicBezTo>
                  <a:pt x="11556" y="3263"/>
                  <a:pt x="11532" y="3313"/>
                  <a:pt x="11532" y="3376"/>
                </a:cubicBezTo>
                <a:cubicBezTo>
                  <a:pt x="11532" y="3438"/>
                  <a:pt x="11556" y="3489"/>
                  <a:pt x="11586" y="3489"/>
                </a:cubicBezTo>
                <a:cubicBezTo>
                  <a:pt x="11615" y="3489"/>
                  <a:pt x="11639" y="3438"/>
                  <a:pt x="11639" y="3376"/>
                </a:cubicBezTo>
                <a:cubicBezTo>
                  <a:pt x="11639" y="3313"/>
                  <a:pt x="11615" y="3263"/>
                  <a:pt x="11586" y="3263"/>
                </a:cubicBezTo>
                <a:close/>
                <a:moveTo>
                  <a:pt x="11738" y="6144"/>
                </a:moveTo>
                <a:cubicBezTo>
                  <a:pt x="11709" y="6144"/>
                  <a:pt x="11684" y="6195"/>
                  <a:pt x="11684" y="6257"/>
                </a:cubicBezTo>
                <a:cubicBezTo>
                  <a:pt x="11684" y="6320"/>
                  <a:pt x="11709" y="6370"/>
                  <a:pt x="11738" y="6370"/>
                </a:cubicBezTo>
                <a:cubicBezTo>
                  <a:pt x="11768" y="6370"/>
                  <a:pt x="11792" y="6320"/>
                  <a:pt x="11792" y="6257"/>
                </a:cubicBezTo>
                <a:cubicBezTo>
                  <a:pt x="11792" y="6195"/>
                  <a:pt x="11768" y="6144"/>
                  <a:pt x="11738" y="6144"/>
                </a:cubicBezTo>
                <a:close/>
                <a:moveTo>
                  <a:pt x="12042" y="6144"/>
                </a:moveTo>
                <a:cubicBezTo>
                  <a:pt x="12013" y="6144"/>
                  <a:pt x="11989" y="6195"/>
                  <a:pt x="11989" y="6257"/>
                </a:cubicBezTo>
                <a:cubicBezTo>
                  <a:pt x="11989" y="6320"/>
                  <a:pt x="12013" y="6370"/>
                  <a:pt x="12042" y="6370"/>
                </a:cubicBezTo>
                <a:cubicBezTo>
                  <a:pt x="12072" y="6370"/>
                  <a:pt x="12096" y="6320"/>
                  <a:pt x="12096" y="6257"/>
                </a:cubicBezTo>
                <a:cubicBezTo>
                  <a:pt x="12096" y="6195"/>
                  <a:pt x="12072" y="6144"/>
                  <a:pt x="12042" y="6144"/>
                </a:cubicBezTo>
                <a:close/>
                <a:moveTo>
                  <a:pt x="11890" y="6144"/>
                </a:moveTo>
                <a:cubicBezTo>
                  <a:pt x="11860" y="6144"/>
                  <a:pt x="11836" y="6195"/>
                  <a:pt x="11836" y="6257"/>
                </a:cubicBezTo>
                <a:cubicBezTo>
                  <a:pt x="11836" y="6320"/>
                  <a:pt x="11860" y="6370"/>
                  <a:pt x="11890" y="6370"/>
                </a:cubicBezTo>
                <a:cubicBezTo>
                  <a:pt x="11919" y="6370"/>
                  <a:pt x="11944" y="6320"/>
                  <a:pt x="11944" y="6257"/>
                </a:cubicBezTo>
                <a:cubicBezTo>
                  <a:pt x="11944" y="6195"/>
                  <a:pt x="11919" y="6144"/>
                  <a:pt x="11890" y="6144"/>
                </a:cubicBezTo>
                <a:close/>
                <a:moveTo>
                  <a:pt x="11738" y="6457"/>
                </a:moveTo>
                <a:cubicBezTo>
                  <a:pt x="11709" y="6457"/>
                  <a:pt x="11684" y="6507"/>
                  <a:pt x="11684" y="6570"/>
                </a:cubicBezTo>
                <a:cubicBezTo>
                  <a:pt x="11684" y="6632"/>
                  <a:pt x="11709" y="6683"/>
                  <a:pt x="11738" y="6683"/>
                </a:cubicBezTo>
                <a:cubicBezTo>
                  <a:pt x="11768" y="6683"/>
                  <a:pt x="11792" y="6632"/>
                  <a:pt x="11792" y="6570"/>
                </a:cubicBezTo>
                <a:cubicBezTo>
                  <a:pt x="11792" y="6507"/>
                  <a:pt x="11768" y="6457"/>
                  <a:pt x="11738" y="6457"/>
                </a:cubicBezTo>
                <a:close/>
                <a:moveTo>
                  <a:pt x="11738" y="8732"/>
                </a:moveTo>
                <a:cubicBezTo>
                  <a:pt x="11709" y="8732"/>
                  <a:pt x="11684" y="8783"/>
                  <a:pt x="11684" y="8846"/>
                </a:cubicBezTo>
                <a:cubicBezTo>
                  <a:pt x="11684" y="8908"/>
                  <a:pt x="11709" y="8959"/>
                  <a:pt x="11738" y="8959"/>
                </a:cubicBezTo>
                <a:cubicBezTo>
                  <a:pt x="11768" y="8959"/>
                  <a:pt x="11792" y="8908"/>
                  <a:pt x="11792" y="8846"/>
                </a:cubicBezTo>
                <a:cubicBezTo>
                  <a:pt x="11792" y="8783"/>
                  <a:pt x="11768" y="8732"/>
                  <a:pt x="11738" y="8732"/>
                </a:cubicBezTo>
                <a:close/>
                <a:moveTo>
                  <a:pt x="12042" y="8732"/>
                </a:moveTo>
                <a:cubicBezTo>
                  <a:pt x="12013" y="8732"/>
                  <a:pt x="11989" y="8783"/>
                  <a:pt x="11989" y="8846"/>
                </a:cubicBezTo>
                <a:cubicBezTo>
                  <a:pt x="11989" y="8908"/>
                  <a:pt x="12013" y="8959"/>
                  <a:pt x="12042" y="8959"/>
                </a:cubicBezTo>
                <a:cubicBezTo>
                  <a:pt x="12072" y="8959"/>
                  <a:pt x="12096" y="8908"/>
                  <a:pt x="12096" y="8846"/>
                </a:cubicBezTo>
                <a:cubicBezTo>
                  <a:pt x="12096" y="8783"/>
                  <a:pt x="12072" y="8732"/>
                  <a:pt x="12042" y="8732"/>
                </a:cubicBezTo>
                <a:close/>
                <a:moveTo>
                  <a:pt x="11890" y="8732"/>
                </a:moveTo>
                <a:cubicBezTo>
                  <a:pt x="11860" y="8732"/>
                  <a:pt x="11836" y="8783"/>
                  <a:pt x="11836" y="8846"/>
                </a:cubicBezTo>
                <a:cubicBezTo>
                  <a:pt x="11836" y="8908"/>
                  <a:pt x="11860" y="8959"/>
                  <a:pt x="11890" y="8959"/>
                </a:cubicBezTo>
                <a:cubicBezTo>
                  <a:pt x="11919" y="8959"/>
                  <a:pt x="11944" y="8908"/>
                  <a:pt x="11944" y="8846"/>
                </a:cubicBezTo>
                <a:cubicBezTo>
                  <a:pt x="11944" y="8783"/>
                  <a:pt x="11919" y="8732"/>
                  <a:pt x="11890" y="8732"/>
                </a:cubicBezTo>
                <a:close/>
                <a:moveTo>
                  <a:pt x="12042" y="9040"/>
                </a:moveTo>
                <a:cubicBezTo>
                  <a:pt x="12013" y="9040"/>
                  <a:pt x="11989" y="9091"/>
                  <a:pt x="11989" y="9153"/>
                </a:cubicBezTo>
                <a:cubicBezTo>
                  <a:pt x="11989" y="9216"/>
                  <a:pt x="12013" y="9266"/>
                  <a:pt x="12042" y="9266"/>
                </a:cubicBezTo>
                <a:cubicBezTo>
                  <a:pt x="12072" y="9266"/>
                  <a:pt x="12096" y="9216"/>
                  <a:pt x="12096" y="9153"/>
                </a:cubicBezTo>
                <a:cubicBezTo>
                  <a:pt x="12096" y="9091"/>
                  <a:pt x="12072" y="9040"/>
                  <a:pt x="12042" y="9040"/>
                </a:cubicBezTo>
                <a:close/>
                <a:moveTo>
                  <a:pt x="11890" y="9390"/>
                </a:moveTo>
                <a:cubicBezTo>
                  <a:pt x="11860" y="9390"/>
                  <a:pt x="11836" y="9441"/>
                  <a:pt x="11836" y="9504"/>
                </a:cubicBezTo>
                <a:cubicBezTo>
                  <a:pt x="11836" y="9566"/>
                  <a:pt x="11860" y="9617"/>
                  <a:pt x="11890" y="9617"/>
                </a:cubicBezTo>
                <a:cubicBezTo>
                  <a:pt x="11919" y="9617"/>
                  <a:pt x="11944" y="9566"/>
                  <a:pt x="11944" y="9504"/>
                </a:cubicBezTo>
                <a:cubicBezTo>
                  <a:pt x="11944" y="9441"/>
                  <a:pt x="11919" y="9390"/>
                  <a:pt x="11890" y="9390"/>
                </a:cubicBezTo>
                <a:close/>
                <a:moveTo>
                  <a:pt x="11890" y="9040"/>
                </a:moveTo>
                <a:cubicBezTo>
                  <a:pt x="11860" y="9040"/>
                  <a:pt x="11836" y="9091"/>
                  <a:pt x="11836" y="9153"/>
                </a:cubicBezTo>
                <a:cubicBezTo>
                  <a:pt x="11836" y="9216"/>
                  <a:pt x="11860" y="9266"/>
                  <a:pt x="11890" y="9266"/>
                </a:cubicBezTo>
                <a:cubicBezTo>
                  <a:pt x="11919" y="9266"/>
                  <a:pt x="11944" y="9216"/>
                  <a:pt x="11944" y="9153"/>
                </a:cubicBezTo>
                <a:cubicBezTo>
                  <a:pt x="11944" y="9091"/>
                  <a:pt x="11919" y="9040"/>
                  <a:pt x="11890" y="9040"/>
                </a:cubicBezTo>
                <a:close/>
                <a:moveTo>
                  <a:pt x="11578" y="8315"/>
                </a:moveTo>
                <a:cubicBezTo>
                  <a:pt x="11608" y="8315"/>
                  <a:pt x="11632" y="8265"/>
                  <a:pt x="11632" y="8202"/>
                </a:cubicBezTo>
                <a:cubicBezTo>
                  <a:pt x="11632" y="8140"/>
                  <a:pt x="11608" y="8089"/>
                  <a:pt x="11578" y="8089"/>
                </a:cubicBezTo>
                <a:cubicBezTo>
                  <a:pt x="11549" y="8089"/>
                  <a:pt x="11525" y="8140"/>
                  <a:pt x="11525" y="8202"/>
                </a:cubicBezTo>
                <a:cubicBezTo>
                  <a:pt x="11525" y="8265"/>
                  <a:pt x="11549" y="8315"/>
                  <a:pt x="11578" y="8315"/>
                </a:cubicBezTo>
                <a:close/>
                <a:moveTo>
                  <a:pt x="11738" y="8089"/>
                </a:moveTo>
                <a:cubicBezTo>
                  <a:pt x="11709" y="8089"/>
                  <a:pt x="11684" y="8140"/>
                  <a:pt x="11684" y="8202"/>
                </a:cubicBezTo>
                <a:cubicBezTo>
                  <a:pt x="11684" y="8265"/>
                  <a:pt x="11709" y="8315"/>
                  <a:pt x="11738" y="8315"/>
                </a:cubicBezTo>
                <a:cubicBezTo>
                  <a:pt x="11768" y="8315"/>
                  <a:pt x="11792" y="8265"/>
                  <a:pt x="11792" y="8202"/>
                </a:cubicBezTo>
                <a:cubicBezTo>
                  <a:pt x="11792" y="8140"/>
                  <a:pt x="11768" y="8089"/>
                  <a:pt x="11738" y="8089"/>
                </a:cubicBezTo>
                <a:close/>
                <a:moveTo>
                  <a:pt x="12042" y="8089"/>
                </a:moveTo>
                <a:cubicBezTo>
                  <a:pt x="12013" y="8089"/>
                  <a:pt x="11989" y="8140"/>
                  <a:pt x="11989" y="8202"/>
                </a:cubicBezTo>
                <a:cubicBezTo>
                  <a:pt x="11989" y="8265"/>
                  <a:pt x="12013" y="8315"/>
                  <a:pt x="12042" y="8315"/>
                </a:cubicBezTo>
                <a:cubicBezTo>
                  <a:pt x="12072" y="8315"/>
                  <a:pt x="12096" y="8265"/>
                  <a:pt x="12096" y="8202"/>
                </a:cubicBezTo>
                <a:cubicBezTo>
                  <a:pt x="12096" y="8140"/>
                  <a:pt x="12072" y="8089"/>
                  <a:pt x="12042" y="8089"/>
                </a:cubicBezTo>
                <a:close/>
                <a:moveTo>
                  <a:pt x="11890" y="8089"/>
                </a:moveTo>
                <a:cubicBezTo>
                  <a:pt x="11860" y="8089"/>
                  <a:pt x="11836" y="8140"/>
                  <a:pt x="11836" y="8202"/>
                </a:cubicBezTo>
                <a:cubicBezTo>
                  <a:pt x="11836" y="8265"/>
                  <a:pt x="11860" y="8315"/>
                  <a:pt x="11890" y="8315"/>
                </a:cubicBezTo>
                <a:cubicBezTo>
                  <a:pt x="11919" y="8315"/>
                  <a:pt x="11944" y="8265"/>
                  <a:pt x="11944" y="8202"/>
                </a:cubicBezTo>
                <a:cubicBezTo>
                  <a:pt x="11944" y="8140"/>
                  <a:pt x="11919" y="8089"/>
                  <a:pt x="11890" y="8089"/>
                </a:cubicBezTo>
                <a:close/>
                <a:moveTo>
                  <a:pt x="12042" y="8397"/>
                </a:moveTo>
                <a:cubicBezTo>
                  <a:pt x="12013" y="8397"/>
                  <a:pt x="11989" y="8447"/>
                  <a:pt x="11989" y="8510"/>
                </a:cubicBezTo>
                <a:cubicBezTo>
                  <a:pt x="11989" y="8572"/>
                  <a:pt x="12013" y="8623"/>
                  <a:pt x="12042" y="8623"/>
                </a:cubicBezTo>
                <a:cubicBezTo>
                  <a:pt x="12072" y="8623"/>
                  <a:pt x="12096" y="8572"/>
                  <a:pt x="12096" y="8510"/>
                </a:cubicBezTo>
                <a:cubicBezTo>
                  <a:pt x="12096" y="8447"/>
                  <a:pt x="12072" y="8397"/>
                  <a:pt x="12042" y="8397"/>
                </a:cubicBezTo>
                <a:close/>
                <a:moveTo>
                  <a:pt x="11737" y="8623"/>
                </a:moveTo>
                <a:cubicBezTo>
                  <a:pt x="11767" y="8623"/>
                  <a:pt x="11791" y="8572"/>
                  <a:pt x="11791" y="8510"/>
                </a:cubicBezTo>
                <a:cubicBezTo>
                  <a:pt x="11791" y="8447"/>
                  <a:pt x="11767" y="8397"/>
                  <a:pt x="11737" y="8397"/>
                </a:cubicBezTo>
                <a:cubicBezTo>
                  <a:pt x="11707" y="8397"/>
                  <a:pt x="11683" y="8447"/>
                  <a:pt x="11683" y="8510"/>
                </a:cubicBezTo>
                <a:cubicBezTo>
                  <a:pt x="11683" y="8572"/>
                  <a:pt x="11707" y="8623"/>
                  <a:pt x="11737" y="8623"/>
                </a:cubicBezTo>
                <a:close/>
                <a:moveTo>
                  <a:pt x="11890" y="8397"/>
                </a:moveTo>
                <a:cubicBezTo>
                  <a:pt x="11860" y="8397"/>
                  <a:pt x="11836" y="8447"/>
                  <a:pt x="11836" y="8510"/>
                </a:cubicBezTo>
                <a:cubicBezTo>
                  <a:pt x="11836" y="8572"/>
                  <a:pt x="11860" y="8623"/>
                  <a:pt x="11890" y="8623"/>
                </a:cubicBezTo>
                <a:cubicBezTo>
                  <a:pt x="11919" y="8623"/>
                  <a:pt x="11944" y="8572"/>
                  <a:pt x="11944" y="8510"/>
                </a:cubicBezTo>
                <a:cubicBezTo>
                  <a:pt x="11944" y="8447"/>
                  <a:pt x="11919" y="8397"/>
                  <a:pt x="11890" y="8397"/>
                </a:cubicBezTo>
                <a:close/>
                <a:moveTo>
                  <a:pt x="11738" y="7441"/>
                </a:moveTo>
                <a:cubicBezTo>
                  <a:pt x="11709" y="7441"/>
                  <a:pt x="11684" y="7492"/>
                  <a:pt x="11684" y="7554"/>
                </a:cubicBezTo>
                <a:cubicBezTo>
                  <a:pt x="11684" y="7617"/>
                  <a:pt x="11709" y="7667"/>
                  <a:pt x="11738" y="7667"/>
                </a:cubicBezTo>
                <a:cubicBezTo>
                  <a:pt x="11768" y="7667"/>
                  <a:pt x="11792" y="7617"/>
                  <a:pt x="11792" y="7554"/>
                </a:cubicBezTo>
                <a:cubicBezTo>
                  <a:pt x="11792" y="7492"/>
                  <a:pt x="11768" y="7441"/>
                  <a:pt x="11738" y="7441"/>
                </a:cubicBezTo>
                <a:close/>
                <a:moveTo>
                  <a:pt x="11738" y="7749"/>
                </a:moveTo>
                <a:cubicBezTo>
                  <a:pt x="11709" y="7749"/>
                  <a:pt x="11684" y="7799"/>
                  <a:pt x="11684" y="7862"/>
                </a:cubicBezTo>
                <a:cubicBezTo>
                  <a:pt x="11684" y="7924"/>
                  <a:pt x="11709" y="7975"/>
                  <a:pt x="11738" y="7975"/>
                </a:cubicBezTo>
                <a:cubicBezTo>
                  <a:pt x="11768" y="7975"/>
                  <a:pt x="11792" y="7924"/>
                  <a:pt x="11792" y="7862"/>
                </a:cubicBezTo>
                <a:cubicBezTo>
                  <a:pt x="11792" y="7799"/>
                  <a:pt x="11768" y="7749"/>
                  <a:pt x="11738" y="7749"/>
                </a:cubicBezTo>
                <a:close/>
                <a:moveTo>
                  <a:pt x="12042" y="7441"/>
                </a:moveTo>
                <a:cubicBezTo>
                  <a:pt x="12013" y="7441"/>
                  <a:pt x="11989" y="7492"/>
                  <a:pt x="11989" y="7554"/>
                </a:cubicBezTo>
                <a:cubicBezTo>
                  <a:pt x="11989" y="7617"/>
                  <a:pt x="12013" y="7667"/>
                  <a:pt x="12042" y="7667"/>
                </a:cubicBezTo>
                <a:cubicBezTo>
                  <a:pt x="12072" y="7667"/>
                  <a:pt x="12096" y="7617"/>
                  <a:pt x="12096" y="7554"/>
                </a:cubicBezTo>
                <a:cubicBezTo>
                  <a:pt x="12096" y="7492"/>
                  <a:pt x="12072" y="7441"/>
                  <a:pt x="12042" y="7441"/>
                </a:cubicBezTo>
                <a:close/>
                <a:moveTo>
                  <a:pt x="11890" y="7441"/>
                </a:moveTo>
                <a:cubicBezTo>
                  <a:pt x="11860" y="7441"/>
                  <a:pt x="11836" y="7492"/>
                  <a:pt x="11836" y="7554"/>
                </a:cubicBezTo>
                <a:cubicBezTo>
                  <a:pt x="11836" y="7617"/>
                  <a:pt x="11860" y="7667"/>
                  <a:pt x="11890" y="7667"/>
                </a:cubicBezTo>
                <a:cubicBezTo>
                  <a:pt x="11919" y="7667"/>
                  <a:pt x="11944" y="7617"/>
                  <a:pt x="11944" y="7554"/>
                </a:cubicBezTo>
                <a:cubicBezTo>
                  <a:pt x="11944" y="7492"/>
                  <a:pt x="11919" y="7441"/>
                  <a:pt x="11890" y="7441"/>
                </a:cubicBezTo>
                <a:close/>
                <a:moveTo>
                  <a:pt x="12042" y="7749"/>
                </a:moveTo>
                <a:cubicBezTo>
                  <a:pt x="12013" y="7749"/>
                  <a:pt x="11989" y="7799"/>
                  <a:pt x="11989" y="7862"/>
                </a:cubicBezTo>
                <a:cubicBezTo>
                  <a:pt x="11989" y="7924"/>
                  <a:pt x="12013" y="7975"/>
                  <a:pt x="12042" y="7975"/>
                </a:cubicBezTo>
                <a:cubicBezTo>
                  <a:pt x="12072" y="7975"/>
                  <a:pt x="12096" y="7924"/>
                  <a:pt x="12096" y="7862"/>
                </a:cubicBezTo>
                <a:cubicBezTo>
                  <a:pt x="12096" y="7799"/>
                  <a:pt x="12072" y="7749"/>
                  <a:pt x="12042" y="7749"/>
                </a:cubicBezTo>
                <a:close/>
                <a:moveTo>
                  <a:pt x="11890" y="7749"/>
                </a:moveTo>
                <a:cubicBezTo>
                  <a:pt x="11860" y="7749"/>
                  <a:pt x="11836" y="7799"/>
                  <a:pt x="11836" y="7862"/>
                </a:cubicBezTo>
                <a:cubicBezTo>
                  <a:pt x="11836" y="7924"/>
                  <a:pt x="11860" y="7975"/>
                  <a:pt x="11890" y="7975"/>
                </a:cubicBezTo>
                <a:cubicBezTo>
                  <a:pt x="11919" y="7975"/>
                  <a:pt x="11944" y="7924"/>
                  <a:pt x="11944" y="7862"/>
                </a:cubicBezTo>
                <a:cubicBezTo>
                  <a:pt x="11944" y="7799"/>
                  <a:pt x="11919" y="7749"/>
                  <a:pt x="11890" y="7749"/>
                </a:cubicBezTo>
                <a:close/>
                <a:moveTo>
                  <a:pt x="11738" y="6783"/>
                </a:moveTo>
                <a:cubicBezTo>
                  <a:pt x="11709" y="6783"/>
                  <a:pt x="11684" y="6834"/>
                  <a:pt x="11684" y="6896"/>
                </a:cubicBezTo>
                <a:cubicBezTo>
                  <a:pt x="11684" y="6959"/>
                  <a:pt x="11709" y="7009"/>
                  <a:pt x="11738" y="7009"/>
                </a:cubicBezTo>
                <a:cubicBezTo>
                  <a:pt x="11768" y="7009"/>
                  <a:pt x="11792" y="6959"/>
                  <a:pt x="11792" y="6896"/>
                </a:cubicBezTo>
                <a:cubicBezTo>
                  <a:pt x="11792" y="6834"/>
                  <a:pt x="11768" y="6783"/>
                  <a:pt x="11738" y="6783"/>
                </a:cubicBezTo>
                <a:close/>
                <a:moveTo>
                  <a:pt x="11738" y="7091"/>
                </a:moveTo>
                <a:cubicBezTo>
                  <a:pt x="11709" y="7091"/>
                  <a:pt x="11684" y="7141"/>
                  <a:pt x="11684" y="7204"/>
                </a:cubicBezTo>
                <a:cubicBezTo>
                  <a:pt x="11684" y="7266"/>
                  <a:pt x="11709" y="7317"/>
                  <a:pt x="11738" y="7317"/>
                </a:cubicBezTo>
                <a:cubicBezTo>
                  <a:pt x="11768" y="7317"/>
                  <a:pt x="11792" y="7266"/>
                  <a:pt x="11792" y="7204"/>
                </a:cubicBezTo>
                <a:cubicBezTo>
                  <a:pt x="11792" y="7141"/>
                  <a:pt x="11768" y="7091"/>
                  <a:pt x="11738" y="7091"/>
                </a:cubicBezTo>
                <a:close/>
                <a:moveTo>
                  <a:pt x="12042" y="6457"/>
                </a:moveTo>
                <a:cubicBezTo>
                  <a:pt x="12013" y="6457"/>
                  <a:pt x="11989" y="6507"/>
                  <a:pt x="11989" y="6570"/>
                </a:cubicBezTo>
                <a:cubicBezTo>
                  <a:pt x="11989" y="6632"/>
                  <a:pt x="12013" y="6683"/>
                  <a:pt x="12042" y="6683"/>
                </a:cubicBezTo>
                <a:cubicBezTo>
                  <a:pt x="12072" y="6683"/>
                  <a:pt x="12096" y="6632"/>
                  <a:pt x="12096" y="6570"/>
                </a:cubicBezTo>
                <a:cubicBezTo>
                  <a:pt x="12096" y="6507"/>
                  <a:pt x="12072" y="6457"/>
                  <a:pt x="12042" y="6457"/>
                </a:cubicBezTo>
                <a:close/>
                <a:moveTo>
                  <a:pt x="11890" y="6457"/>
                </a:moveTo>
                <a:cubicBezTo>
                  <a:pt x="11860" y="6457"/>
                  <a:pt x="11836" y="6507"/>
                  <a:pt x="11836" y="6570"/>
                </a:cubicBezTo>
                <a:cubicBezTo>
                  <a:pt x="11836" y="6632"/>
                  <a:pt x="11860" y="6683"/>
                  <a:pt x="11890" y="6683"/>
                </a:cubicBezTo>
                <a:cubicBezTo>
                  <a:pt x="11919" y="6683"/>
                  <a:pt x="11944" y="6632"/>
                  <a:pt x="11944" y="6570"/>
                </a:cubicBezTo>
                <a:cubicBezTo>
                  <a:pt x="11944" y="6507"/>
                  <a:pt x="11919" y="6457"/>
                  <a:pt x="11890" y="6457"/>
                </a:cubicBezTo>
                <a:close/>
                <a:moveTo>
                  <a:pt x="12042" y="6783"/>
                </a:moveTo>
                <a:cubicBezTo>
                  <a:pt x="12013" y="6783"/>
                  <a:pt x="11989" y="6834"/>
                  <a:pt x="11989" y="6896"/>
                </a:cubicBezTo>
                <a:cubicBezTo>
                  <a:pt x="11989" y="6959"/>
                  <a:pt x="12013" y="7009"/>
                  <a:pt x="12042" y="7009"/>
                </a:cubicBezTo>
                <a:cubicBezTo>
                  <a:pt x="12072" y="7009"/>
                  <a:pt x="12096" y="6959"/>
                  <a:pt x="12096" y="6896"/>
                </a:cubicBezTo>
                <a:cubicBezTo>
                  <a:pt x="12096" y="6834"/>
                  <a:pt x="12072" y="6783"/>
                  <a:pt x="12042" y="6783"/>
                </a:cubicBezTo>
                <a:close/>
                <a:moveTo>
                  <a:pt x="11890" y="6783"/>
                </a:moveTo>
                <a:cubicBezTo>
                  <a:pt x="11860" y="6783"/>
                  <a:pt x="11836" y="6834"/>
                  <a:pt x="11836" y="6896"/>
                </a:cubicBezTo>
                <a:cubicBezTo>
                  <a:pt x="11836" y="6959"/>
                  <a:pt x="11860" y="7009"/>
                  <a:pt x="11890" y="7009"/>
                </a:cubicBezTo>
                <a:cubicBezTo>
                  <a:pt x="11919" y="7009"/>
                  <a:pt x="11944" y="6959"/>
                  <a:pt x="11944" y="6896"/>
                </a:cubicBezTo>
                <a:cubicBezTo>
                  <a:pt x="11944" y="6834"/>
                  <a:pt x="11919" y="6783"/>
                  <a:pt x="11890" y="6783"/>
                </a:cubicBezTo>
                <a:close/>
                <a:moveTo>
                  <a:pt x="12042" y="7091"/>
                </a:moveTo>
                <a:cubicBezTo>
                  <a:pt x="12013" y="7091"/>
                  <a:pt x="11989" y="7141"/>
                  <a:pt x="11989" y="7204"/>
                </a:cubicBezTo>
                <a:cubicBezTo>
                  <a:pt x="11989" y="7266"/>
                  <a:pt x="12013" y="7317"/>
                  <a:pt x="12042" y="7317"/>
                </a:cubicBezTo>
                <a:cubicBezTo>
                  <a:pt x="12072" y="7317"/>
                  <a:pt x="12096" y="7266"/>
                  <a:pt x="12096" y="7204"/>
                </a:cubicBezTo>
                <a:cubicBezTo>
                  <a:pt x="12096" y="7141"/>
                  <a:pt x="12072" y="7091"/>
                  <a:pt x="12042" y="7091"/>
                </a:cubicBezTo>
                <a:close/>
                <a:moveTo>
                  <a:pt x="11890" y="7091"/>
                </a:moveTo>
                <a:cubicBezTo>
                  <a:pt x="11860" y="7091"/>
                  <a:pt x="11836" y="7141"/>
                  <a:pt x="11836" y="7204"/>
                </a:cubicBezTo>
                <a:cubicBezTo>
                  <a:pt x="11836" y="7266"/>
                  <a:pt x="11860" y="7317"/>
                  <a:pt x="11890" y="7317"/>
                </a:cubicBezTo>
                <a:cubicBezTo>
                  <a:pt x="11919" y="7317"/>
                  <a:pt x="11944" y="7266"/>
                  <a:pt x="11944" y="7204"/>
                </a:cubicBezTo>
                <a:cubicBezTo>
                  <a:pt x="11944" y="7141"/>
                  <a:pt x="11919" y="7091"/>
                  <a:pt x="11890" y="7091"/>
                </a:cubicBezTo>
                <a:close/>
                <a:moveTo>
                  <a:pt x="11738" y="3570"/>
                </a:moveTo>
                <a:cubicBezTo>
                  <a:pt x="11709" y="3570"/>
                  <a:pt x="11684" y="3621"/>
                  <a:pt x="11684" y="3684"/>
                </a:cubicBezTo>
                <a:cubicBezTo>
                  <a:pt x="11684" y="3746"/>
                  <a:pt x="11709" y="3797"/>
                  <a:pt x="11738" y="3797"/>
                </a:cubicBezTo>
                <a:cubicBezTo>
                  <a:pt x="11768" y="3797"/>
                  <a:pt x="11792" y="3746"/>
                  <a:pt x="11792" y="3684"/>
                </a:cubicBezTo>
                <a:cubicBezTo>
                  <a:pt x="11792" y="3621"/>
                  <a:pt x="11768" y="3570"/>
                  <a:pt x="11738" y="3570"/>
                </a:cubicBezTo>
                <a:close/>
                <a:moveTo>
                  <a:pt x="11586" y="3570"/>
                </a:moveTo>
                <a:cubicBezTo>
                  <a:pt x="11556" y="3570"/>
                  <a:pt x="11532" y="3621"/>
                  <a:pt x="11532" y="3684"/>
                </a:cubicBezTo>
                <a:cubicBezTo>
                  <a:pt x="11532" y="3746"/>
                  <a:pt x="11556" y="3797"/>
                  <a:pt x="11586" y="3797"/>
                </a:cubicBezTo>
                <a:cubicBezTo>
                  <a:pt x="11615" y="3797"/>
                  <a:pt x="11639" y="3746"/>
                  <a:pt x="11639" y="3684"/>
                </a:cubicBezTo>
                <a:cubicBezTo>
                  <a:pt x="11639" y="3621"/>
                  <a:pt x="11615" y="3570"/>
                  <a:pt x="11586" y="3570"/>
                </a:cubicBezTo>
                <a:close/>
                <a:moveTo>
                  <a:pt x="12042" y="2936"/>
                </a:moveTo>
                <a:cubicBezTo>
                  <a:pt x="12013" y="2936"/>
                  <a:pt x="11989" y="2987"/>
                  <a:pt x="11989" y="3049"/>
                </a:cubicBezTo>
                <a:cubicBezTo>
                  <a:pt x="11989" y="3112"/>
                  <a:pt x="12013" y="3163"/>
                  <a:pt x="12042" y="3163"/>
                </a:cubicBezTo>
                <a:cubicBezTo>
                  <a:pt x="12072" y="3163"/>
                  <a:pt x="12096" y="3112"/>
                  <a:pt x="12096" y="3049"/>
                </a:cubicBezTo>
                <a:cubicBezTo>
                  <a:pt x="12096" y="2987"/>
                  <a:pt x="12072" y="2936"/>
                  <a:pt x="12042" y="2936"/>
                </a:cubicBezTo>
                <a:close/>
                <a:moveTo>
                  <a:pt x="11890" y="2936"/>
                </a:moveTo>
                <a:cubicBezTo>
                  <a:pt x="11860" y="2936"/>
                  <a:pt x="11836" y="2987"/>
                  <a:pt x="11836" y="3049"/>
                </a:cubicBezTo>
                <a:cubicBezTo>
                  <a:pt x="11836" y="3112"/>
                  <a:pt x="11860" y="3163"/>
                  <a:pt x="11890" y="3163"/>
                </a:cubicBezTo>
                <a:cubicBezTo>
                  <a:pt x="11919" y="3163"/>
                  <a:pt x="11944" y="3112"/>
                  <a:pt x="11944" y="3049"/>
                </a:cubicBezTo>
                <a:cubicBezTo>
                  <a:pt x="11944" y="2987"/>
                  <a:pt x="11919" y="2936"/>
                  <a:pt x="11890" y="2936"/>
                </a:cubicBezTo>
                <a:close/>
                <a:moveTo>
                  <a:pt x="12965" y="3489"/>
                </a:moveTo>
                <a:cubicBezTo>
                  <a:pt x="12994" y="3489"/>
                  <a:pt x="13018" y="3438"/>
                  <a:pt x="13018" y="3376"/>
                </a:cubicBezTo>
                <a:cubicBezTo>
                  <a:pt x="13018" y="3313"/>
                  <a:pt x="12994" y="3263"/>
                  <a:pt x="12965" y="3263"/>
                </a:cubicBezTo>
                <a:cubicBezTo>
                  <a:pt x="12935" y="3263"/>
                  <a:pt x="12911" y="3313"/>
                  <a:pt x="12911" y="3376"/>
                </a:cubicBezTo>
                <a:cubicBezTo>
                  <a:pt x="12911" y="3438"/>
                  <a:pt x="12935" y="3489"/>
                  <a:pt x="12965" y="3489"/>
                </a:cubicBezTo>
                <a:close/>
                <a:moveTo>
                  <a:pt x="12811" y="3263"/>
                </a:moveTo>
                <a:cubicBezTo>
                  <a:pt x="12781" y="3263"/>
                  <a:pt x="12757" y="3313"/>
                  <a:pt x="12757" y="3376"/>
                </a:cubicBezTo>
                <a:cubicBezTo>
                  <a:pt x="12757" y="3438"/>
                  <a:pt x="12781" y="3489"/>
                  <a:pt x="12811" y="3489"/>
                </a:cubicBezTo>
                <a:cubicBezTo>
                  <a:pt x="12840" y="3489"/>
                  <a:pt x="12864" y="3438"/>
                  <a:pt x="12864" y="3376"/>
                </a:cubicBezTo>
                <a:cubicBezTo>
                  <a:pt x="12864" y="3313"/>
                  <a:pt x="12840" y="3263"/>
                  <a:pt x="12811" y="3263"/>
                </a:cubicBezTo>
                <a:close/>
                <a:moveTo>
                  <a:pt x="12658" y="3489"/>
                </a:moveTo>
                <a:cubicBezTo>
                  <a:pt x="12688" y="3489"/>
                  <a:pt x="12712" y="3438"/>
                  <a:pt x="12712" y="3376"/>
                </a:cubicBezTo>
                <a:cubicBezTo>
                  <a:pt x="12712" y="3313"/>
                  <a:pt x="12688" y="3263"/>
                  <a:pt x="12658" y="3263"/>
                </a:cubicBezTo>
                <a:cubicBezTo>
                  <a:pt x="12628" y="3263"/>
                  <a:pt x="12604" y="3313"/>
                  <a:pt x="12604" y="3376"/>
                </a:cubicBezTo>
                <a:cubicBezTo>
                  <a:pt x="12604" y="3438"/>
                  <a:pt x="12628" y="3489"/>
                  <a:pt x="12658" y="3489"/>
                </a:cubicBezTo>
                <a:close/>
                <a:moveTo>
                  <a:pt x="12504" y="3489"/>
                </a:moveTo>
                <a:cubicBezTo>
                  <a:pt x="12534" y="3489"/>
                  <a:pt x="12558" y="3438"/>
                  <a:pt x="12558" y="3376"/>
                </a:cubicBezTo>
                <a:cubicBezTo>
                  <a:pt x="12558" y="3313"/>
                  <a:pt x="12534" y="3263"/>
                  <a:pt x="12504" y="3263"/>
                </a:cubicBezTo>
                <a:cubicBezTo>
                  <a:pt x="12475" y="3263"/>
                  <a:pt x="12451" y="3313"/>
                  <a:pt x="12451" y="3376"/>
                </a:cubicBezTo>
                <a:cubicBezTo>
                  <a:pt x="12451" y="3438"/>
                  <a:pt x="12475" y="3489"/>
                  <a:pt x="12504" y="3489"/>
                </a:cubicBezTo>
                <a:close/>
                <a:moveTo>
                  <a:pt x="12352" y="3263"/>
                </a:moveTo>
                <a:cubicBezTo>
                  <a:pt x="12322" y="3263"/>
                  <a:pt x="12298" y="3313"/>
                  <a:pt x="12298" y="3376"/>
                </a:cubicBezTo>
                <a:cubicBezTo>
                  <a:pt x="12298" y="3438"/>
                  <a:pt x="12322" y="3489"/>
                  <a:pt x="12352" y="3489"/>
                </a:cubicBezTo>
                <a:cubicBezTo>
                  <a:pt x="12381" y="3489"/>
                  <a:pt x="12406" y="3438"/>
                  <a:pt x="12406" y="3376"/>
                </a:cubicBezTo>
                <a:cubicBezTo>
                  <a:pt x="12406" y="3313"/>
                  <a:pt x="12381" y="3263"/>
                  <a:pt x="12352" y="3263"/>
                </a:cubicBezTo>
                <a:close/>
                <a:moveTo>
                  <a:pt x="12196" y="3489"/>
                </a:moveTo>
                <a:cubicBezTo>
                  <a:pt x="12226" y="3489"/>
                  <a:pt x="12250" y="3438"/>
                  <a:pt x="12250" y="3376"/>
                </a:cubicBezTo>
                <a:cubicBezTo>
                  <a:pt x="12250" y="3313"/>
                  <a:pt x="12226" y="3263"/>
                  <a:pt x="12196" y="3263"/>
                </a:cubicBezTo>
                <a:cubicBezTo>
                  <a:pt x="12167" y="3263"/>
                  <a:pt x="12143" y="3313"/>
                  <a:pt x="12143" y="3376"/>
                </a:cubicBezTo>
                <a:cubicBezTo>
                  <a:pt x="12143" y="3438"/>
                  <a:pt x="12167" y="3489"/>
                  <a:pt x="12196" y="3489"/>
                </a:cubicBezTo>
                <a:close/>
                <a:moveTo>
                  <a:pt x="12042" y="3263"/>
                </a:moveTo>
                <a:cubicBezTo>
                  <a:pt x="12013" y="3263"/>
                  <a:pt x="11989" y="3313"/>
                  <a:pt x="11989" y="3376"/>
                </a:cubicBezTo>
                <a:cubicBezTo>
                  <a:pt x="11989" y="3438"/>
                  <a:pt x="12013" y="3489"/>
                  <a:pt x="12042" y="3489"/>
                </a:cubicBezTo>
                <a:cubicBezTo>
                  <a:pt x="12072" y="3489"/>
                  <a:pt x="12096" y="3438"/>
                  <a:pt x="12096" y="3376"/>
                </a:cubicBezTo>
                <a:cubicBezTo>
                  <a:pt x="12096" y="3313"/>
                  <a:pt x="12072" y="3263"/>
                  <a:pt x="12042" y="3263"/>
                </a:cubicBezTo>
                <a:close/>
                <a:moveTo>
                  <a:pt x="11890" y="3263"/>
                </a:moveTo>
                <a:cubicBezTo>
                  <a:pt x="11860" y="3263"/>
                  <a:pt x="11836" y="3313"/>
                  <a:pt x="11836" y="3376"/>
                </a:cubicBezTo>
                <a:cubicBezTo>
                  <a:pt x="11836" y="3438"/>
                  <a:pt x="11860" y="3489"/>
                  <a:pt x="11890" y="3489"/>
                </a:cubicBezTo>
                <a:cubicBezTo>
                  <a:pt x="11919" y="3489"/>
                  <a:pt x="11944" y="3438"/>
                  <a:pt x="11944" y="3376"/>
                </a:cubicBezTo>
                <a:cubicBezTo>
                  <a:pt x="11944" y="3313"/>
                  <a:pt x="11919" y="3263"/>
                  <a:pt x="11890" y="3263"/>
                </a:cubicBezTo>
                <a:close/>
                <a:moveTo>
                  <a:pt x="13120" y="3570"/>
                </a:moveTo>
                <a:cubicBezTo>
                  <a:pt x="13090" y="3570"/>
                  <a:pt x="13066" y="3621"/>
                  <a:pt x="13066" y="3684"/>
                </a:cubicBezTo>
                <a:cubicBezTo>
                  <a:pt x="13066" y="3746"/>
                  <a:pt x="13090" y="3797"/>
                  <a:pt x="13120" y="3797"/>
                </a:cubicBezTo>
                <a:cubicBezTo>
                  <a:pt x="13150" y="3797"/>
                  <a:pt x="13174" y="3746"/>
                  <a:pt x="13174" y="3684"/>
                </a:cubicBezTo>
                <a:cubicBezTo>
                  <a:pt x="13174" y="3621"/>
                  <a:pt x="13150" y="3570"/>
                  <a:pt x="13120" y="3570"/>
                </a:cubicBezTo>
                <a:close/>
                <a:moveTo>
                  <a:pt x="12965" y="3797"/>
                </a:moveTo>
                <a:cubicBezTo>
                  <a:pt x="12994" y="3797"/>
                  <a:pt x="13018" y="3746"/>
                  <a:pt x="13018" y="3684"/>
                </a:cubicBezTo>
                <a:cubicBezTo>
                  <a:pt x="13018" y="3621"/>
                  <a:pt x="12994" y="3570"/>
                  <a:pt x="12965" y="3570"/>
                </a:cubicBezTo>
                <a:cubicBezTo>
                  <a:pt x="12935" y="3570"/>
                  <a:pt x="12911" y="3621"/>
                  <a:pt x="12911" y="3684"/>
                </a:cubicBezTo>
                <a:cubicBezTo>
                  <a:pt x="12911" y="3746"/>
                  <a:pt x="12935" y="3797"/>
                  <a:pt x="12965" y="3797"/>
                </a:cubicBezTo>
                <a:close/>
                <a:moveTo>
                  <a:pt x="12811" y="3570"/>
                </a:moveTo>
                <a:cubicBezTo>
                  <a:pt x="12781" y="3570"/>
                  <a:pt x="12757" y="3621"/>
                  <a:pt x="12757" y="3684"/>
                </a:cubicBezTo>
                <a:cubicBezTo>
                  <a:pt x="12757" y="3746"/>
                  <a:pt x="12781" y="3797"/>
                  <a:pt x="12811" y="3797"/>
                </a:cubicBezTo>
                <a:cubicBezTo>
                  <a:pt x="12840" y="3797"/>
                  <a:pt x="12864" y="3746"/>
                  <a:pt x="12864" y="3684"/>
                </a:cubicBezTo>
                <a:cubicBezTo>
                  <a:pt x="12864" y="3621"/>
                  <a:pt x="12840" y="3570"/>
                  <a:pt x="12811" y="3570"/>
                </a:cubicBezTo>
                <a:close/>
                <a:moveTo>
                  <a:pt x="12658" y="3797"/>
                </a:moveTo>
                <a:cubicBezTo>
                  <a:pt x="12688" y="3797"/>
                  <a:pt x="12712" y="3746"/>
                  <a:pt x="12712" y="3684"/>
                </a:cubicBezTo>
                <a:cubicBezTo>
                  <a:pt x="12712" y="3621"/>
                  <a:pt x="12688" y="3570"/>
                  <a:pt x="12658" y="3570"/>
                </a:cubicBezTo>
                <a:cubicBezTo>
                  <a:pt x="12628" y="3570"/>
                  <a:pt x="12604" y="3621"/>
                  <a:pt x="12604" y="3684"/>
                </a:cubicBezTo>
                <a:cubicBezTo>
                  <a:pt x="12604" y="3746"/>
                  <a:pt x="12628" y="3797"/>
                  <a:pt x="12658" y="3797"/>
                </a:cubicBezTo>
                <a:close/>
                <a:moveTo>
                  <a:pt x="12504" y="3797"/>
                </a:moveTo>
                <a:cubicBezTo>
                  <a:pt x="12534" y="3797"/>
                  <a:pt x="12558" y="3746"/>
                  <a:pt x="12558" y="3684"/>
                </a:cubicBezTo>
                <a:cubicBezTo>
                  <a:pt x="12558" y="3621"/>
                  <a:pt x="12534" y="3570"/>
                  <a:pt x="12504" y="3570"/>
                </a:cubicBezTo>
                <a:cubicBezTo>
                  <a:pt x="12475" y="3570"/>
                  <a:pt x="12451" y="3621"/>
                  <a:pt x="12451" y="3684"/>
                </a:cubicBezTo>
                <a:cubicBezTo>
                  <a:pt x="12451" y="3746"/>
                  <a:pt x="12475" y="3797"/>
                  <a:pt x="12504" y="3797"/>
                </a:cubicBezTo>
                <a:close/>
                <a:moveTo>
                  <a:pt x="12352" y="3570"/>
                </a:moveTo>
                <a:cubicBezTo>
                  <a:pt x="12322" y="3570"/>
                  <a:pt x="12298" y="3621"/>
                  <a:pt x="12298" y="3684"/>
                </a:cubicBezTo>
                <a:cubicBezTo>
                  <a:pt x="12298" y="3746"/>
                  <a:pt x="12322" y="3797"/>
                  <a:pt x="12352" y="3797"/>
                </a:cubicBezTo>
                <a:cubicBezTo>
                  <a:pt x="12381" y="3797"/>
                  <a:pt x="12406" y="3746"/>
                  <a:pt x="12406" y="3684"/>
                </a:cubicBezTo>
                <a:cubicBezTo>
                  <a:pt x="12406" y="3621"/>
                  <a:pt x="12381" y="3570"/>
                  <a:pt x="12352" y="3570"/>
                </a:cubicBezTo>
                <a:close/>
                <a:moveTo>
                  <a:pt x="12196" y="3797"/>
                </a:moveTo>
                <a:cubicBezTo>
                  <a:pt x="12226" y="3797"/>
                  <a:pt x="12250" y="3746"/>
                  <a:pt x="12250" y="3684"/>
                </a:cubicBezTo>
                <a:cubicBezTo>
                  <a:pt x="12250" y="3621"/>
                  <a:pt x="12226" y="3570"/>
                  <a:pt x="12196" y="3570"/>
                </a:cubicBezTo>
                <a:cubicBezTo>
                  <a:pt x="12167" y="3570"/>
                  <a:pt x="12143" y="3621"/>
                  <a:pt x="12143" y="3684"/>
                </a:cubicBezTo>
                <a:cubicBezTo>
                  <a:pt x="12143" y="3746"/>
                  <a:pt x="12167" y="3797"/>
                  <a:pt x="12196" y="3797"/>
                </a:cubicBezTo>
                <a:close/>
                <a:moveTo>
                  <a:pt x="12042" y="3570"/>
                </a:moveTo>
                <a:cubicBezTo>
                  <a:pt x="12013" y="3570"/>
                  <a:pt x="11989" y="3621"/>
                  <a:pt x="11989" y="3684"/>
                </a:cubicBezTo>
                <a:cubicBezTo>
                  <a:pt x="11989" y="3746"/>
                  <a:pt x="12013" y="3797"/>
                  <a:pt x="12042" y="3797"/>
                </a:cubicBezTo>
                <a:cubicBezTo>
                  <a:pt x="12072" y="3797"/>
                  <a:pt x="12096" y="3746"/>
                  <a:pt x="12096" y="3684"/>
                </a:cubicBezTo>
                <a:cubicBezTo>
                  <a:pt x="12096" y="3621"/>
                  <a:pt x="12072" y="3570"/>
                  <a:pt x="12042" y="3570"/>
                </a:cubicBezTo>
                <a:close/>
                <a:moveTo>
                  <a:pt x="11890" y="3570"/>
                </a:moveTo>
                <a:cubicBezTo>
                  <a:pt x="11860" y="3570"/>
                  <a:pt x="11836" y="3621"/>
                  <a:pt x="11836" y="3684"/>
                </a:cubicBezTo>
                <a:cubicBezTo>
                  <a:pt x="11836" y="3746"/>
                  <a:pt x="11860" y="3797"/>
                  <a:pt x="11890" y="3797"/>
                </a:cubicBezTo>
                <a:cubicBezTo>
                  <a:pt x="11919" y="3797"/>
                  <a:pt x="11944" y="3746"/>
                  <a:pt x="11944" y="3684"/>
                </a:cubicBezTo>
                <a:cubicBezTo>
                  <a:pt x="11944" y="3621"/>
                  <a:pt x="11919" y="3570"/>
                  <a:pt x="11890" y="3570"/>
                </a:cubicBezTo>
                <a:close/>
                <a:moveTo>
                  <a:pt x="11273" y="2921"/>
                </a:moveTo>
                <a:cubicBezTo>
                  <a:pt x="11243" y="2921"/>
                  <a:pt x="11219" y="2972"/>
                  <a:pt x="11219" y="3035"/>
                </a:cubicBezTo>
                <a:cubicBezTo>
                  <a:pt x="11219" y="3097"/>
                  <a:pt x="11243" y="3148"/>
                  <a:pt x="11273" y="3148"/>
                </a:cubicBezTo>
                <a:cubicBezTo>
                  <a:pt x="11303" y="3148"/>
                  <a:pt x="11327" y="3097"/>
                  <a:pt x="11327" y="3035"/>
                </a:cubicBezTo>
                <a:cubicBezTo>
                  <a:pt x="11327" y="2972"/>
                  <a:pt x="11303" y="2921"/>
                  <a:pt x="11273" y="2921"/>
                </a:cubicBezTo>
                <a:close/>
                <a:moveTo>
                  <a:pt x="11119" y="2921"/>
                </a:moveTo>
                <a:cubicBezTo>
                  <a:pt x="11089" y="2921"/>
                  <a:pt x="11065" y="2972"/>
                  <a:pt x="11065" y="3035"/>
                </a:cubicBezTo>
                <a:cubicBezTo>
                  <a:pt x="11065" y="3097"/>
                  <a:pt x="11089" y="3148"/>
                  <a:pt x="11119" y="3148"/>
                </a:cubicBezTo>
                <a:cubicBezTo>
                  <a:pt x="11149" y="3148"/>
                  <a:pt x="11173" y="3097"/>
                  <a:pt x="11173" y="3035"/>
                </a:cubicBezTo>
                <a:cubicBezTo>
                  <a:pt x="11173" y="2972"/>
                  <a:pt x="11149" y="2921"/>
                  <a:pt x="11119" y="2921"/>
                </a:cubicBezTo>
                <a:close/>
                <a:moveTo>
                  <a:pt x="10967" y="2921"/>
                </a:moveTo>
                <a:cubicBezTo>
                  <a:pt x="10937" y="2921"/>
                  <a:pt x="10913" y="2972"/>
                  <a:pt x="10913" y="3035"/>
                </a:cubicBezTo>
                <a:cubicBezTo>
                  <a:pt x="10913" y="3097"/>
                  <a:pt x="10937" y="3148"/>
                  <a:pt x="10967" y="3148"/>
                </a:cubicBezTo>
                <a:cubicBezTo>
                  <a:pt x="10996" y="3148"/>
                  <a:pt x="11020" y="3097"/>
                  <a:pt x="11020" y="3035"/>
                </a:cubicBezTo>
                <a:cubicBezTo>
                  <a:pt x="11020" y="2972"/>
                  <a:pt x="10996" y="2921"/>
                  <a:pt x="10967" y="2921"/>
                </a:cubicBezTo>
                <a:close/>
                <a:moveTo>
                  <a:pt x="10813" y="2921"/>
                </a:moveTo>
                <a:cubicBezTo>
                  <a:pt x="10783" y="2921"/>
                  <a:pt x="10759" y="2972"/>
                  <a:pt x="10759" y="3035"/>
                </a:cubicBezTo>
                <a:cubicBezTo>
                  <a:pt x="10759" y="3097"/>
                  <a:pt x="10783" y="3148"/>
                  <a:pt x="10813" y="3148"/>
                </a:cubicBezTo>
                <a:cubicBezTo>
                  <a:pt x="10843" y="3148"/>
                  <a:pt x="10867" y="3097"/>
                  <a:pt x="10867" y="3035"/>
                </a:cubicBezTo>
                <a:cubicBezTo>
                  <a:pt x="10867" y="2972"/>
                  <a:pt x="10843" y="2921"/>
                  <a:pt x="10813" y="2921"/>
                </a:cubicBezTo>
                <a:close/>
                <a:moveTo>
                  <a:pt x="10660" y="2921"/>
                </a:moveTo>
                <a:cubicBezTo>
                  <a:pt x="10631" y="2921"/>
                  <a:pt x="10607" y="2972"/>
                  <a:pt x="10607" y="3035"/>
                </a:cubicBezTo>
                <a:cubicBezTo>
                  <a:pt x="10607" y="3097"/>
                  <a:pt x="10631" y="3148"/>
                  <a:pt x="10660" y="3148"/>
                </a:cubicBezTo>
                <a:cubicBezTo>
                  <a:pt x="10690" y="3148"/>
                  <a:pt x="10714" y="3097"/>
                  <a:pt x="10714" y="3035"/>
                </a:cubicBezTo>
                <a:cubicBezTo>
                  <a:pt x="10714" y="2972"/>
                  <a:pt x="10690" y="2921"/>
                  <a:pt x="10660" y="2921"/>
                </a:cubicBezTo>
                <a:close/>
                <a:moveTo>
                  <a:pt x="10505" y="2921"/>
                </a:moveTo>
                <a:cubicBezTo>
                  <a:pt x="10475" y="2921"/>
                  <a:pt x="10451" y="2972"/>
                  <a:pt x="10451" y="3035"/>
                </a:cubicBezTo>
                <a:cubicBezTo>
                  <a:pt x="10451" y="3097"/>
                  <a:pt x="10475" y="3148"/>
                  <a:pt x="10505" y="3148"/>
                </a:cubicBezTo>
                <a:cubicBezTo>
                  <a:pt x="10535" y="3148"/>
                  <a:pt x="10559" y="3097"/>
                  <a:pt x="10559" y="3035"/>
                </a:cubicBezTo>
                <a:cubicBezTo>
                  <a:pt x="10559" y="2972"/>
                  <a:pt x="10535" y="2921"/>
                  <a:pt x="10505" y="2921"/>
                </a:cubicBezTo>
                <a:close/>
                <a:moveTo>
                  <a:pt x="10047" y="1943"/>
                </a:moveTo>
                <a:cubicBezTo>
                  <a:pt x="10017" y="1943"/>
                  <a:pt x="9993" y="1993"/>
                  <a:pt x="9993" y="2056"/>
                </a:cubicBezTo>
                <a:cubicBezTo>
                  <a:pt x="9993" y="2118"/>
                  <a:pt x="10017" y="2169"/>
                  <a:pt x="10047" y="2169"/>
                </a:cubicBezTo>
                <a:cubicBezTo>
                  <a:pt x="10076" y="2169"/>
                  <a:pt x="10100" y="2118"/>
                  <a:pt x="10100" y="2056"/>
                </a:cubicBezTo>
                <a:cubicBezTo>
                  <a:pt x="10100" y="1993"/>
                  <a:pt x="10076" y="1943"/>
                  <a:pt x="10047" y="1943"/>
                </a:cubicBezTo>
                <a:close/>
                <a:moveTo>
                  <a:pt x="10047" y="2264"/>
                </a:moveTo>
                <a:cubicBezTo>
                  <a:pt x="10017" y="2264"/>
                  <a:pt x="9993" y="2315"/>
                  <a:pt x="9993" y="2377"/>
                </a:cubicBezTo>
                <a:cubicBezTo>
                  <a:pt x="9993" y="2440"/>
                  <a:pt x="10017" y="2491"/>
                  <a:pt x="10047" y="2491"/>
                </a:cubicBezTo>
                <a:cubicBezTo>
                  <a:pt x="10076" y="2491"/>
                  <a:pt x="10100" y="2440"/>
                  <a:pt x="10100" y="2377"/>
                </a:cubicBezTo>
                <a:cubicBezTo>
                  <a:pt x="10100" y="2315"/>
                  <a:pt x="10076" y="2264"/>
                  <a:pt x="10047" y="2264"/>
                </a:cubicBezTo>
                <a:close/>
                <a:moveTo>
                  <a:pt x="9894" y="2491"/>
                </a:moveTo>
                <a:cubicBezTo>
                  <a:pt x="9924" y="2491"/>
                  <a:pt x="9948" y="2440"/>
                  <a:pt x="9948" y="2377"/>
                </a:cubicBezTo>
                <a:cubicBezTo>
                  <a:pt x="9948" y="2315"/>
                  <a:pt x="9924" y="2264"/>
                  <a:pt x="9894" y="2264"/>
                </a:cubicBezTo>
                <a:cubicBezTo>
                  <a:pt x="9864" y="2264"/>
                  <a:pt x="9840" y="2315"/>
                  <a:pt x="9840" y="2377"/>
                </a:cubicBezTo>
                <a:cubicBezTo>
                  <a:pt x="9840" y="2440"/>
                  <a:pt x="9864" y="2491"/>
                  <a:pt x="9894" y="2491"/>
                </a:cubicBezTo>
                <a:close/>
                <a:moveTo>
                  <a:pt x="10047" y="2591"/>
                </a:moveTo>
                <a:cubicBezTo>
                  <a:pt x="10017" y="2591"/>
                  <a:pt x="9993" y="2641"/>
                  <a:pt x="9993" y="2704"/>
                </a:cubicBezTo>
                <a:cubicBezTo>
                  <a:pt x="9993" y="2766"/>
                  <a:pt x="10017" y="2817"/>
                  <a:pt x="10047" y="2817"/>
                </a:cubicBezTo>
                <a:cubicBezTo>
                  <a:pt x="10076" y="2817"/>
                  <a:pt x="10100" y="2766"/>
                  <a:pt x="10100" y="2704"/>
                </a:cubicBezTo>
                <a:cubicBezTo>
                  <a:pt x="10100" y="2641"/>
                  <a:pt x="10076" y="2591"/>
                  <a:pt x="10047" y="2591"/>
                </a:cubicBezTo>
                <a:close/>
                <a:moveTo>
                  <a:pt x="9894" y="2817"/>
                </a:moveTo>
                <a:cubicBezTo>
                  <a:pt x="9924" y="2817"/>
                  <a:pt x="9948" y="2766"/>
                  <a:pt x="9948" y="2704"/>
                </a:cubicBezTo>
                <a:cubicBezTo>
                  <a:pt x="9948" y="2641"/>
                  <a:pt x="9924" y="2591"/>
                  <a:pt x="9894" y="2591"/>
                </a:cubicBezTo>
                <a:cubicBezTo>
                  <a:pt x="9864" y="2591"/>
                  <a:pt x="9840" y="2641"/>
                  <a:pt x="9840" y="2704"/>
                </a:cubicBezTo>
                <a:cubicBezTo>
                  <a:pt x="9840" y="2766"/>
                  <a:pt x="9864" y="2817"/>
                  <a:pt x="9894" y="2817"/>
                </a:cubicBezTo>
                <a:close/>
                <a:moveTo>
                  <a:pt x="10047" y="2921"/>
                </a:moveTo>
                <a:cubicBezTo>
                  <a:pt x="10017" y="2921"/>
                  <a:pt x="9993" y="2972"/>
                  <a:pt x="9993" y="3035"/>
                </a:cubicBezTo>
                <a:cubicBezTo>
                  <a:pt x="9993" y="3097"/>
                  <a:pt x="10017" y="3148"/>
                  <a:pt x="10047" y="3148"/>
                </a:cubicBezTo>
                <a:cubicBezTo>
                  <a:pt x="10076" y="3148"/>
                  <a:pt x="10100" y="3097"/>
                  <a:pt x="10100" y="3035"/>
                </a:cubicBezTo>
                <a:cubicBezTo>
                  <a:pt x="10100" y="2972"/>
                  <a:pt x="10076" y="2921"/>
                  <a:pt x="10047" y="2921"/>
                </a:cubicBezTo>
                <a:close/>
                <a:moveTo>
                  <a:pt x="9581" y="3148"/>
                </a:moveTo>
                <a:cubicBezTo>
                  <a:pt x="9610" y="3148"/>
                  <a:pt x="9634" y="3097"/>
                  <a:pt x="9634" y="3035"/>
                </a:cubicBezTo>
                <a:cubicBezTo>
                  <a:pt x="9634" y="2972"/>
                  <a:pt x="9610" y="2921"/>
                  <a:pt x="9581" y="2921"/>
                </a:cubicBezTo>
                <a:cubicBezTo>
                  <a:pt x="9551" y="2921"/>
                  <a:pt x="9527" y="2972"/>
                  <a:pt x="9527" y="3035"/>
                </a:cubicBezTo>
                <a:cubicBezTo>
                  <a:pt x="9527" y="3097"/>
                  <a:pt x="9551" y="3148"/>
                  <a:pt x="9581" y="3148"/>
                </a:cubicBezTo>
                <a:close/>
                <a:moveTo>
                  <a:pt x="9583" y="2836"/>
                </a:moveTo>
                <a:cubicBezTo>
                  <a:pt x="9613" y="2836"/>
                  <a:pt x="9637" y="2786"/>
                  <a:pt x="9637" y="2723"/>
                </a:cubicBezTo>
                <a:cubicBezTo>
                  <a:pt x="9637" y="2661"/>
                  <a:pt x="9613" y="2610"/>
                  <a:pt x="9583" y="2610"/>
                </a:cubicBezTo>
                <a:cubicBezTo>
                  <a:pt x="9553" y="2610"/>
                  <a:pt x="9529" y="2661"/>
                  <a:pt x="9529" y="2723"/>
                </a:cubicBezTo>
                <a:cubicBezTo>
                  <a:pt x="9529" y="2786"/>
                  <a:pt x="9553" y="2836"/>
                  <a:pt x="9583" y="2836"/>
                </a:cubicBezTo>
                <a:close/>
                <a:moveTo>
                  <a:pt x="9737" y="3148"/>
                </a:moveTo>
                <a:cubicBezTo>
                  <a:pt x="9766" y="3148"/>
                  <a:pt x="9790" y="3097"/>
                  <a:pt x="9790" y="3035"/>
                </a:cubicBezTo>
                <a:cubicBezTo>
                  <a:pt x="9790" y="2972"/>
                  <a:pt x="9766" y="2921"/>
                  <a:pt x="9737" y="2921"/>
                </a:cubicBezTo>
                <a:cubicBezTo>
                  <a:pt x="9707" y="2921"/>
                  <a:pt x="9683" y="2972"/>
                  <a:pt x="9683" y="3035"/>
                </a:cubicBezTo>
                <a:cubicBezTo>
                  <a:pt x="9683" y="3097"/>
                  <a:pt x="9707" y="3148"/>
                  <a:pt x="9737" y="3148"/>
                </a:cubicBezTo>
                <a:close/>
                <a:moveTo>
                  <a:pt x="9739" y="2610"/>
                </a:moveTo>
                <a:cubicBezTo>
                  <a:pt x="9709" y="2610"/>
                  <a:pt x="9685" y="2661"/>
                  <a:pt x="9685" y="2723"/>
                </a:cubicBezTo>
                <a:cubicBezTo>
                  <a:pt x="9685" y="2786"/>
                  <a:pt x="9709" y="2836"/>
                  <a:pt x="9739" y="2836"/>
                </a:cubicBezTo>
                <a:cubicBezTo>
                  <a:pt x="9769" y="2836"/>
                  <a:pt x="9793" y="2786"/>
                  <a:pt x="9793" y="2723"/>
                </a:cubicBezTo>
                <a:cubicBezTo>
                  <a:pt x="9793" y="2661"/>
                  <a:pt x="9769" y="2610"/>
                  <a:pt x="9739" y="2610"/>
                </a:cubicBezTo>
                <a:close/>
                <a:moveTo>
                  <a:pt x="9894" y="3148"/>
                </a:moveTo>
                <a:cubicBezTo>
                  <a:pt x="9924" y="3148"/>
                  <a:pt x="9948" y="3097"/>
                  <a:pt x="9948" y="3035"/>
                </a:cubicBezTo>
                <a:cubicBezTo>
                  <a:pt x="9948" y="2972"/>
                  <a:pt x="9924" y="2921"/>
                  <a:pt x="9894" y="2921"/>
                </a:cubicBezTo>
                <a:cubicBezTo>
                  <a:pt x="9864" y="2921"/>
                  <a:pt x="9840" y="2972"/>
                  <a:pt x="9840" y="3035"/>
                </a:cubicBezTo>
                <a:cubicBezTo>
                  <a:pt x="9840" y="3097"/>
                  <a:pt x="9864" y="3148"/>
                  <a:pt x="9894" y="3148"/>
                </a:cubicBezTo>
                <a:close/>
                <a:moveTo>
                  <a:pt x="10047" y="3248"/>
                </a:moveTo>
                <a:cubicBezTo>
                  <a:pt x="10017" y="3248"/>
                  <a:pt x="9993" y="3298"/>
                  <a:pt x="9993" y="3361"/>
                </a:cubicBezTo>
                <a:cubicBezTo>
                  <a:pt x="9993" y="3423"/>
                  <a:pt x="10017" y="3474"/>
                  <a:pt x="10047" y="3474"/>
                </a:cubicBezTo>
                <a:cubicBezTo>
                  <a:pt x="10076" y="3474"/>
                  <a:pt x="10100" y="3423"/>
                  <a:pt x="10100" y="3361"/>
                </a:cubicBezTo>
                <a:cubicBezTo>
                  <a:pt x="10100" y="3298"/>
                  <a:pt x="10076" y="3248"/>
                  <a:pt x="10047" y="3248"/>
                </a:cubicBezTo>
                <a:close/>
                <a:moveTo>
                  <a:pt x="9894" y="3474"/>
                </a:moveTo>
                <a:cubicBezTo>
                  <a:pt x="9924" y="3474"/>
                  <a:pt x="9948" y="3423"/>
                  <a:pt x="9948" y="3361"/>
                </a:cubicBezTo>
                <a:cubicBezTo>
                  <a:pt x="9948" y="3298"/>
                  <a:pt x="9924" y="3248"/>
                  <a:pt x="9894" y="3248"/>
                </a:cubicBezTo>
                <a:cubicBezTo>
                  <a:pt x="9864" y="3248"/>
                  <a:pt x="9840" y="3298"/>
                  <a:pt x="9840" y="3361"/>
                </a:cubicBezTo>
                <a:cubicBezTo>
                  <a:pt x="9840" y="3423"/>
                  <a:pt x="9864" y="3474"/>
                  <a:pt x="9894" y="3474"/>
                </a:cubicBezTo>
                <a:close/>
                <a:moveTo>
                  <a:pt x="10047" y="3556"/>
                </a:moveTo>
                <a:cubicBezTo>
                  <a:pt x="10017" y="3556"/>
                  <a:pt x="9993" y="3606"/>
                  <a:pt x="9993" y="3669"/>
                </a:cubicBezTo>
                <a:cubicBezTo>
                  <a:pt x="9993" y="3731"/>
                  <a:pt x="10017" y="3782"/>
                  <a:pt x="10047" y="3782"/>
                </a:cubicBezTo>
                <a:cubicBezTo>
                  <a:pt x="10076" y="3782"/>
                  <a:pt x="10100" y="3731"/>
                  <a:pt x="10100" y="3669"/>
                </a:cubicBezTo>
                <a:cubicBezTo>
                  <a:pt x="10100" y="3606"/>
                  <a:pt x="10076" y="3556"/>
                  <a:pt x="10047" y="3556"/>
                </a:cubicBezTo>
                <a:close/>
                <a:moveTo>
                  <a:pt x="9894" y="3782"/>
                </a:moveTo>
                <a:cubicBezTo>
                  <a:pt x="9924" y="3782"/>
                  <a:pt x="9948" y="3731"/>
                  <a:pt x="9948" y="3669"/>
                </a:cubicBezTo>
                <a:cubicBezTo>
                  <a:pt x="9948" y="3606"/>
                  <a:pt x="9924" y="3556"/>
                  <a:pt x="9894" y="3556"/>
                </a:cubicBezTo>
                <a:cubicBezTo>
                  <a:pt x="9864" y="3556"/>
                  <a:pt x="9840" y="3606"/>
                  <a:pt x="9840" y="3669"/>
                </a:cubicBezTo>
                <a:cubicBezTo>
                  <a:pt x="9840" y="3731"/>
                  <a:pt x="9864" y="3782"/>
                  <a:pt x="9894" y="3782"/>
                </a:cubicBezTo>
                <a:close/>
                <a:moveTo>
                  <a:pt x="10198" y="2600"/>
                </a:moveTo>
                <a:cubicBezTo>
                  <a:pt x="10169" y="2600"/>
                  <a:pt x="10145" y="2650"/>
                  <a:pt x="10145" y="2713"/>
                </a:cubicBezTo>
                <a:cubicBezTo>
                  <a:pt x="10145" y="2775"/>
                  <a:pt x="10169" y="2826"/>
                  <a:pt x="10198" y="2826"/>
                </a:cubicBezTo>
                <a:cubicBezTo>
                  <a:pt x="10228" y="2826"/>
                  <a:pt x="10252" y="2775"/>
                  <a:pt x="10252" y="2713"/>
                </a:cubicBezTo>
                <a:cubicBezTo>
                  <a:pt x="10252" y="2650"/>
                  <a:pt x="10228" y="2600"/>
                  <a:pt x="10198" y="2600"/>
                </a:cubicBezTo>
                <a:close/>
                <a:moveTo>
                  <a:pt x="10198" y="2921"/>
                </a:moveTo>
                <a:cubicBezTo>
                  <a:pt x="10169" y="2921"/>
                  <a:pt x="10145" y="2972"/>
                  <a:pt x="10145" y="3035"/>
                </a:cubicBezTo>
                <a:cubicBezTo>
                  <a:pt x="10145" y="3097"/>
                  <a:pt x="10169" y="3148"/>
                  <a:pt x="10198" y="3148"/>
                </a:cubicBezTo>
                <a:cubicBezTo>
                  <a:pt x="10228" y="3148"/>
                  <a:pt x="10252" y="3097"/>
                  <a:pt x="10252" y="3035"/>
                </a:cubicBezTo>
                <a:cubicBezTo>
                  <a:pt x="10252" y="2972"/>
                  <a:pt x="10228" y="2921"/>
                  <a:pt x="10198" y="2921"/>
                </a:cubicBezTo>
                <a:close/>
                <a:moveTo>
                  <a:pt x="11273" y="3248"/>
                </a:moveTo>
                <a:cubicBezTo>
                  <a:pt x="11243" y="3248"/>
                  <a:pt x="11219" y="3298"/>
                  <a:pt x="11219" y="3361"/>
                </a:cubicBezTo>
                <a:cubicBezTo>
                  <a:pt x="11219" y="3423"/>
                  <a:pt x="11243" y="3474"/>
                  <a:pt x="11273" y="3474"/>
                </a:cubicBezTo>
                <a:cubicBezTo>
                  <a:pt x="11303" y="3474"/>
                  <a:pt x="11327" y="3423"/>
                  <a:pt x="11327" y="3361"/>
                </a:cubicBezTo>
                <a:cubicBezTo>
                  <a:pt x="11327" y="3298"/>
                  <a:pt x="11303" y="3248"/>
                  <a:pt x="11273" y="3248"/>
                </a:cubicBezTo>
                <a:close/>
                <a:moveTo>
                  <a:pt x="11119" y="3248"/>
                </a:moveTo>
                <a:cubicBezTo>
                  <a:pt x="11089" y="3248"/>
                  <a:pt x="11065" y="3298"/>
                  <a:pt x="11065" y="3361"/>
                </a:cubicBezTo>
                <a:cubicBezTo>
                  <a:pt x="11065" y="3423"/>
                  <a:pt x="11089" y="3474"/>
                  <a:pt x="11119" y="3474"/>
                </a:cubicBezTo>
                <a:cubicBezTo>
                  <a:pt x="11149" y="3474"/>
                  <a:pt x="11173" y="3423"/>
                  <a:pt x="11173" y="3361"/>
                </a:cubicBezTo>
                <a:cubicBezTo>
                  <a:pt x="11173" y="3298"/>
                  <a:pt x="11149" y="3248"/>
                  <a:pt x="11119" y="3248"/>
                </a:cubicBezTo>
                <a:close/>
                <a:moveTo>
                  <a:pt x="10967" y="3248"/>
                </a:moveTo>
                <a:cubicBezTo>
                  <a:pt x="10937" y="3248"/>
                  <a:pt x="10913" y="3298"/>
                  <a:pt x="10913" y="3361"/>
                </a:cubicBezTo>
                <a:cubicBezTo>
                  <a:pt x="10913" y="3423"/>
                  <a:pt x="10937" y="3474"/>
                  <a:pt x="10967" y="3474"/>
                </a:cubicBezTo>
                <a:cubicBezTo>
                  <a:pt x="10996" y="3474"/>
                  <a:pt x="11020" y="3423"/>
                  <a:pt x="11020" y="3361"/>
                </a:cubicBezTo>
                <a:cubicBezTo>
                  <a:pt x="11020" y="3298"/>
                  <a:pt x="10996" y="3248"/>
                  <a:pt x="10967" y="3248"/>
                </a:cubicBezTo>
                <a:close/>
                <a:moveTo>
                  <a:pt x="10813" y="3248"/>
                </a:moveTo>
                <a:cubicBezTo>
                  <a:pt x="10783" y="3248"/>
                  <a:pt x="10759" y="3298"/>
                  <a:pt x="10759" y="3361"/>
                </a:cubicBezTo>
                <a:cubicBezTo>
                  <a:pt x="10759" y="3423"/>
                  <a:pt x="10783" y="3474"/>
                  <a:pt x="10813" y="3474"/>
                </a:cubicBezTo>
                <a:cubicBezTo>
                  <a:pt x="10843" y="3474"/>
                  <a:pt x="10867" y="3423"/>
                  <a:pt x="10867" y="3361"/>
                </a:cubicBezTo>
                <a:cubicBezTo>
                  <a:pt x="10867" y="3298"/>
                  <a:pt x="10843" y="3248"/>
                  <a:pt x="10813" y="3248"/>
                </a:cubicBezTo>
                <a:close/>
                <a:moveTo>
                  <a:pt x="10660" y="3248"/>
                </a:moveTo>
                <a:cubicBezTo>
                  <a:pt x="10631" y="3248"/>
                  <a:pt x="10607" y="3298"/>
                  <a:pt x="10607" y="3361"/>
                </a:cubicBezTo>
                <a:cubicBezTo>
                  <a:pt x="10607" y="3423"/>
                  <a:pt x="10631" y="3474"/>
                  <a:pt x="10660" y="3474"/>
                </a:cubicBezTo>
                <a:cubicBezTo>
                  <a:pt x="10690" y="3474"/>
                  <a:pt x="10714" y="3423"/>
                  <a:pt x="10714" y="3361"/>
                </a:cubicBezTo>
                <a:cubicBezTo>
                  <a:pt x="10714" y="3298"/>
                  <a:pt x="10690" y="3248"/>
                  <a:pt x="10660" y="3248"/>
                </a:cubicBezTo>
                <a:close/>
                <a:moveTo>
                  <a:pt x="11428" y="3782"/>
                </a:moveTo>
                <a:cubicBezTo>
                  <a:pt x="11458" y="3782"/>
                  <a:pt x="11482" y="3731"/>
                  <a:pt x="11482" y="3669"/>
                </a:cubicBezTo>
                <a:cubicBezTo>
                  <a:pt x="11482" y="3606"/>
                  <a:pt x="11458" y="3556"/>
                  <a:pt x="11428" y="3556"/>
                </a:cubicBezTo>
                <a:cubicBezTo>
                  <a:pt x="11399" y="3556"/>
                  <a:pt x="11375" y="3606"/>
                  <a:pt x="11375" y="3669"/>
                </a:cubicBezTo>
                <a:cubicBezTo>
                  <a:pt x="11375" y="3731"/>
                  <a:pt x="11399" y="3782"/>
                  <a:pt x="11428" y="3782"/>
                </a:cubicBezTo>
                <a:close/>
                <a:moveTo>
                  <a:pt x="11273" y="3556"/>
                </a:moveTo>
                <a:cubicBezTo>
                  <a:pt x="11243" y="3556"/>
                  <a:pt x="11219" y="3606"/>
                  <a:pt x="11219" y="3669"/>
                </a:cubicBezTo>
                <a:cubicBezTo>
                  <a:pt x="11219" y="3731"/>
                  <a:pt x="11243" y="3782"/>
                  <a:pt x="11273" y="3782"/>
                </a:cubicBezTo>
                <a:cubicBezTo>
                  <a:pt x="11303" y="3782"/>
                  <a:pt x="11327" y="3731"/>
                  <a:pt x="11327" y="3669"/>
                </a:cubicBezTo>
                <a:cubicBezTo>
                  <a:pt x="11327" y="3606"/>
                  <a:pt x="11303" y="3556"/>
                  <a:pt x="11273" y="3556"/>
                </a:cubicBezTo>
                <a:close/>
                <a:moveTo>
                  <a:pt x="11119" y="3556"/>
                </a:moveTo>
                <a:cubicBezTo>
                  <a:pt x="11089" y="3556"/>
                  <a:pt x="11065" y="3606"/>
                  <a:pt x="11065" y="3669"/>
                </a:cubicBezTo>
                <a:cubicBezTo>
                  <a:pt x="11065" y="3731"/>
                  <a:pt x="11089" y="3782"/>
                  <a:pt x="11119" y="3782"/>
                </a:cubicBezTo>
                <a:cubicBezTo>
                  <a:pt x="11149" y="3782"/>
                  <a:pt x="11173" y="3731"/>
                  <a:pt x="11173" y="3669"/>
                </a:cubicBezTo>
                <a:cubicBezTo>
                  <a:pt x="11173" y="3606"/>
                  <a:pt x="11149" y="3556"/>
                  <a:pt x="11119" y="3556"/>
                </a:cubicBezTo>
                <a:close/>
                <a:moveTo>
                  <a:pt x="10967" y="3556"/>
                </a:moveTo>
                <a:cubicBezTo>
                  <a:pt x="10937" y="3556"/>
                  <a:pt x="10913" y="3606"/>
                  <a:pt x="10913" y="3669"/>
                </a:cubicBezTo>
                <a:cubicBezTo>
                  <a:pt x="10913" y="3731"/>
                  <a:pt x="10937" y="3782"/>
                  <a:pt x="10967" y="3782"/>
                </a:cubicBezTo>
                <a:cubicBezTo>
                  <a:pt x="10996" y="3782"/>
                  <a:pt x="11020" y="3731"/>
                  <a:pt x="11020" y="3669"/>
                </a:cubicBezTo>
                <a:cubicBezTo>
                  <a:pt x="11020" y="3606"/>
                  <a:pt x="10996" y="3556"/>
                  <a:pt x="10967" y="3556"/>
                </a:cubicBezTo>
                <a:close/>
                <a:moveTo>
                  <a:pt x="10813" y="3556"/>
                </a:moveTo>
                <a:cubicBezTo>
                  <a:pt x="10783" y="3556"/>
                  <a:pt x="10759" y="3606"/>
                  <a:pt x="10759" y="3669"/>
                </a:cubicBezTo>
                <a:cubicBezTo>
                  <a:pt x="10759" y="3731"/>
                  <a:pt x="10783" y="3782"/>
                  <a:pt x="10813" y="3782"/>
                </a:cubicBezTo>
                <a:cubicBezTo>
                  <a:pt x="10843" y="3782"/>
                  <a:pt x="10867" y="3731"/>
                  <a:pt x="10867" y="3669"/>
                </a:cubicBezTo>
                <a:cubicBezTo>
                  <a:pt x="10867" y="3606"/>
                  <a:pt x="10843" y="3556"/>
                  <a:pt x="10813" y="3556"/>
                </a:cubicBezTo>
                <a:close/>
                <a:moveTo>
                  <a:pt x="10660" y="3556"/>
                </a:moveTo>
                <a:cubicBezTo>
                  <a:pt x="10631" y="3556"/>
                  <a:pt x="10607" y="3606"/>
                  <a:pt x="10607" y="3669"/>
                </a:cubicBezTo>
                <a:cubicBezTo>
                  <a:pt x="10607" y="3731"/>
                  <a:pt x="10631" y="3782"/>
                  <a:pt x="10660" y="3782"/>
                </a:cubicBezTo>
                <a:cubicBezTo>
                  <a:pt x="10690" y="3782"/>
                  <a:pt x="10714" y="3731"/>
                  <a:pt x="10714" y="3669"/>
                </a:cubicBezTo>
                <a:cubicBezTo>
                  <a:pt x="10714" y="3606"/>
                  <a:pt x="10690" y="3556"/>
                  <a:pt x="10660" y="3556"/>
                </a:cubicBezTo>
                <a:close/>
                <a:moveTo>
                  <a:pt x="10505" y="3556"/>
                </a:moveTo>
                <a:cubicBezTo>
                  <a:pt x="10475" y="3556"/>
                  <a:pt x="10451" y="3606"/>
                  <a:pt x="10451" y="3669"/>
                </a:cubicBezTo>
                <a:cubicBezTo>
                  <a:pt x="10451" y="3731"/>
                  <a:pt x="10475" y="3782"/>
                  <a:pt x="10505" y="3782"/>
                </a:cubicBezTo>
                <a:cubicBezTo>
                  <a:pt x="10535" y="3782"/>
                  <a:pt x="10559" y="3731"/>
                  <a:pt x="10559" y="3669"/>
                </a:cubicBezTo>
                <a:cubicBezTo>
                  <a:pt x="10559" y="3606"/>
                  <a:pt x="10535" y="3556"/>
                  <a:pt x="10505" y="3556"/>
                </a:cubicBezTo>
                <a:close/>
                <a:moveTo>
                  <a:pt x="12965" y="4109"/>
                </a:moveTo>
                <a:cubicBezTo>
                  <a:pt x="12994" y="4109"/>
                  <a:pt x="13018" y="4059"/>
                  <a:pt x="13018" y="3996"/>
                </a:cubicBezTo>
                <a:cubicBezTo>
                  <a:pt x="13018" y="3934"/>
                  <a:pt x="12994" y="3883"/>
                  <a:pt x="12965" y="3883"/>
                </a:cubicBezTo>
                <a:cubicBezTo>
                  <a:pt x="12935" y="3883"/>
                  <a:pt x="12911" y="3934"/>
                  <a:pt x="12911" y="3996"/>
                </a:cubicBezTo>
                <a:cubicBezTo>
                  <a:pt x="12911" y="4059"/>
                  <a:pt x="12935" y="4109"/>
                  <a:pt x="12965" y="4109"/>
                </a:cubicBezTo>
                <a:close/>
                <a:moveTo>
                  <a:pt x="12811" y="3883"/>
                </a:moveTo>
                <a:cubicBezTo>
                  <a:pt x="12781" y="3883"/>
                  <a:pt x="12757" y="3934"/>
                  <a:pt x="12757" y="3996"/>
                </a:cubicBezTo>
                <a:cubicBezTo>
                  <a:pt x="12757" y="4059"/>
                  <a:pt x="12781" y="4109"/>
                  <a:pt x="12811" y="4109"/>
                </a:cubicBezTo>
                <a:cubicBezTo>
                  <a:pt x="12840" y="4109"/>
                  <a:pt x="12864" y="4059"/>
                  <a:pt x="12864" y="3996"/>
                </a:cubicBezTo>
                <a:cubicBezTo>
                  <a:pt x="12864" y="3934"/>
                  <a:pt x="12840" y="3883"/>
                  <a:pt x="12811" y="3883"/>
                </a:cubicBezTo>
                <a:close/>
                <a:moveTo>
                  <a:pt x="12658" y="4109"/>
                </a:moveTo>
                <a:cubicBezTo>
                  <a:pt x="12688" y="4109"/>
                  <a:pt x="12712" y="4059"/>
                  <a:pt x="12712" y="3996"/>
                </a:cubicBezTo>
                <a:cubicBezTo>
                  <a:pt x="12712" y="3934"/>
                  <a:pt x="12688" y="3883"/>
                  <a:pt x="12658" y="3883"/>
                </a:cubicBezTo>
                <a:cubicBezTo>
                  <a:pt x="12628" y="3883"/>
                  <a:pt x="12604" y="3934"/>
                  <a:pt x="12604" y="3996"/>
                </a:cubicBezTo>
                <a:cubicBezTo>
                  <a:pt x="12604" y="4059"/>
                  <a:pt x="12628" y="4109"/>
                  <a:pt x="12658" y="4109"/>
                </a:cubicBezTo>
                <a:close/>
                <a:moveTo>
                  <a:pt x="12504" y="4109"/>
                </a:moveTo>
                <a:cubicBezTo>
                  <a:pt x="12534" y="4109"/>
                  <a:pt x="12558" y="4059"/>
                  <a:pt x="12558" y="3996"/>
                </a:cubicBezTo>
                <a:cubicBezTo>
                  <a:pt x="12558" y="3934"/>
                  <a:pt x="12534" y="3883"/>
                  <a:pt x="12504" y="3883"/>
                </a:cubicBezTo>
                <a:cubicBezTo>
                  <a:pt x="12475" y="3883"/>
                  <a:pt x="12451" y="3934"/>
                  <a:pt x="12451" y="3996"/>
                </a:cubicBezTo>
                <a:cubicBezTo>
                  <a:pt x="12451" y="4059"/>
                  <a:pt x="12475" y="4109"/>
                  <a:pt x="12504" y="4109"/>
                </a:cubicBezTo>
                <a:close/>
                <a:moveTo>
                  <a:pt x="12352" y="3883"/>
                </a:moveTo>
                <a:cubicBezTo>
                  <a:pt x="12322" y="3883"/>
                  <a:pt x="12298" y="3934"/>
                  <a:pt x="12298" y="3996"/>
                </a:cubicBezTo>
                <a:cubicBezTo>
                  <a:pt x="12298" y="4059"/>
                  <a:pt x="12322" y="4109"/>
                  <a:pt x="12352" y="4109"/>
                </a:cubicBezTo>
                <a:cubicBezTo>
                  <a:pt x="12381" y="4109"/>
                  <a:pt x="12406" y="4059"/>
                  <a:pt x="12406" y="3996"/>
                </a:cubicBezTo>
                <a:cubicBezTo>
                  <a:pt x="12406" y="3934"/>
                  <a:pt x="12381" y="3883"/>
                  <a:pt x="12352" y="3883"/>
                </a:cubicBezTo>
                <a:close/>
                <a:moveTo>
                  <a:pt x="12196" y="4109"/>
                </a:moveTo>
                <a:cubicBezTo>
                  <a:pt x="12226" y="4109"/>
                  <a:pt x="12250" y="4059"/>
                  <a:pt x="12250" y="3996"/>
                </a:cubicBezTo>
                <a:cubicBezTo>
                  <a:pt x="12250" y="3934"/>
                  <a:pt x="12226" y="3883"/>
                  <a:pt x="12196" y="3883"/>
                </a:cubicBezTo>
                <a:cubicBezTo>
                  <a:pt x="12167" y="3883"/>
                  <a:pt x="12143" y="3934"/>
                  <a:pt x="12143" y="3996"/>
                </a:cubicBezTo>
                <a:cubicBezTo>
                  <a:pt x="12143" y="4059"/>
                  <a:pt x="12167" y="4109"/>
                  <a:pt x="12196" y="4109"/>
                </a:cubicBezTo>
                <a:close/>
                <a:moveTo>
                  <a:pt x="11738" y="3883"/>
                </a:moveTo>
                <a:cubicBezTo>
                  <a:pt x="11709" y="3883"/>
                  <a:pt x="11684" y="3934"/>
                  <a:pt x="11684" y="3996"/>
                </a:cubicBezTo>
                <a:cubicBezTo>
                  <a:pt x="11684" y="4059"/>
                  <a:pt x="11709" y="4109"/>
                  <a:pt x="11738" y="4109"/>
                </a:cubicBezTo>
                <a:cubicBezTo>
                  <a:pt x="11768" y="4109"/>
                  <a:pt x="11792" y="4059"/>
                  <a:pt x="11792" y="3996"/>
                </a:cubicBezTo>
                <a:cubicBezTo>
                  <a:pt x="11792" y="3934"/>
                  <a:pt x="11768" y="3883"/>
                  <a:pt x="11738" y="3883"/>
                </a:cubicBezTo>
                <a:close/>
                <a:moveTo>
                  <a:pt x="11586" y="3883"/>
                </a:moveTo>
                <a:cubicBezTo>
                  <a:pt x="11556" y="3883"/>
                  <a:pt x="11532" y="3934"/>
                  <a:pt x="11532" y="3996"/>
                </a:cubicBezTo>
                <a:cubicBezTo>
                  <a:pt x="11532" y="4059"/>
                  <a:pt x="11556" y="4109"/>
                  <a:pt x="11586" y="4109"/>
                </a:cubicBezTo>
                <a:cubicBezTo>
                  <a:pt x="11615" y="4109"/>
                  <a:pt x="11639" y="4059"/>
                  <a:pt x="11639" y="3996"/>
                </a:cubicBezTo>
                <a:cubicBezTo>
                  <a:pt x="11639" y="3934"/>
                  <a:pt x="11615" y="3883"/>
                  <a:pt x="11586" y="3883"/>
                </a:cubicBezTo>
                <a:close/>
                <a:moveTo>
                  <a:pt x="11738" y="5515"/>
                </a:moveTo>
                <a:cubicBezTo>
                  <a:pt x="11709" y="5515"/>
                  <a:pt x="11684" y="5566"/>
                  <a:pt x="11684" y="5628"/>
                </a:cubicBezTo>
                <a:cubicBezTo>
                  <a:pt x="11684" y="5691"/>
                  <a:pt x="11709" y="5742"/>
                  <a:pt x="11738" y="5742"/>
                </a:cubicBezTo>
                <a:cubicBezTo>
                  <a:pt x="11768" y="5742"/>
                  <a:pt x="11792" y="5691"/>
                  <a:pt x="11792" y="5628"/>
                </a:cubicBezTo>
                <a:cubicBezTo>
                  <a:pt x="11792" y="5566"/>
                  <a:pt x="11768" y="5515"/>
                  <a:pt x="11738" y="5515"/>
                </a:cubicBezTo>
                <a:close/>
                <a:moveTo>
                  <a:pt x="12196" y="5742"/>
                </a:moveTo>
                <a:cubicBezTo>
                  <a:pt x="12226" y="5742"/>
                  <a:pt x="12250" y="5691"/>
                  <a:pt x="12250" y="5628"/>
                </a:cubicBezTo>
                <a:cubicBezTo>
                  <a:pt x="12250" y="5566"/>
                  <a:pt x="12226" y="5515"/>
                  <a:pt x="12196" y="5515"/>
                </a:cubicBezTo>
                <a:cubicBezTo>
                  <a:pt x="12167" y="5515"/>
                  <a:pt x="12143" y="5566"/>
                  <a:pt x="12143" y="5628"/>
                </a:cubicBezTo>
                <a:cubicBezTo>
                  <a:pt x="12143" y="5691"/>
                  <a:pt x="12167" y="5742"/>
                  <a:pt x="12196" y="5742"/>
                </a:cubicBezTo>
                <a:close/>
                <a:moveTo>
                  <a:pt x="12042" y="5515"/>
                </a:moveTo>
                <a:cubicBezTo>
                  <a:pt x="12013" y="5515"/>
                  <a:pt x="11989" y="5566"/>
                  <a:pt x="11989" y="5628"/>
                </a:cubicBezTo>
                <a:cubicBezTo>
                  <a:pt x="11989" y="5691"/>
                  <a:pt x="12013" y="5742"/>
                  <a:pt x="12042" y="5742"/>
                </a:cubicBezTo>
                <a:cubicBezTo>
                  <a:pt x="12072" y="5742"/>
                  <a:pt x="12096" y="5691"/>
                  <a:pt x="12096" y="5628"/>
                </a:cubicBezTo>
                <a:cubicBezTo>
                  <a:pt x="12096" y="5566"/>
                  <a:pt x="12072" y="5515"/>
                  <a:pt x="12042" y="5515"/>
                </a:cubicBezTo>
                <a:close/>
                <a:moveTo>
                  <a:pt x="11890" y="5515"/>
                </a:moveTo>
                <a:cubicBezTo>
                  <a:pt x="11860" y="5515"/>
                  <a:pt x="11836" y="5566"/>
                  <a:pt x="11836" y="5628"/>
                </a:cubicBezTo>
                <a:cubicBezTo>
                  <a:pt x="11836" y="5691"/>
                  <a:pt x="11860" y="5742"/>
                  <a:pt x="11890" y="5742"/>
                </a:cubicBezTo>
                <a:cubicBezTo>
                  <a:pt x="11919" y="5742"/>
                  <a:pt x="11944" y="5691"/>
                  <a:pt x="11944" y="5628"/>
                </a:cubicBezTo>
                <a:cubicBezTo>
                  <a:pt x="11944" y="5566"/>
                  <a:pt x="11919" y="5515"/>
                  <a:pt x="11890" y="5515"/>
                </a:cubicBezTo>
                <a:close/>
                <a:moveTo>
                  <a:pt x="12196" y="6385"/>
                </a:moveTo>
                <a:cubicBezTo>
                  <a:pt x="12226" y="6385"/>
                  <a:pt x="12250" y="6334"/>
                  <a:pt x="12250" y="6272"/>
                </a:cubicBezTo>
                <a:cubicBezTo>
                  <a:pt x="12250" y="6209"/>
                  <a:pt x="12226" y="6158"/>
                  <a:pt x="12196" y="6158"/>
                </a:cubicBezTo>
                <a:cubicBezTo>
                  <a:pt x="12167" y="6158"/>
                  <a:pt x="12143" y="6209"/>
                  <a:pt x="12143" y="6272"/>
                </a:cubicBezTo>
                <a:cubicBezTo>
                  <a:pt x="12143" y="6334"/>
                  <a:pt x="12167" y="6385"/>
                  <a:pt x="12196" y="6385"/>
                </a:cubicBezTo>
                <a:close/>
                <a:moveTo>
                  <a:pt x="12196" y="6049"/>
                </a:moveTo>
                <a:cubicBezTo>
                  <a:pt x="12226" y="6049"/>
                  <a:pt x="12250" y="5999"/>
                  <a:pt x="12250" y="5936"/>
                </a:cubicBezTo>
                <a:cubicBezTo>
                  <a:pt x="12250" y="5874"/>
                  <a:pt x="12226" y="5823"/>
                  <a:pt x="12196" y="5823"/>
                </a:cubicBezTo>
                <a:cubicBezTo>
                  <a:pt x="12167" y="5823"/>
                  <a:pt x="12143" y="5874"/>
                  <a:pt x="12143" y="5936"/>
                </a:cubicBezTo>
                <a:cubicBezTo>
                  <a:pt x="12143" y="5999"/>
                  <a:pt x="12167" y="6049"/>
                  <a:pt x="12196" y="6049"/>
                </a:cubicBezTo>
                <a:close/>
                <a:moveTo>
                  <a:pt x="12042" y="5823"/>
                </a:moveTo>
                <a:cubicBezTo>
                  <a:pt x="12013" y="5823"/>
                  <a:pt x="11989" y="5874"/>
                  <a:pt x="11989" y="5936"/>
                </a:cubicBezTo>
                <a:cubicBezTo>
                  <a:pt x="11989" y="5999"/>
                  <a:pt x="12013" y="6049"/>
                  <a:pt x="12042" y="6049"/>
                </a:cubicBezTo>
                <a:cubicBezTo>
                  <a:pt x="12072" y="6049"/>
                  <a:pt x="12096" y="5999"/>
                  <a:pt x="12096" y="5936"/>
                </a:cubicBezTo>
                <a:cubicBezTo>
                  <a:pt x="12096" y="5874"/>
                  <a:pt x="12072" y="5823"/>
                  <a:pt x="12042" y="5823"/>
                </a:cubicBezTo>
                <a:close/>
                <a:moveTo>
                  <a:pt x="11890" y="5823"/>
                </a:moveTo>
                <a:cubicBezTo>
                  <a:pt x="11860" y="5823"/>
                  <a:pt x="11836" y="5874"/>
                  <a:pt x="11836" y="5936"/>
                </a:cubicBezTo>
                <a:cubicBezTo>
                  <a:pt x="11836" y="5999"/>
                  <a:pt x="11860" y="6049"/>
                  <a:pt x="11890" y="6049"/>
                </a:cubicBezTo>
                <a:cubicBezTo>
                  <a:pt x="11919" y="6049"/>
                  <a:pt x="11944" y="5999"/>
                  <a:pt x="11944" y="5936"/>
                </a:cubicBezTo>
                <a:cubicBezTo>
                  <a:pt x="11944" y="5874"/>
                  <a:pt x="11919" y="5823"/>
                  <a:pt x="11890" y="5823"/>
                </a:cubicBezTo>
                <a:close/>
                <a:moveTo>
                  <a:pt x="11738" y="4867"/>
                </a:moveTo>
                <a:cubicBezTo>
                  <a:pt x="11709" y="4867"/>
                  <a:pt x="11684" y="4918"/>
                  <a:pt x="11684" y="4980"/>
                </a:cubicBezTo>
                <a:cubicBezTo>
                  <a:pt x="11684" y="5043"/>
                  <a:pt x="11709" y="5094"/>
                  <a:pt x="11738" y="5094"/>
                </a:cubicBezTo>
                <a:cubicBezTo>
                  <a:pt x="11768" y="5094"/>
                  <a:pt x="11792" y="5043"/>
                  <a:pt x="11792" y="4980"/>
                </a:cubicBezTo>
                <a:cubicBezTo>
                  <a:pt x="11792" y="4918"/>
                  <a:pt x="11768" y="4867"/>
                  <a:pt x="11738" y="4867"/>
                </a:cubicBezTo>
                <a:close/>
                <a:moveTo>
                  <a:pt x="11429" y="4867"/>
                </a:moveTo>
                <a:cubicBezTo>
                  <a:pt x="11399" y="4867"/>
                  <a:pt x="11375" y="4918"/>
                  <a:pt x="11375" y="4980"/>
                </a:cubicBezTo>
                <a:cubicBezTo>
                  <a:pt x="11375" y="5043"/>
                  <a:pt x="11399" y="5094"/>
                  <a:pt x="11429" y="5094"/>
                </a:cubicBezTo>
                <a:cubicBezTo>
                  <a:pt x="11459" y="5094"/>
                  <a:pt x="11483" y="5043"/>
                  <a:pt x="11483" y="4980"/>
                </a:cubicBezTo>
                <a:cubicBezTo>
                  <a:pt x="11483" y="4918"/>
                  <a:pt x="11459" y="4867"/>
                  <a:pt x="11429" y="4867"/>
                </a:cubicBezTo>
                <a:close/>
                <a:moveTo>
                  <a:pt x="11429" y="4517"/>
                </a:moveTo>
                <a:cubicBezTo>
                  <a:pt x="11399" y="4517"/>
                  <a:pt x="11375" y="4568"/>
                  <a:pt x="11375" y="4630"/>
                </a:cubicBezTo>
                <a:cubicBezTo>
                  <a:pt x="11375" y="4693"/>
                  <a:pt x="11399" y="4743"/>
                  <a:pt x="11429" y="4743"/>
                </a:cubicBezTo>
                <a:cubicBezTo>
                  <a:pt x="11459" y="4743"/>
                  <a:pt x="11483" y="4693"/>
                  <a:pt x="11483" y="4630"/>
                </a:cubicBezTo>
                <a:cubicBezTo>
                  <a:pt x="11483" y="4568"/>
                  <a:pt x="11459" y="4517"/>
                  <a:pt x="11429" y="4517"/>
                </a:cubicBezTo>
                <a:close/>
                <a:moveTo>
                  <a:pt x="11586" y="4867"/>
                </a:moveTo>
                <a:cubicBezTo>
                  <a:pt x="11556" y="4867"/>
                  <a:pt x="11532" y="4918"/>
                  <a:pt x="11532" y="4980"/>
                </a:cubicBezTo>
                <a:cubicBezTo>
                  <a:pt x="11532" y="5043"/>
                  <a:pt x="11556" y="5094"/>
                  <a:pt x="11586" y="5094"/>
                </a:cubicBezTo>
                <a:cubicBezTo>
                  <a:pt x="11615" y="5094"/>
                  <a:pt x="11639" y="5043"/>
                  <a:pt x="11639" y="4980"/>
                </a:cubicBezTo>
                <a:cubicBezTo>
                  <a:pt x="11639" y="4918"/>
                  <a:pt x="11615" y="4867"/>
                  <a:pt x="11586" y="4867"/>
                </a:cubicBezTo>
                <a:close/>
                <a:moveTo>
                  <a:pt x="11738" y="5175"/>
                </a:moveTo>
                <a:cubicBezTo>
                  <a:pt x="11709" y="5175"/>
                  <a:pt x="11684" y="5226"/>
                  <a:pt x="11684" y="5288"/>
                </a:cubicBezTo>
                <a:cubicBezTo>
                  <a:pt x="11684" y="5351"/>
                  <a:pt x="11709" y="5401"/>
                  <a:pt x="11738" y="5401"/>
                </a:cubicBezTo>
                <a:cubicBezTo>
                  <a:pt x="11768" y="5401"/>
                  <a:pt x="11792" y="5351"/>
                  <a:pt x="11792" y="5288"/>
                </a:cubicBezTo>
                <a:cubicBezTo>
                  <a:pt x="11792" y="5226"/>
                  <a:pt x="11768" y="5175"/>
                  <a:pt x="11738" y="5175"/>
                </a:cubicBezTo>
                <a:close/>
                <a:moveTo>
                  <a:pt x="11586" y="5175"/>
                </a:moveTo>
                <a:cubicBezTo>
                  <a:pt x="11556" y="5175"/>
                  <a:pt x="11532" y="5226"/>
                  <a:pt x="11532" y="5288"/>
                </a:cubicBezTo>
                <a:cubicBezTo>
                  <a:pt x="11532" y="5351"/>
                  <a:pt x="11556" y="5401"/>
                  <a:pt x="11586" y="5401"/>
                </a:cubicBezTo>
                <a:cubicBezTo>
                  <a:pt x="11615" y="5401"/>
                  <a:pt x="11639" y="5351"/>
                  <a:pt x="11639" y="5288"/>
                </a:cubicBezTo>
                <a:cubicBezTo>
                  <a:pt x="11639" y="5226"/>
                  <a:pt x="11615" y="5175"/>
                  <a:pt x="11586" y="5175"/>
                </a:cubicBezTo>
                <a:close/>
                <a:moveTo>
                  <a:pt x="12196" y="5094"/>
                </a:moveTo>
                <a:cubicBezTo>
                  <a:pt x="12226" y="5094"/>
                  <a:pt x="12250" y="5043"/>
                  <a:pt x="12250" y="4980"/>
                </a:cubicBezTo>
                <a:cubicBezTo>
                  <a:pt x="12250" y="4918"/>
                  <a:pt x="12226" y="4867"/>
                  <a:pt x="12196" y="4867"/>
                </a:cubicBezTo>
                <a:cubicBezTo>
                  <a:pt x="12167" y="4867"/>
                  <a:pt x="12143" y="4918"/>
                  <a:pt x="12143" y="4980"/>
                </a:cubicBezTo>
                <a:cubicBezTo>
                  <a:pt x="12143" y="5043"/>
                  <a:pt x="12167" y="5094"/>
                  <a:pt x="12196" y="5094"/>
                </a:cubicBezTo>
                <a:close/>
                <a:moveTo>
                  <a:pt x="12042" y="4867"/>
                </a:moveTo>
                <a:cubicBezTo>
                  <a:pt x="12013" y="4867"/>
                  <a:pt x="11989" y="4918"/>
                  <a:pt x="11989" y="4980"/>
                </a:cubicBezTo>
                <a:cubicBezTo>
                  <a:pt x="11989" y="5043"/>
                  <a:pt x="12013" y="5094"/>
                  <a:pt x="12042" y="5094"/>
                </a:cubicBezTo>
                <a:cubicBezTo>
                  <a:pt x="12072" y="5094"/>
                  <a:pt x="12096" y="5043"/>
                  <a:pt x="12096" y="4980"/>
                </a:cubicBezTo>
                <a:cubicBezTo>
                  <a:pt x="12096" y="4918"/>
                  <a:pt x="12072" y="4867"/>
                  <a:pt x="12042" y="4867"/>
                </a:cubicBezTo>
                <a:close/>
                <a:moveTo>
                  <a:pt x="11890" y="4867"/>
                </a:moveTo>
                <a:cubicBezTo>
                  <a:pt x="11860" y="4867"/>
                  <a:pt x="11836" y="4918"/>
                  <a:pt x="11836" y="4980"/>
                </a:cubicBezTo>
                <a:cubicBezTo>
                  <a:pt x="11836" y="5043"/>
                  <a:pt x="11860" y="5094"/>
                  <a:pt x="11890" y="5094"/>
                </a:cubicBezTo>
                <a:cubicBezTo>
                  <a:pt x="11919" y="5094"/>
                  <a:pt x="11944" y="5043"/>
                  <a:pt x="11944" y="4980"/>
                </a:cubicBezTo>
                <a:cubicBezTo>
                  <a:pt x="11944" y="4918"/>
                  <a:pt x="11919" y="4867"/>
                  <a:pt x="11890" y="4867"/>
                </a:cubicBezTo>
                <a:close/>
                <a:moveTo>
                  <a:pt x="12196" y="5401"/>
                </a:moveTo>
                <a:cubicBezTo>
                  <a:pt x="12226" y="5401"/>
                  <a:pt x="12250" y="5351"/>
                  <a:pt x="12250" y="5288"/>
                </a:cubicBezTo>
                <a:cubicBezTo>
                  <a:pt x="12250" y="5226"/>
                  <a:pt x="12226" y="5175"/>
                  <a:pt x="12196" y="5175"/>
                </a:cubicBezTo>
                <a:cubicBezTo>
                  <a:pt x="12167" y="5175"/>
                  <a:pt x="12143" y="5226"/>
                  <a:pt x="12143" y="5288"/>
                </a:cubicBezTo>
                <a:cubicBezTo>
                  <a:pt x="12143" y="5351"/>
                  <a:pt x="12167" y="5401"/>
                  <a:pt x="12196" y="5401"/>
                </a:cubicBezTo>
                <a:close/>
                <a:moveTo>
                  <a:pt x="12042" y="5175"/>
                </a:moveTo>
                <a:cubicBezTo>
                  <a:pt x="12013" y="5175"/>
                  <a:pt x="11989" y="5226"/>
                  <a:pt x="11989" y="5288"/>
                </a:cubicBezTo>
                <a:cubicBezTo>
                  <a:pt x="11989" y="5351"/>
                  <a:pt x="12013" y="5401"/>
                  <a:pt x="12042" y="5401"/>
                </a:cubicBezTo>
                <a:cubicBezTo>
                  <a:pt x="12072" y="5401"/>
                  <a:pt x="12096" y="5351"/>
                  <a:pt x="12096" y="5288"/>
                </a:cubicBezTo>
                <a:cubicBezTo>
                  <a:pt x="12096" y="5226"/>
                  <a:pt x="12072" y="5175"/>
                  <a:pt x="12042" y="5175"/>
                </a:cubicBezTo>
                <a:close/>
                <a:moveTo>
                  <a:pt x="11890" y="5175"/>
                </a:moveTo>
                <a:cubicBezTo>
                  <a:pt x="11860" y="5175"/>
                  <a:pt x="11836" y="5226"/>
                  <a:pt x="11836" y="5288"/>
                </a:cubicBezTo>
                <a:cubicBezTo>
                  <a:pt x="11836" y="5351"/>
                  <a:pt x="11860" y="5401"/>
                  <a:pt x="11890" y="5401"/>
                </a:cubicBezTo>
                <a:cubicBezTo>
                  <a:pt x="11919" y="5401"/>
                  <a:pt x="11944" y="5351"/>
                  <a:pt x="11944" y="5288"/>
                </a:cubicBezTo>
                <a:cubicBezTo>
                  <a:pt x="11944" y="5226"/>
                  <a:pt x="11919" y="5175"/>
                  <a:pt x="11890" y="5175"/>
                </a:cubicBezTo>
                <a:close/>
                <a:moveTo>
                  <a:pt x="11738" y="4209"/>
                </a:moveTo>
                <a:cubicBezTo>
                  <a:pt x="11709" y="4209"/>
                  <a:pt x="11684" y="4260"/>
                  <a:pt x="11684" y="4322"/>
                </a:cubicBezTo>
                <a:cubicBezTo>
                  <a:pt x="11684" y="4385"/>
                  <a:pt x="11709" y="4435"/>
                  <a:pt x="11738" y="4435"/>
                </a:cubicBezTo>
                <a:cubicBezTo>
                  <a:pt x="11768" y="4435"/>
                  <a:pt x="11792" y="4385"/>
                  <a:pt x="11792" y="4322"/>
                </a:cubicBezTo>
                <a:cubicBezTo>
                  <a:pt x="11792" y="4260"/>
                  <a:pt x="11768" y="4209"/>
                  <a:pt x="11738" y="4209"/>
                </a:cubicBezTo>
                <a:close/>
                <a:moveTo>
                  <a:pt x="11586" y="4209"/>
                </a:moveTo>
                <a:cubicBezTo>
                  <a:pt x="11556" y="4209"/>
                  <a:pt x="11532" y="4260"/>
                  <a:pt x="11532" y="4322"/>
                </a:cubicBezTo>
                <a:cubicBezTo>
                  <a:pt x="11532" y="4385"/>
                  <a:pt x="11556" y="4435"/>
                  <a:pt x="11586" y="4435"/>
                </a:cubicBezTo>
                <a:cubicBezTo>
                  <a:pt x="11615" y="4435"/>
                  <a:pt x="11639" y="4385"/>
                  <a:pt x="11639" y="4322"/>
                </a:cubicBezTo>
                <a:cubicBezTo>
                  <a:pt x="11639" y="4260"/>
                  <a:pt x="11615" y="4209"/>
                  <a:pt x="11586" y="4209"/>
                </a:cubicBezTo>
                <a:close/>
                <a:moveTo>
                  <a:pt x="11738" y="4517"/>
                </a:moveTo>
                <a:cubicBezTo>
                  <a:pt x="11709" y="4517"/>
                  <a:pt x="11684" y="4568"/>
                  <a:pt x="11684" y="4630"/>
                </a:cubicBezTo>
                <a:cubicBezTo>
                  <a:pt x="11684" y="4693"/>
                  <a:pt x="11709" y="4743"/>
                  <a:pt x="11738" y="4743"/>
                </a:cubicBezTo>
                <a:cubicBezTo>
                  <a:pt x="11768" y="4743"/>
                  <a:pt x="11792" y="4693"/>
                  <a:pt x="11792" y="4630"/>
                </a:cubicBezTo>
                <a:cubicBezTo>
                  <a:pt x="11792" y="4568"/>
                  <a:pt x="11768" y="4517"/>
                  <a:pt x="11738" y="4517"/>
                </a:cubicBezTo>
                <a:close/>
                <a:moveTo>
                  <a:pt x="11586" y="4517"/>
                </a:moveTo>
                <a:cubicBezTo>
                  <a:pt x="11556" y="4517"/>
                  <a:pt x="11532" y="4568"/>
                  <a:pt x="11532" y="4630"/>
                </a:cubicBezTo>
                <a:cubicBezTo>
                  <a:pt x="11532" y="4693"/>
                  <a:pt x="11556" y="4743"/>
                  <a:pt x="11586" y="4743"/>
                </a:cubicBezTo>
                <a:cubicBezTo>
                  <a:pt x="11615" y="4743"/>
                  <a:pt x="11639" y="4693"/>
                  <a:pt x="11639" y="4630"/>
                </a:cubicBezTo>
                <a:cubicBezTo>
                  <a:pt x="11639" y="4568"/>
                  <a:pt x="11615" y="4517"/>
                  <a:pt x="11586" y="4517"/>
                </a:cubicBezTo>
                <a:close/>
                <a:moveTo>
                  <a:pt x="12042" y="3883"/>
                </a:moveTo>
                <a:cubicBezTo>
                  <a:pt x="12013" y="3883"/>
                  <a:pt x="11989" y="3934"/>
                  <a:pt x="11989" y="3996"/>
                </a:cubicBezTo>
                <a:cubicBezTo>
                  <a:pt x="11989" y="4059"/>
                  <a:pt x="12013" y="4109"/>
                  <a:pt x="12042" y="4109"/>
                </a:cubicBezTo>
                <a:cubicBezTo>
                  <a:pt x="12072" y="4109"/>
                  <a:pt x="12096" y="4059"/>
                  <a:pt x="12096" y="3996"/>
                </a:cubicBezTo>
                <a:cubicBezTo>
                  <a:pt x="12096" y="3934"/>
                  <a:pt x="12072" y="3883"/>
                  <a:pt x="12042" y="3883"/>
                </a:cubicBezTo>
                <a:close/>
                <a:moveTo>
                  <a:pt x="11890" y="3883"/>
                </a:moveTo>
                <a:cubicBezTo>
                  <a:pt x="11860" y="3883"/>
                  <a:pt x="11836" y="3934"/>
                  <a:pt x="11836" y="3996"/>
                </a:cubicBezTo>
                <a:cubicBezTo>
                  <a:pt x="11836" y="4059"/>
                  <a:pt x="11860" y="4109"/>
                  <a:pt x="11890" y="4109"/>
                </a:cubicBezTo>
                <a:cubicBezTo>
                  <a:pt x="11919" y="4109"/>
                  <a:pt x="11944" y="4059"/>
                  <a:pt x="11944" y="3996"/>
                </a:cubicBezTo>
                <a:cubicBezTo>
                  <a:pt x="11944" y="3934"/>
                  <a:pt x="11919" y="3883"/>
                  <a:pt x="11890" y="3883"/>
                </a:cubicBezTo>
                <a:close/>
                <a:moveTo>
                  <a:pt x="12965" y="4435"/>
                </a:moveTo>
                <a:cubicBezTo>
                  <a:pt x="12994" y="4435"/>
                  <a:pt x="13018" y="4385"/>
                  <a:pt x="13018" y="4322"/>
                </a:cubicBezTo>
                <a:cubicBezTo>
                  <a:pt x="13018" y="4260"/>
                  <a:pt x="12994" y="4209"/>
                  <a:pt x="12965" y="4209"/>
                </a:cubicBezTo>
                <a:cubicBezTo>
                  <a:pt x="12935" y="4209"/>
                  <a:pt x="12911" y="4260"/>
                  <a:pt x="12911" y="4322"/>
                </a:cubicBezTo>
                <a:cubicBezTo>
                  <a:pt x="12911" y="4385"/>
                  <a:pt x="12935" y="4435"/>
                  <a:pt x="12965" y="4435"/>
                </a:cubicBezTo>
                <a:close/>
                <a:moveTo>
                  <a:pt x="12811" y="4209"/>
                </a:moveTo>
                <a:cubicBezTo>
                  <a:pt x="12781" y="4209"/>
                  <a:pt x="12757" y="4260"/>
                  <a:pt x="12757" y="4322"/>
                </a:cubicBezTo>
                <a:cubicBezTo>
                  <a:pt x="12757" y="4385"/>
                  <a:pt x="12781" y="4435"/>
                  <a:pt x="12811" y="4435"/>
                </a:cubicBezTo>
                <a:cubicBezTo>
                  <a:pt x="12840" y="4435"/>
                  <a:pt x="12864" y="4385"/>
                  <a:pt x="12864" y="4322"/>
                </a:cubicBezTo>
                <a:cubicBezTo>
                  <a:pt x="12864" y="4260"/>
                  <a:pt x="12840" y="4209"/>
                  <a:pt x="12811" y="4209"/>
                </a:cubicBezTo>
                <a:close/>
                <a:moveTo>
                  <a:pt x="12658" y="4435"/>
                </a:moveTo>
                <a:cubicBezTo>
                  <a:pt x="12688" y="4435"/>
                  <a:pt x="12712" y="4385"/>
                  <a:pt x="12712" y="4322"/>
                </a:cubicBezTo>
                <a:cubicBezTo>
                  <a:pt x="12712" y="4260"/>
                  <a:pt x="12688" y="4209"/>
                  <a:pt x="12658" y="4209"/>
                </a:cubicBezTo>
                <a:cubicBezTo>
                  <a:pt x="12628" y="4209"/>
                  <a:pt x="12604" y="4260"/>
                  <a:pt x="12604" y="4322"/>
                </a:cubicBezTo>
                <a:cubicBezTo>
                  <a:pt x="12604" y="4385"/>
                  <a:pt x="12628" y="4435"/>
                  <a:pt x="12658" y="4435"/>
                </a:cubicBezTo>
                <a:close/>
                <a:moveTo>
                  <a:pt x="12504" y="4435"/>
                </a:moveTo>
                <a:cubicBezTo>
                  <a:pt x="12534" y="4435"/>
                  <a:pt x="12558" y="4385"/>
                  <a:pt x="12558" y="4322"/>
                </a:cubicBezTo>
                <a:cubicBezTo>
                  <a:pt x="12558" y="4260"/>
                  <a:pt x="12534" y="4209"/>
                  <a:pt x="12504" y="4209"/>
                </a:cubicBezTo>
                <a:cubicBezTo>
                  <a:pt x="12475" y="4209"/>
                  <a:pt x="12451" y="4260"/>
                  <a:pt x="12451" y="4322"/>
                </a:cubicBezTo>
                <a:cubicBezTo>
                  <a:pt x="12451" y="4385"/>
                  <a:pt x="12475" y="4435"/>
                  <a:pt x="12504" y="4435"/>
                </a:cubicBezTo>
                <a:close/>
                <a:moveTo>
                  <a:pt x="12352" y="4209"/>
                </a:moveTo>
                <a:cubicBezTo>
                  <a:pt x="12322" y="4209"/>
                  <a:pt x="12298" y="4260"/>
                  <a:pt x="12298" y="4322"/>
                </a:cubicBezTo>
                <a:cubicBezTo>
                  <a:pt x="12298" y="4385"/>
                  <a:pt x="12322" y="4435"/>
                  <a:pt x="12352" y="4435"/>
                </a:cubicBezTo>
                <a:cubicBezTo>
                  <a:pt x="12381" y="4435"/>
                  <a:pt x="12406" y="4385"/>
                  <a:pt x="12406" y="4322"/>
                </a:cubicBezTo>
                <a:cubicBezTo>
                  <a:pt x="12406" y="4260"/>
                  <a:pt x="12381" y="4209"/>
                  <a:pt x="12352" y="4209"/>
                </a:cubicBezTo>
                <a:close/>
                <a:moveTo>
                  <a:pt x="12196" y="4435"/>
                </a:moveTo>
                <a:cubicBezTo>
                  <a:pt x="12226" y="4435"/>
                  <a:pt x="12250" y="4385"/>
                  <a:pt x="12250" y="4322"/>
                </a:cubicBezTo>
                <a:cubicBezTo>
                  <a:pt x="12250" y="4260"/>
                  <a:pt x="12226" y="4209"/>
                  <a:pt x="12196" y="4209"/>
                </a:cubicBezTo>
                <a:cubicBezTo>
                  <a:pt x="12167" y="4209"/>
                  <a:pt x="12143" y="4260"/>
                  <a:pt x="12143" y="4322"/>
                </a:cubicBezTo>
                <a:cubicBezTo>
                  <a:pt x="12143" y="4385"/>
                  <a:pt x="12167" y="4435"/>
                  <a:pt x="12196" y="4435"/>
                </a:cubicBezTo>
                <a:close/>
                <a:moveTo>
                  <a:pt x="12042" y="4209"/>
                </a:moveTo>
                <a:cubicBezTo>
                  <a:pt x="12013" y="4209"/>
                  <a:pt x="11989" y="4260"/>
                  <a:pt x="11989" y="4322"/>
                </a:cubicBezTo>
                <a:cubicBezTo>
                  <a:pt x="11989" y="4385"/>
                  <a:pt x="12013" y="4435"/>
                  <a:pt x="12042" y="4435"/>
                </a:cubicBezTo>
                <a:cubicBezTo>
                  <a:pt x="12072" y="4435"/>
                  <a:pt x="12096" y="4385"/>
                  <a:pt x="12096" y="4322"/>
                </a:cubicBezTo>
                <a:cubicBezTo>
                  <a:pt x="12096" y="4260"/>
                  <a:pt x="12072" y="4209"/>
                  <a:pt x="12042" y="4209"/>
                </a:cubicBezTo>
                <a:close/>
                <a:moveTo>
                  <a:pt x="11890" y="4209"/>
                </a:moveTo>
                <a:cubicBezTo>
                  <a:pt x="11860" y="4209"/>
                  <a:pt x="11836" y="4260"/>
                  <a:pt x="11836" y="4322"/>
                </a:cubicBezTo>
                <a:cubicBezTo>
                  <a:pt x="11836" y="4385"/>
                  <a:pt x="11860" y="4435"/>
                  <a:pt x="11890" y="4435"/>
                </a:cubicBezTo>
                <a:cubicBezTo>
                  <a:pt x="11919" y="4435"/>
                  <a:pt x="11944" y="4385"/>
                  <a:pt x="11944" y="4322"/>
                </a:cubicBezTo>
                <a:cubicBezTo>
                  <a:pt x="11944" y="4260"/>
                  <a:pt x="11919" y="4209"/>
                  <a:pt x="11890" y="4209"/>
                </a:cubicBezTo>
                <a:close/>
                <a:moveTo>
                  <a:pt x="13120" y="4517"/>
                </a:moveTo>
                <a:cubicBezTo>
                  <a:pt x="13090" y="4517"/>
                  <a:pt x="13066" y="4568"/>
                  <a:pt x="13066" y="4630"/>
                </a:cubicBezTo>
                <a:cubicBezTo>
                  <a:pt x="13066" y="4693"/>
                  <a:pt x="13090" y="4743"/>
                  <a:pt x="13120" y="4743"/>
                </a:cubicBezTo>
                <a:cubicBezTo>
                  <a:pt x="13150" y="4743"/>
                  <a:pt x="13174" y="4693"/>
                  <a:pt x="13174" y="4630"/>
                </a:cubicBezTo>
                <a:cubicBezTo>
                  <a:pt x="13174" y="4568"/>
                  <a:pt x="13150" y="4517"/>
                  <a:pt x="13120" y="4517"/>
                </a:cubicBezTo>
                <a:close/>
                <a:moveTo>
                  <a:pt x="12965" y="4743"/>
                </a:moveTo>
                <a:cubicBezTo>
                  <a:pt x="12994" y="4743"/>
                  <a:pt x="13018" y="4693"/>
                  <a:pt x="13018" y="4630"/>
                </a:cubicBezTo>
                <a:cubicBezTo>
                  <a:pt x="13018" y="4568"/>
                  <a:pt x="12994" y="4517"/>
                  <a:pt x="12965" y="4517"/>
                </a:cubicBezTo>
                <a:cubicBezTo>
                  <a:pt x="12935" y="4517"/>
                  <a:pt x="12911" y="4568"/>
                  <a:pt x="12911" y="4630"/>
                </a:cubicBezTo>
                <a:cubicBezTo>
                  <a:pt x="12911" y="4693"/>
                  <a:pt x="12935" y="4743"/>
                  <a:pt x="12965" y="4743"/>
                </a:cubicBezTo>
                <a:close/>
                <a:moveTo>
                  <a:pt x="12811" y="4517"/>
                </a:moveTo>
                <a:cubicBezTo>
                  <a:pt x="12781" y="4517"/>
                  <a:pt x="12757" y="4568"/>
                  <a:pt x="12757" y="4630"/>
                </a:cubicBezTo>
                <a:cubicBezTo>
                  <a:pt x="12757" y="4693"/>
                  <a:pt x="12781" y="4743"/>
                  <a:pt x="12811" y="4743"/>
                </a:cubicBezTo>
                <a:cubicBezTo>
                  <a:pt x="12840" y="4743"/>
                  <a:pt x="12864" y="4693"/>
                  <a:pt x="12864" y="4630"/>
                </a:cubicBezTo>
                <a:cubicBezTo>
                  <a:pt x="12864" y="4568"/>
                  <a:pt x="12840" y="4517"/>
                  <a:pt x="12811" y="4517"/>
                </a:cubicBezTo>
                <a:close/>
                <a:moveTo>
                  <a:pt x="12658" y="4743"/>
                </a:moveTo>
                <a:cubicBezTo>
                  <a:pt x="12688" y="4743"/>
                  <a:pt x="12712" y="4693"/>
                  <a:pt x="12712" y="4630"/>
                </a:cubicBezTo>
                <a:cubicBezTo>
                  <a:pt x="12712" y="4568"/>
                  <a:pt x="12688" y="4517"/>
                  <a:pt x="12658" y="4517"/>
                </a:cubicBezTo>
                <a:cubicBezTo>
                  <a:pt x="12628" y="4517"/>
                  <a:pt x="12604" y="4568"/>
                  <a:pt x="12604" y="4630"/>
                </a:cubicBezTo>
                <a:cubicBezTo>
                  <a:pt x="12604" y="4693"/>
                  <a:pt x="12628" y="4743"/>
                  <a:pt x="12658" y="4743"/>
                </a:cubicBezTo>
                <a:close/>
                <a:moveTo>
                  <a:pt x="12504" y="4743"/>
                </a:moveTo>
                <a:cubicBezTo>
                  <a:pt x="12534" y="4743"/>
                  <a:pt x="12558" y="4693"/>
                  <a:pt x="12558" y="4630"/>
                </a:cubicBezTo>
                <a:cubicBezTo>
                  <a:pt x="12558" y="4568"/>
                  <a:pt x="12534" y="4517"/>
                  <a:pt x="12504" y="4517"/>
                </a:cubicBezTo>
                <a:cubicBezTo>
                  <a:pt x="12475" y="4517"/>
                  <a:pt x="12451" y="4568"/>
                  <a:pt x="12451" y="4630"/>
                </a:cubicBezTo>
                <a:cubicBezTo>
                  <a:pt x="12451" y="4693"/>
                  <a:pt x="12475" y="4743"/>
                  <a:pt x="12504" y="4743"/>
                </a:cubicBezTo>
                <a:close/>
                <a:moveTo>
                  <a:pt x="12352" y="4517"/>
                </a:moveTo>
                <a:cubicBezTo>
                  <a:pt x="12322" y="4517"/>
                  <a:pt x="12298" y="4568"/>
                  <a:pt x="12298" y="4630"/>
                </a:cubicBezTo>
                <a:cubicBezTo>
                  <a:pt x="12298" y="4693"/>
                  <a:pt x="12322" y="4743"/>
                  <a:pt x="12352" y="4743"/>
                </a:cubicBezTo>
                <a:cubicBezTo>
                  <a:pt x="12381" y="4743"/>
                  <a:pt x="12406" y="4693"/>
                  <a:pt x="12406" y="4630"/>
                </a:cubicBezTo>
                <a:cubicBezTo>
                  <a:pt x="12406" y="4568"/>
                  <a:pt x="12381" y="4517"/>
                  <a:pt x="12352" y="4517"/>
                </a:cubicBezTo>
                <a:close/>
                <a:moveTo>
                  <a:pt x="12196" y="4743"/>
                </a:moveTo>
                <a:cubicBezTo>
                  <a:pt x="12226" y="4743"/>
                  <a:pt x="12250" y="4693"/>
                  <a:pt x="12250" y="4630"/>
                </a:cubicBezTo>
                <a:cubicBezTo>
                  <a:pt x="12250" y="4568"/>
                  <a:pt x="12226" y="4517"/>
                  <a:pt x="12196" y="4517"/>
                </a:cubicBezTo>
                <a:cubicBezTo>
                  <a:pt x="12167" y="4517"/>
                  <a:pt x="12143" y="4568"/>
                  <a:pt x="12143" y="4630"/>
                </a:cubicBezTo>
                <a:cubicBezTo>
                  <a:pt x="12143" y="4693"/>
                  <a:pt x="12167" y="4743"/>
                  <a:pt x="12196" y="4743"/>
                </a:cubicBezTo>
                <a:close/>
                <a:moveTo>
                  <a:pt x="12042" y="4517"/>
                </a:moveTo>
                <a:cubicBezTo>
                  <a:pt x="12013" y="4517"/>
                  <a:pt x="11989" y="4568"/>
                  <a:pt x="11989" y="4630"/>
                </a:cubicBezTo>
                <a:cubicBezTo>
                  <a:pt x="11989" y="4693"/>
                  <a:pt x="12013" y="4743"/>
                  <a:pt x="12042" y="4743"/>
                </a:cubicBezTo>
                <a:cubicBezTo>
                  <a:pt x="12072" y="4743"/>
                  <a:pt x="12096" y="4693"/>
                  <a:pt x="12096" y="4630"/>
                </a:cubicBezTo>
                <a:cubicBezTo>
                  <a:pt x="12096" y="4568"/>
                  <a:pt x="12072" y="4517"/>
                  <a:pt x="12042" y="4517"/>
                </a:cubicBezTo>
                <a:close/>
                <a:moveTo>
                  <a:pt x="11890" y="4517"/>
                </a:moveTo>
                <a:cubicBezTo>
                  <a:pt x="11860" y="4517"/>
                  <a:pt x="11836" y="4568"/>
                  <a:pt x="11836" y="4630"/>
                </a:cubicBezTo>
                <a:cubicBezTo>
                  <a:pt x="11836" y="4693"/>
                  <a:pt x="11860" y="4743"/>
                  <a:pt x="11890" y="4743"/>
                </a:cubicBezTo>
                <a:cubicBezTo>
                  <a:pt x="11919" y="4743"/>
                  <a:pt x="11944" y="4693"/>
                  <a:pt x="11944" y="4630"/>
                </a:cubicBezTo>
                <a:cubicBezTo>
                  <a:pt x="11944" y="4568"/>
                  <a:pt x="11919" y="4517"/>
                  <a:pt x="11890" y="4517"/>
                </a:cubicBezTo>
                <a:close/>
                <a:moveTo>
                  <a:pt x="11273" y="3868"/>
                </a:moveTo>
                <a:cubicBezTo>
                  <a:pt x="11243" y="3868"/>
                  <a:pt x="11219" y="3919"/>
                  <a:pt x="11219" y="3981"/>
                </a:cubicBezTo>
                <a:cubicBezTo>
                  <a:pt x="11219" y="4044"/>
                  <a:pt x="11243" y="4094"/>
                  <a:pt x="11273" y="4094"/>
                </a:cubicBezTo>
                <a:cubicBezTo>
                  <a:pt x="11303" y="4094"/>
                  <a:pt x="11327" y="4044"/>
                  <a:pt x="11327" y="3981"/>
                </a:cubicBezTo>
                <a:cubicBezTo>
                  <a:pt x="11327" y="3919"/>
                  <a:pt x="11303" y="3868"/>
                  <a:pt x="11273" y="3868"/>
                </a:cubicBezTo>
                <a:close/>
                <a:moveTo>
                  <a:pt x="11119" y="3868"/>
                </a:moveTo>
                <a:cubicBezTo>
                  <a:pt x="11089" y="3868"/>
                  <a:pt x="11065" y="3919"/>
                  <a:pt x="11065" y="3981"/>
                </a:cubicBezTo>
                <a:cubicBezTo>
                  <a:pt x="11065" y="4044"/>
                  <a:pt x="11089" y="4094"/>
                  <a:pt x="11119" y="4094"/>
                </a:cubicBezTo>
                <a:cubicBezTo>
                  <a:pt x="11149" y="4094"/>
                  <a:pt x="11173" y="4044"/>
                  <a:pt x="11173" y="3981"/>
                </a:cubicBezTo>
                <a:cubicBezTo>
                  <a:pt x="11173" y="3919"/>
                  <a:pt x="11149" y="3868"/>
                  <a:pt x="11119" y="3868"/>
                </a:cubicBezTo>
                <a:close/>
                <a:moveTo>
                  <a:pt x="10967" y="3868"/>
                </a:moveTo>
                <a:cubicBezTo>
                  <a:pt x="10937" y="3868"/>
                  <a:pt x="10913" y="3919"/>
                  <a:pt x="10913" y="3981"/>
                </a:cubicBezTo>
                <a:cubicBezTo>
                  <a:pt x="10913" y="4044"/>
                  <a:pt x="10937" y="4094"/>
                  <a:pt x="10967" y="4094"/>
                </a:cubicBezTo>
                <a:cubicBezTo>
                  <a:pt x="10996" y="4094"/>
                  <a:pt x="11020" y="4044"/>
                  <a:pt x="11020" y="3981"/>
                </a:cubicBezTo>
                <a:cubicBezTo>
                  <a:pt x="11020" y="3919"/>
                  <a:pt x="10996" y="3868"/>
                  <a:pt x="10967" y="3868"/>
                </a:cubicBezTo>
                <a:close/>
                <a:moveTo>
                  <a:pt x="10813" y="3868"/>
                </a:moveTo>
                <a:cubicBezTo>
                  <a:pt x="10783" y="3868"/>
                  <a:pt x="10759" y="3919"/>
                  <a:pt x="10759" y="3981"/>
                </a:cubicBezTo>
                <a:cubicBezTo>
                  <a:pt x="10759" y="4044"/>
                  <a:pt x="10783" y="4094"/>
                  <a:pt x="10813" y="4094"/>
                </a:cubicBezTo>
                <a:cubicBezTo>
                  <a:pt x="10843" y="4094"/>
                  <a:pt x="10867" y="4044"/>
                  <a:pt x="10867" y="3981"/>
                </a:cubicBezTo>
                <a:cubicBezTo>
                  <a:pt x="10867" y="3919"/>
                  <a:pt x="10843" y="3868"/>
                  <a:pt x="10813" y="3868"/>
                </a:cubicBezTo>
                <a:close/>
                <a:moveTo>
                  <a:pt x="10660" y="3868"/>
                </a:moveTo>
                <a:cubicBezTo>
                  <a:pt x="10631" y="3868"/>
                  <a:pt x="10607" y="3919"/>
                  <a:pt x="10607" y="3981"/>
                </a:cubicBezTo>
                <a:cubicBezTo>
                  <a:pt x="10607" y="4044"/>
                  <a:pt x="10631" y="4094"/>
                  <a:pt x="10660" y="4094"/>
                </a:cubicBezTo>
                <a:cubicBezTo>
                  <a:pt x="10690" y="4094"/>
                  <a:pt x="10714" y="4044"/>
                  <a:pt x="10714" y="3981"/>
                </a:cubicBezTo>
                <a:cubicBezTo>
                  <a:pt x="10714" y="3919"/>
                  <a:pt x="10690" y="3868"/>
                  <a:pt x="10660" y="3868"/>
                </a:cubicBezTo>
                <a:close/>
                <a:moveTo>
                  <a:pt x="10505" y="3868"/>
                </a:moveTo>
                <a:cubicBezTo>
                  <a:pt x="10475" y="3868"/>
                  <a:pt x="10451" y="3919"/>
                  <a:pt x="10451" y="3981"/>
                </a:cubicBezTo>
                <a:cubicBezTo>
                  <a:pt x="10451" y="4044"/>
                  <a:pt x="10475" y="4094"/>
                  <a:pt x="10505" y="4094"/>
                </a:cubicBezTo>
                <a:cubicBezTo>
                  <a:pt x="10535" y="4094"/>
                  <a:pt x="10559" y="4044"/>
                  <a:pt x="10559" y="3981"/>
                </a:cubicBezTo>
                <a:cubicBezTo>
                  <a:pt x="10559" y="3919"/>
                  <a:pt x="10535" y="3868"/>
                  <a:pt x="10505" y="3868"/>
                </a:cubicBezTo>
                <a:close/>
                <a:moveTo>
                  <a:pt x="10047" y="3868"/>
                </a:moveTo>
                <a:cubicBezTo>
                  <a:pt x="10017" y="3868"/>
                  <a:pt x="9993" y="3919"/>
                  <a:pt x="9993" y="3981"/>
                </a:cubicBezTo>
                <a:cubicBezTo>
                  <a:pt x="9993" y="4044"/>
                  <a:pt x="10017" y="4094"/>
                  <a:pt x="10047" y="4094"/>
                </a:cubicBezTo>
                <a:cubicBezTo>
                  <a:pt x="10076" y="4094"/>
                  <a:pt x="10100" y="4044"/>
                  <a:pt x="10100" y="3981"/>
                </a:cubicBezTo>
                <a:cubicBezTo>
                  <a:pt x="10100" y="3919"/>
                  <a:pt x="10076" y="3868"/>
                  <a:pt x="10047" y="3868"/>
                </a:cubicBezTo>
                <a:close/>
                <a:moveTo>
                  <a:pt x="9737" y="4094"/>
                </a:moveTo>
                <a:cubicBezTo>
                  <a:pt x="9766" y="4094"/>
                  <a:pt x="9790" y="4044"/>
                  <a:pt x="9790" y="3981"/>
                </a:cubicBezTo>
                <a:cubicBezTo>
                  <a:pt x="9790" y="3919"/>
                  <a:pt x="9766" y="3868"/>
                  <a:pt x="9737" y="3868"/>
                </a:cubicBezTo>
                <a:cubicBezTo>
                  <a:pt x="9707" y="3868"/>
                  <a:pt x="9683" y="3919"/>
                  <a:pt x="9683" y="3981"/>
                </a:cubicBezTo>
                <a:cubicBezTo>
                  <a:pt x="9683" y="4044"/>
                  <a:pt x="9707" y="4094"/>
                  <a:pt x="9737" y="4094"/>
                </a:cubicBezTo>
                <a:close/>
                <a:moveTo>
                  <a:pt x="9427" y="4421"/>
                </a:moveTo>
                <a:cubicBezTo>
                  <a:pt x="9456" y="4421"/>
                  <a:pt x="9480" y="4370"/>
                  <a:pt x="9480" y="4308"/>
                </a:cubicBezTo>
                <a:cubicBezTo>
                  <a:pt x="9480" y="4245"/>
                  <a:pt x="9456" y="4194"/>
                  <a:pt x="9427" y="4194"/>
                </a:cubicBezTo>
                <a:cubicBezTo>
                  <a:pt x="9397" y="4194"/>
                  <a:pt x="9373" y="4245"/>
                  <a:pt x="9373" y="4308"/>
                </a:cubicBezTo>
                <a:cubicBezTo>
                  <a:pt x="9373" y="4370"/>
                  <a:pt x="9397" y="4421"/>
                  <a:pt x="9427" y="4421"/>
                </a:cubicBezTo>
                <a:close/>
                <a:moveTo>
                  <a:pt x="9584" y="4194"/>
                </a:moveTo>
                <a:cubicBezTo>
                  <a:pt x="9554" y="4194"/>
                  <a:pt x="9530" y="4245"/>
                  <a:pt x="9530" y="4308"/>
                </a:cubicBezTo>
                <a:cubicBezTo>
                  <a:pt x="9530" y="4370"/>
                  <a:pt x="9554" y="4421"/>
                  <a:pt x="9584" y="4421"/>
                </a:cubicBezTo>
                <a:cubicBezTo>
                  <a:pt x="9614" y="4421"/>
                  <a:pt x="9638" y="4370"/>
                  <a:pt x="9638" y="4308"/>
                </a:cubicBezTo>
                <a:cubicBezTo>
                  <a:pt x="9638" y="4245"/>
                  <a:pt x="9614" y="4194"/>
                  <a:pt x="9584" y="4194"/>
                </a:cubicBezTo>
                <a:close/>
                <a:moveTo>
                  <a:pt x="9737" y="4421"/>
                </a:moveTo>
                <a:cubicBezTo>
                  <a:pt x="9766" y="4421"/>
                  <a:pt x="9790" y="4370"/>
                  <a:pt x="9790" y="4308"/>
                </a:cubicBezTo>
                <a:cubicBezTo>
                  <a:pt x="9790" y="4245"/>
                  <a:pt x="9766" y="4194"/>
                  <a:pt x="9737" y="4194"/>
                </a:cubicBezTo>
                <a:cubicBezTo>
                  <a:pt x="9707" y="4194"/>
                  <a:pt x="9683" y="4245"/>
                  <a:pt x="9683" y="4308"/>
                </a:cubicBezTo>
                <a:cubicBezTo>
                  <a:pt x="9683" y="4370"/>
                  <a:pt x="9707" y="4421"/>
                  <a:pt x="9737" y="4421"/>
                </a:cubicBezTo>
                <a:close/>
                <a:moveTo>
                  <a:pt x="9737" y="5055"/>
                </a:moveTo>
                <a:cubicBezTo>
                  <a:pt x="9766" y="5055"/>
                  <a:pt x="9790" y="5005"/>
                  <a:pt x="9790" y="4942"/>
                </a:cubicBezTo>
                <a:cubicBezTo>
                  <a:pt x="9790" y="4880"/>
                  <a:pt x="9766" y="4829"/>
                  <a:pt x="9737" y="4829"/>
                </a:cubicBezTo>
                <a:cubicBezTo>
                  <a:pt x="9707" y="4829"/>
                  <a:pt x="9683" y="4880"/>
                  <a:pt x="9683" y="4942"/>
                </a:cubicBezTo>
                <a:cubicBezTo>
                  <a:pt x="9683" y="5005"/>
                  <a:pt x="9707" y="5055"/>
                  <a:pt x="9737" y="5055"/>
                </a:cubicBezTo>
                <a:close/>
                <a:moveTo>
                  <a:pt x="9737" y="4728"/>
                </a:moveTo>
                <a:cubicBezTo>
                  <a:pt x="9766" y="4728"/>
                  <a:pt x="9790" y="4678"/>
                  <a:pt x="9790" y="4615"/>
                </a:cubicBezTo>
                <a:cubicBezTo>
                  <a:pt x="9790" y="4553"/>
                  <a:pt x="9766" y="4502"/>
                  <a:pt x="9737" y="4502"/>
                </a:cubicBezTo>
                <a:cubicBezTo>
                  <a:pt x="9707" y="4502"/>
                  <a:pt x="9683" y="4553"/>
                  <a:pt x="9683" y="4615"/>
                </a:cubicBezTo>
                <a:cubicBezTo>
                  <a:pt x="9683" y="4678"/>
                  <a:pt x="9707" y="4728"/>
                  <a:pt x="9737" y="4728"/>
                </a:cubicBezTo>
                <a:close/>
                <a:moveTo>
                  <a:pt x="9737" y="5396"/>
                </a:moveTo>
                <a:cubicBezTo>
                  <a:pt x="9766" y="5396"/>
                  <a:pt x="9790" y="5345"/>
                  <a:pt x="9790" y="5283"/>
                </a:cubicBezTo>
                <a:cubicBezTo>
                  <a:pt x="9790" y="5220"/>
                  <a:pt x="9766" y="5170"/>
                  <a:pt x="9737" y="5170"/>
                </a:cubicBezTo>
                <a:cubicBezTo>
                  <a:pt x="9707" y="5170"/>
                  <a:pt x="9683" y="5220"/>
                  <a:pt x="9683" y="5283"/>
                </a:cubicBezTo>
                <a:cubicBezTo>
                  <a:pt x="9683" y="5345"/>
                  <a:pt x="9707" y="5396"/>
                  <a:pt x="9737" y="5396"/>
                </a:cubicBezTo>
                <a:close/>
                <a:moveTo>
                  <a:pt x="9739" y="3557"/>
                </a:moveTo>
                <a:cubicBezTo>
                  <a:pt x="9709" y="3557"/>
                  <a:pt x="9685" y="3607"/>
                  <a:pt x="9685" y="3670"/>
                </a:cubicBezTo>
                <a:cubicBezTo>
                  <a:pt x="9685" y="3732"/>
                  <a:pt x="9709" y="3783"/>
                  <a:pt x="9739" y="3783"/>
                </a:cubicBezTo>
                <a:cubicBezTo>
                  <a:pt x="9769" y="3783"/>
                  <a:pt x="9793" y="3732"/>
                  <a:pt x="9793" y="3670"/>
                </a:cubicBezTo>
                <a:cubicBezTo>
                  <a:pt x="9793" y="3607"/>
                  <a:pt x="9769" y="3557"/>
                  <a:pt x="9739" y="3557"/>
                </a:cubicBezTo>
                <a:close/>
                <a:moveTo>
                  <a:pt x="9894" y="4094"/>
                </a:moveTo>
                <a:cubicBezTo>
                  <a:pt x="9924" y="4094"/>
                  <a:pt x="9948" y="4044"/>
                  <a:pt x="9948" y="3981"/>
                </a:cubicBezTo>
                <a:cubicBezTo>
                  <a:pt x="9948" y="3919"/>
                  <a:pt x="9924" y="3868"/>
                  <a:pt x="9894" y="3868"/>
                </a:cubicBezTo>
                <a:cubicBezTo>
                  <a:pt x="9864" y="3868"/>
                  <a:pt x="9840" y="3919"/>
                  <a:pt x="9840" y="3981"/>
                </a:cubicBezTo>
                <a:cubicBezTo>
                  <a:pt x="9840" y="4044"/>
                  <a:pt x="9864" y="4094"/>
                  <a:pt x="9894" y="4094"/>
                </a:cubicBezTo>
                <a:close/>
                <a:moveTo>
                  <a:pt x="10047" y="4194"/>
                </a:moveTo>
                <a:cubicBezTo>
                  <a:pt x="10017" y="4194"/>
                  <a:pt x="9993" y="4245"/>
                  <a:pt x="9993" y="4308"/>
                </a:cubicBezTo>
                <a:cubicBezTo>
                  <a:pt x="9993" y="4370"/>
                  <a:pt x="10017" y="4421"/>
                  <a:pt x="10047" y="4421"/>
                </a:cubicBezTo>
                <a:cubicBezTo>
                  <a:pt x="10076" y="4421"/>
                  <a:pt x="10100" y="4370"/>
                  <a:pt x="10100" y="4308"/>
                </a:cubicBezTo>
                <a:cubicBezTo>
                  <a:pt x="10100" y="4245"/>
                  <a:pt x="10076" y="4194"/>
                  <a:pt x="10047" y="4194"/>
                </a:cubicBezTo>
                <a:close/>
                <a:moveTo>
                  <a:pt x="9894" y="4421"/>
                </a:moveTo>
                <a:cubicBezTo>
                  <a:pt x="9924" y="4421"/>
                  <a:pt x="9948" y="4370"/>
                  <a:pt x="9948" y="4308"/>
                </a:cubicBezTo>
                <a:cubicBezTo>
                  <a:pt x="9948" y="4245"/>
                  <a:pt x="9924" y="4194"/>
                  <a:pt x="9894" y="4194"/>
                </a:cubicBezTo>
                <a:cubicBezTo>
                  <a:pt x="9864" y="4194"/>
                  <a:pt x="9840" y="4245"/>
                  <a:pt x="9840" y="4308"/>
                </a:cubicBezTo>
                <a:cubicBezTo>
                  <a:pt x="9840" y="4370"/>
                  <a:pt x="9864" y="4421"/>
                  <a:pt x="9894" y="4421"/>
                </a:cubicBezTo>
                <a:close/>
                <a:moveTo>
                  <a:pt x="10047" y="4829"/>
                </a:moveTo>
                <a:cubicBezTo>
                  <a:pt x="10017" y="4829"/>
                  <a:pt x="9993" y="4880"/>
                  <a:pt x="9993" y="4942"/>
                </a:cubicBezTo>
                <a:cubicBezTo>
                  <a:pt x="9993" y="5005"/>
                  <a:pt x="10017" y="5055"/>
                  <a:pt x="10047" y="5055"/>
                </a:cubicBezTo>
                <a:cubicBezTo>
                  <a:pt x="10076" y="5055"/>
                  <a:pt x="10100" y="5005"/>
                  <a:pt x="10100" y="4942"/>
                </a:cubicBezTo>
                <a:cubicBezTo>
                  <a:pt x="10100" y="4880"/>
                  <a:pt x="10076" y="4829"/>
                  <a:pt x="10047" y="4829"/>
                </a:cubicBezTo>
                <a:close/>
                <a:moveTo>
                  <a:pt x="10047" y="4502"/>
                </a:moveTo>
                <a:cubicBezTo>
                  <a:pt x="10017" y="4502"/>
                  <a:pt x="9993" y="4553"/>
                  <a:pt x="9993" y="4615"/>
                </a:cubicBezTo>
                <a:cubicBezTo>
                  <a:pt x="9993" y="4678"/>
                  <a:pt x="10017" y="4728"/>
                  <a:pt x="10047" y="4728"/>
                </a:cubicBezTo>
                <a:cubicBezTo>
                  <a:pt x="10076" y="4728"/>
                  <a:pt x="10100" y="4678"/>
                  <a:pt x="10100" y="4615"/>
                </a:cubicBezTo>
                <a:cubicBezTo>
                  <a:pt x="10100" y="4553"/>
                  <a:pt x="10076" y="4502"/>
                  <a:pt x="10047" y="4502"/>
                </a:cubicBezTo>
                <a:close/>
                <a:moveTo>
                  <a:pt x="9894" y="5055"/>
                </a:moveTo>
                <a:cubicBezTo>
                  <a:pt x="9924" y="5055"/>
                  <a:pt x="9948" y="5005"/>
                  <a:pt x="9948" y="4942"/>
                </a:cubicBezTo>
                <a:cubicBezTo>
                  <a:pt x="9948" y="4880"/>
                  <a:pt x="9924" y="4829"/>
                  <a:pt x="9894" y="4829"/>
                </a:cubicBezTo>
                <a:cubicBezTo>
                  <a:pt x="9864" y="4829"/>
                  <a:pt x="9840" y="4880"/>
                  <a:pt x="9840" y="4942"/>
                </a:cubicBezTo>
                <a:cubicBezTo>
                  <a:pt x="9840" y="5005"/>
                  <a:pt x="9864" y="5055"/>
                  <a:pt x="9894" y="5055"/>
                </a:cubicBezTo>
                <a:close/>
                <a:moveTo>
                  <a:pt x="9894" y="4728"/>
                </a:moveTo>
                <a:cubicBezTo>
                  <a:pt x="9924" y="4728"/>
                  <a:pt x="9948" y="4678"/>
                  <a:pt x="9948" y="4615"/>
                </a:cubicBezTo>
                <a:cubicBezTo>
                  <a:pt x="9948" y="4553"/>
                  <a:pt x="9924" y="4502"/>
                  <a:pt x="9894" y="4502"/>
                </a:cubicBezTo>
                <a:cubicBezTo>
                  <a:pt x="9864" y="4502"/>
                  <a:pt x="9840" y="4553"/>
                  <a:pt x="9840" y="4615"/>
                </a:cubicBezTo>
                <a:cubicBezTo>
                  <a:pt x="9840" y="4678"/>
                  <a:pt x="9864" y="4728"/>
                  <a:pt x="9894" y="4728"/>
                </a:cubicBezTo>
                <a:close/>
                <a:moveTo>
                  <a:pt x="10047" y="5832"/>
                </a:moveTo>
                <a:cubicBezTo>
                  <a:pt x="10017" y="5832"/>
                  <a:pt x="9993" y="5883"/>
                  <a:pt x="9993" y="5945"/>
                </a:cubicBezTo>
                <a:cubicBezTo>
                  <a:pt x="9993" y="6008"/>
                  <a:pt x="10017" y="6058"/>
                  <a:pt x="10047" y="6058"/>
                </a:cubicBezTo>
                <a:cubicBezTo>
                  <a:pt x="10076" y="6058"/>
                  <a:pt x="10100" y="6008"/>
                  <a:pt x="10100" y="5945"/>
                </a:cubicBezTo>
                <a:cubicBezTo>
                  <a:pt x="10100" y="5883"/>
                  <a:pt x="10076" y="5832"/>
                  <a:pt x="10047" y="5832"/>
                </a:cubicBezTo>
                <a:close/>
                <a:moveTo>
                  <a:pt x="10047" y="5170"/>
                </a:moveTo>
                <a:cubicBezTo>
                  <a:pt x="10017" y="5170"/>
                  <a:pt x="9993" y="5220"/>
                  <a:pt x="9993" y="5283"/>
                </a:cubicBezTo>
                <a:cubicBezTo>
                  <a:pt x="9993" y="5345"/>
                  <a:pt x="10017" y="5396"/>
                  <a:pt x="10047" y="5396"/>
                </a:cubicBezTo>
                <a:cubicBezTo>
                  <a:pt x="10076" y="5396"/>
                  <a:pt x="10100" y="5345"/>
                  <a:pt x="10100" y="5283"/>
                </a:cubicBezTo>
                <a:cubicBezTo>
                  <a:pt x="10100" y="5220"/>
                  <a:pt x="10076" y="5170"/>
                  <a:pt x="10047" y="5170"/>
                </a:cubicBezTo>
                <a:close/>
                <a:moveTo>
                  <a:pt x="9894" y="5723"/>
                </a:moveTo>
                <a:cubicBezTo>
                  <a:pt x="9924" y="5723"/>
                  <a:pt x="9948" y="5672"/>
                  <a:pt x="9948" y="5610"/>
                </a:cubicBezTo>
                <a:cubicBezTo>
                  <a:pt x="9948" y="5547"/>
                  <a:pt x="9924" y="5496"/>
                  <a:pt x="9894" y="5496"/>
                </a:cubicBezTo>
                <a:cubicBezTo>
                  <a:pt x="9864" y="5496"/>
                  <a:pt x="9840" y="5547"/>
                  <a:pt x="9840" y="5610"/>
                </a:cubicBezTo>
                <a:cubicBezTo>
                  <a:pt x="9840" y="5672"/>
                  <a:pt x="9864" y="5723"/>
                  <a:pt x="9894" y="5723"/>
                </a:cubicBezTo>
                <a:close/>
                <a:moveTo>
                  <a:pt x="9894" y="5396"/>
                </a:moveTo>
                <a:cubicBezTo>
                  <a:pt x="9924" y="5396"/>
                  <a:pt x="9948" y="5345"/>
                  <a:pt x="9948" y="5283"/>
                </a:cubicBezTo>
                <a:cubicBezTo>
                  <a:pt x="9948" y="5220"/>
                  <a:pt x="9924" y="5170"/>
                  <a:pt x="9894" y="5170"/>
                </a:cubicBezTo>
                <a:cubicBezTo>
                  <a:pt x="9864" y="5170"/>
                  <a:pt x="9840" y="5220"/>
                  <a:pt x="9840" y="5283"/>
                </a:cubicBezTo>
                <a:cubicBezTo>
                  <a:pt x="9840" y="5345"/>
                  <a:pt x="9864" y="5396"/>
                  <a:pt x="9894" y="5396"/>
                </a:cubicBezTo>
                <a:close/>
                <a:moveTo>
                  <a:pt x="10351" y="3868"/>
                </a:moveTo>
                <a:cubicBezTo>
                  <a:pt x="10321" y="3868"/>
                  <a:pt x="10297" y="3919"/>
                  <a:pt x="10297" y="3981"/>
                </a:cubicBezTo>
                <a:cubicBezTo>
                  <a:pt x="10297" y="4044"/>
                  <a:pt x="10321" y="4094"/>
                  <a:pt x="10351" y="4094"/>
                </a:cubicBezTo>
                <a:cubicBezTo>
                  <a:pt x="10381" y="4094"/>
                  <a:pt x="10405" y="4044"/>
                  <a:pt x="10405" y="3981"/>
                </a:cubicBezTo>
                <a:cubicBezTo>
                  <a:pt x="10405" y="3919"/>
                  <a:pt x="10381" y="3868"/>
                  <a:pt x="10351" y="3868"/>
                </a:cubicBezTo>
                <a:close/>
                <a:moveTo>
                  <a:pt x="10198" y="3868"/>
                </a:moveTo>
                <a:cubicBezTo>
                  <a:pt x="10169" y="3868"/>
                  <a:pt x="10145" y="3919"/>
                  <a:pt x="10145" y="3981"/>
                </a:cubicBezTo>
                <a:cubicBezTo>
                  <a:pt x="10145" y="4044"/>
                  <a:pt x="10169" y="4094"/>
                  <a:pt x="10198" y="4094"/>
                </a:cubicBezTo>
                <a:cubicBezTo>
                  <a:pt x="10228" y="4094"/>
                  <a:pt x="10252" y="4044"/>
                  <a:pt x="10252" y="3981"/>
                </a:cubicBezTo>
                <a:cubicBezTo>
                  <a:pt x="10252" y="3919"/>
                  <a:pt x="10228" y="3868"/>
                  <a:pt x="10198" y="3868"/>
                </a:cubicBezTo>
                <a:close/>
                <a:moveTo>
                  <a:pt x="11273" y="4194"/>
                </a:moveTo>
                <a:cubicBezTo>
                  <a:pt x="11243" y="4194"/>
                  <a:pt x="11219" y="4245"/>
                  <a:pt x="11219" y="4308"/>
                </a:cubicBezTo>
                <a:cubicBezTo>
                  <a:pt x="11219" y="4370"/>
                  <a:pt x="11243" y="4421"/>
                  <a:pt x="11273" y="4421"/>
                </a:cubicBezTo>
                <a:cubicBezTo>
                  <a:pt x="11303" y="4421"/>
                  <a:pt x="11327" y="4370"/>
                  <a:pt x="11327" y="4308"/>
                </a:cubicBezTo>
                <a:cubicBezTo>
                  <a:pt x="11327" y="4245"/>
                  <a:pt x="11303" y="4194"/>
                  <a:pt x="11273" y="4194"/>
                </a:cubicBezTo>
                <a:close/>
                <a:moveTo>
                  <a:pt x="11119" y="4194"/>
                </a:moveTo>
                <a:cubicBezTo>
                  <a:pt x="11089" y="4194"/>
                  <a:pt x="11065" y="4245"/>
                  <a:pt x="11065" y="4308"/>
                </a:cubicBezTo>
                <a:cubicBezTo>
                  <a:pt x="11065" y="4370"/>
                  <a:pt x="11089" y="4421"/>
                  <a:pt x="11119" y="4421"/>
                </a:cubicBezTo>
                <a:cubicBezTo>
                  <a:pt x="11149" y="4421"/>
                  <a:pt x="11173" y="4370"/>
                  <a:pt x="11173" y="4308"/>
                </a:cubicBezTo>
                <a:cubicBezTo>
                  <a:pt x="11173" y="4245"/>
                  <a:pt x="11149" y="4194"/>
                  <a:pt x="11119" y="4194"/>
                </a:cubicBezTo>
                <a:close/>
                <a:moveTo>
                  <a:pt x="10967" y="4194"/>
                </a:moveTo>
                <a:cubicBezTo>
                  <a:pt x="10937" y="4194"/>
                  <a:pt x="10913" y="4245"/>
                  <a:pt x="10913" y="4308"/>
                </a:cubicBezTo>
                <a:cubicBezTo>
                  <a:pt x="10913" y="4370"/>
                  <a:pt x="10937" y="4421"/>
                  <a:pt x="10967" y="4421"/>
                </a:cubicBezTo>
                <a:cubicBezTo>
                  <a:pt x="10996" y="4421"/>
                  <a:pt x="11020" y="4370"/>
                  <a:pt x="11020" y="4308"/>
                </a:cubicBezTo>
                <a:cubicBezTo>
                  <a:pt x="11020" y="4245"/>
                  <a:pt x="10996" y="4194"/>
                  <a:pt x="10967" y="4194"/>
                </a:cubicBezTo>
                <a:close/>
                <a:moveTo>
                  <a:pt x="10813" y="4194"/>
                </a:moveTo>
                <a:cubicBezTo>
                  <a:pt x="10783" y="4194"/>
                  <a:pt x="10759" y="4245"/>
                  <a:pt x="10759" y="4308"/>
                </a:cubicBezTo>
                <a:cubicBezTo>
                  <a:pt x="10759" y="4370"/>
                  <a:pt x="10783" y="4421"/>
                  <a:pt x="10813" y="4421"/>
                </a:cubicBezTo>
                <a:cubicBezTo>
                  <a:pt x="10843" y="4421"/>
                  <a:pt x="10867" y="4370"/>
                  <a:pt x="10867" y="4308"/>
                </a:cubicBezTo>
                <a:cubicBezTo>
                  <a:pt x="10867" y="4245"/>
                  <a:pt x="10843" y="4194"/>
                  <a:pt x="10813" y="4194"/>
                </a:cubicBezTo>
                <a:close/>
                <a:moveTo>
                  <a:pt x="10660" y="4194"/>
                </a:moveTo>
                <a:cubicBezTo>
                  <a:pt x="10631" y="4194"/>
                  <a:pt x="10607" y="4245"/>
                  <a:pt x="10607" y="4308"/>
                </a:cubicBezTo>
                <a:cubicBezTo>
                  <a:pt x="10607" y="4370"/>
                  <a:pt x="10631" y="4421"/>
                  <a:pt x="10660" y="4421"/>
                </a:cubicBezTo>
                <a:cubicBezTo>
                  <a:pt x="10690" y="4421"/>
                  <a:pt x="10714" y="4370"/>
                  <a:pt x="10714" y="4308"/>
                </a:cubicBezTo>
                <a:cubicBezTo>
                  <a:pt x="10714" y="4245"/>
                  <a:pt x="10690" y="4194"/>
                  <a:pt x="10660" y="4194"/>
                </a:cubicBezTo>
                <a:close/>
                <a:moveTo>
                  <a:pt x="10505" y="4194"/>
                </a:moveTo>
                <a:cubicBezTo>
                  <a:pt x="10475" y="4194"/>
                  <a:pt x="10451" y="4245"/>
                  <a:pt x="10451" y="4308"/>
                </a:cubicBezTo>
                <a:cubicBezTo>
                  <a:pt x="10451" y="4370"/>
                  <a:pt x="10475" y="4421"/>
                  <a:pt x="10505" y="4421"/>
                </a:cubicBezTo>
                <a:cubicBezTo>
                  <a:pt x="10535" y="4421"/>
                  <a:pt x="10559" y="4370"/>
                  <a:pt x="10559" y="4308"/>
                </a:cubicBezTo>
                <a:cubicBezTo>
                  <a:pt x="10559" y="4245"/>
                  <a:pt x="10535" y="4194"/>
                  <a:pt x="10505" y="4194"/>
                </a:cubicBezTo>
                <a:close/>
                <a:moveTo>
                  <a:pt x="10351" y="4194"/>
                </a:moveTo>
                <a:cubicBezTo>
                  <a:pt x="10321" y="4194"/>
                  <a:pt x="10297" y="4245"/>
                  <a:pt x="10297" y="4308"/>
                </a:cubicBezTo>
                <a:cubicBezTo>
                  <a:pt x="10297" y="4370"/>
                  <a:pt x="10321" y="4421"/>
                  <a:pt x="10351" y="4421"/>
                </a:cubicBezTo>
                <a:cubicBezTo>
                  <a:pt x="10381" y="4421"/>
                  <a:pt x="10405" y="4370"/>
                  <a:pt x="10405" y="4308"/>
                </a:cubicBezTo>
                <a:cubicBezTo>
                  <a:pt x="10405" y="4245"/>
                  <a:pt x="10381" y="4194"/>
                  <a:pt x="10351" y="4194"/>
                </a:cubicBezTo>
                <a:close/>
                <a:moveTo>
                  <a:pt x="10198" y="4194"/>
                </a:moveTo>
                <a:cubicBezTo>
                  <a:pt x="10169" y="4194"/>
                  <a:pt x="10145" y="4245"/>
                  <a:pt x="10145" y="4308"/>
                </a:cubicBezTo>
                <a:cubicBezTo>
                  <a:pt x="10145" y="4370"/>
                  <a:pt x="10169" y="4421"/>
                  <a:pt x="10198" y="4421"/>
                </a:cubicBezTo>
                <a:cubicBezTo>
                  <a:pt x="10228" y="4421"/>
                  <a:pt x="10252" y="4370"/>
                  <a:pt x="10252" y="4308"/>
                </a:cubicBezTo>
                <a:cubicBezTo>
                  <a:pt x="10252" y="4245"/>
                  <a:pt x="10228" y="4194"/>
                  <a:pt x="10198" y="4194"/>
                </a:cubicBezTo>
                <a:close/>
                <a:moveTo>
                  <a:pt x="11428" y="4118"/>
                </a:moveTo>
                <a:cubicBezTo>
                  <a:pt x="11458" y="4118"/>
                  <a:pt x="11482" y="4068"/>
                  <a:pt x="11482" y="4005"/>
                </a:cubicBezTo>
                <a:cubicBezTo>
                  <a:pt x="11482" y="3943"/>
                  <a:pt x="11458" y="3892"/>
                  <a:pt x="11428" y="3892"/>
                </a:cubicBezTo>
                <a:cubicBezTo>
                  <a:pt x="11399" y="3892"/>
                  <a:pt x="11375" y="3943"/>
                  <a:pt x="11375" y="4005"/>
                </a:cubicBezTo>
                <a:cubicBezTo>
                  <a:pt x="11375" y="4068"/>
                  <a:pt x="11399" y="4118"/>
                  <a:pt x="11428" y="4118"/>
                </a:cubicBezTo>
                <a:close/>
                <a:moveTo>
                  <a:pt x="11273" y="4829"/>
                </a:moveTo>
                <a:cubicBezTo>
                  <a:pt x="11243" y="4829"/>
                  <a:pt x="11219" y="4880"/>
                  <a:pt x="11219" y="4942"/>
                </a:cubicBezTo>
                <a:cubicBezTo>
                  <a:pt x="11219" y="5005"/>
                  <a:pt x="11243" y="5055"/>
                  <a:pt x="11273" y="5055"/>
                </a:cubicBezTo>
                <a:cubicBezTo>
                  <a:pt x="11303" y="5055"/>
                  <a:pt x="11327" y="5005"/>
                  <a:pt x="11327" y="4942"/>
                </a:cubicBezTo>
                <a:cubicBezTo>
                  <a:pt x="11327" y="4880"/>
                  <a:pt x="11303" y="4829"/>
                  <a:pt x="11273" y="4829"/>
                </a:cubicBezTo>
                <a:close/>
                <a:moveTo>
                  <a:pt x="11273" y="4502"/>
                </a:moveTo>
                <a:cubicBezTo>
                  <a:pt x="11243" y="4502"/>
                  <a:pt x="11219" y="4553"/>
                  <a:pt x="11219" y="4615"/>
                </a:cubicBezTo>
                <a:cubicBezTo>
                  <a:pt x="11219" y="4678"/>
                  <a:pt x="11243" y="4728"/>
                  <a:pt x="11273" y="4728"/>
                </a:cubicBezTo>
                <a:cubicBezTo>
                  <a:pt x="11303" y="4728"/>
                  <a:pt x="11327" y="4678"/>
                  <a:pt x="11327" y="4615"/>
                </a:cubicBezTo>
                <a:cubicBezTo>
                  <a:pt x="11327" y="4553"/>
                  <a:pt x="11303" y="4502"/>
                  <a:pt x="11273" y="4502"/>
                </a:cubicBezTo>
                <a:close/>
                <a:moveTo>
                  <a:pt x="11119" y="4829"/>
                </a:moveTo>
                <a:cubicBezTo>
                  <a:pt x="11089" y="4829"/>
                  <a:pt x="11065" y="4880"/>
                  <a:pt x="11065" y="4942"/>
                </a:cubicBezTo>
                <a:cubicBezTo>
                  <a:pt x="11065" y="5005"/>
                  <a:pt x="11089" y="5055"/>
                  <a:pt x="11119" y="5055"/>
                </a:cubicBezTo>
                <a:cubicBezTo>
                  <a:pt x="11149" y="5055"/>
                  <a:pt x="11173" y="5005"/>
                  <a:pt x="11173" y="4942"/>
                </a:cubicBezTo>
                <a:cubicBezTo>
                  <a:pt x="11173" y="4880"/>
                  <a:pt x="11149" y="4829"/>
                  <a:pt x="11119" y="4829"/>
                </a:cubicBezTo>
                <a:close/>
                <a:moveTo>
                  <a:pt x="11119" y="4502"/>
                </a:moveTo>
                <a:cubicBezTo>
                  <a:pt x="11089" y="4502"/>
                  <a:pt x="11065" y="4553"/>
                  <a:pt x="11065" y="4615"/>
                </a:cubicBezTo>
                <a:cubicBezTo>
                  <a:pt x="11065" y="4678"/>
                  <a:pt x="11089" y="4728"/>
                  <a:pt x="11119" y="4728"/>
                </a:cubicBezTo>
                <a:cubicBezTo>
                  <a:pt x="11149" y="4728"/>
                  <a:pt x="11173" y="4678"/>
                  <a:pt x="11173" y="4615"/>
                </a:cubicBezTo>
                <a:cubicBezTo>
                  <a:pt x="11173" y="4553"/>
                  <a:pt x="11149" y="4502"/>
                  <a:pt x="11119" y="4502"/>
                </a:cubicBezTo>
                <a:close/>
                <a:moveTo>
                  <a:pt x="10967" y="4829"/>
                </a:moveTo>
                <a:cubicBezTo>
                  <a:pt x="10937" y="4829"/>
                  <a:pt x="10913" y="4880"/>
                  <a:pt x="10913" y="4942"/>
                </a:cubicBezTo>
                <a:cubicBezTo>
                  <a:pt x="10913" y="5005"/>
                  <a:pt x="10937" y="5055"/>
                  <a:pt x="10967" y="5055"/>
                </a:cubicBezTo>
                <a:cubicBezTo>
                  <a:pt x="10996" y="5055"/>
                  <a:pt x="11020" y="5005"/>
                  <a:pt x="11020" y="4942"/>
                </a:cubicBezTo>
                <a:cubicBezTo>
                  <a:pt x="11020" y="4880"/>
                  <a:pt x="10996" y="4829"/>
                  <a:pt x="10967" y="4829"/>
                </a:cubicBezTo>
                <a:close/>
                <a:moveTo>
                  <a:pt x="10967" y="4502"/>
                </a:moveTo>
                <a:cubicBezTo>
                  <a:pt x="10937" y="4502"/>
                  <a:pt x="10913" y="4553"/>
                  <a:pt x="10913" y="4615"/>
                </a:cubicBezTo>
                <a:cubicBezTo>
                  <a:pt x="10913" y="4678"/>
                  <a:pt x="10937" y="4728"/>
                  <a:pt x="10967" y="4728"/>
                </a:cubicBezTo>
                <a:cubicBezTo>
                  <a:pt x="10996" y="4728"/>
                  <a:pt x="11020" y="4678"/>
                  <a:pt x="11020" y="4615"/>
                </a:cubicBezTo>
                <a:cubicBezTo>
                  <a:pt x="11020" y="4553"/>
                  <a:pt x="10996" y="4502"/>
                  <a:pt x="10967" y="4502"/>
                </a:cubicBezTo>
                <a:close/>
                <a:moveTo>
                  <a:pt x="10813" y="4829"/>
                </a:moveTo>
                <a:cubicBezTo>
                  <a:pt x="10783" y="4829"/>
                  <a:pt x="10759" y="4880"/>
                  <a:pt x="10759" y="4942"/>
                </a:cubicBezTo>
                <a:cubicBezTo>
                  <a:pt x="10759" y="5005"/>
                  <a:pt x="10783" y="5055"/>
                  <a:pt x="10813" y="5055"/>
                </a:cubicBezTo>
                <a:cubicBezTo>
                  <a:pt x="10843" y="5055"/>
                  <a:pt x="10867" y="5005"/>
                  <a:pt x="10867" y="4942"/>
                </a:cubicBezTo>
                <a:cubicBezTo>
                  <a:pt x="10867" y="4880"/>
                  <a:pt x="10843" y="4829"/>
                  <a:pt x="10813" y="4829"/>
                </a:cubicBezTo>
                <a:close/>
                <a:moveTo>
                  <a:pt x="10813" y="4502"/>
                </a:moveTo>
                <a:cubicBezTo>
                  <a:pt x="10783" y="4502"/>
                  <a:pt x="10759" y="4553"/>
                  <a:pt x="10759" y="4615"/>
                </a:cubicBezTo>
                <a:cubicBezTo>
                  <a:pt x="10759" y="4678"/>
                  <a:pt x="10783" y="4728"/>
                  <a:pt x="10813" y="4728"/>
                </a:cubicBezTo>
                <a:cubicBezTo>
                  <a:pt x="10843" y="4728"/>
                  <a:pt x="10867" y="4678"/>
                  <a:pt x="10867" y="4615"/>
                </a:cubicBezTo>
                <a:cubicBezTo>
                  <a:pt x="10867" y="4553"/>
                  <a:pt x="10843" y="4502"/>
                  <a:pt x="10813" y="4502"/>
                </a:cubicBezTo>
                <a:close/>
                <a:moveTo>
                  <a:pt x="10660" y="4829"/>
                </a:moveTo>
                <a:cubicBezTo>
                  <a:pt x="10631" y="4829"/>
                  <a:pt x="10607" y="4880"/>
                  <a:pt x="10607" y="4942"/>
                </a:cubicBezTo>
                <a:cubicBezTo>
                  <a:pt x="10607" y="5005"/>
                  <a:pt x="10631" y="5055"/>
                  <a:pt x="10660" y="5055"/>
                </a:cubicBezTo>
                <a:cubicBezTo>
                  <a:pt x="10690" y="5055"/>
                  <a:pt x="10714" y="5005"/>
                  <a:pt x="10714" y="4942"/>
                </a:cubicBezTo>
                <a:cubicBezTo>
                  <a:pt x="10714" y="4880"/>
                  <a:pt x="10690" y="4829"/>
                  <a:pt x="10660" y="4829"/>
                </a:cubicBezTo>
                <a:close/>
                <a:moveTo>
                  <a:pt x="10660" y="4502"/>
                </a:moveTo>
                <a:cubicBezTo>
                  <a:pt x="10631" y="4502"/>
                  <a:pt x="10607" y="4553"/>
                  <a:pt x="10607" y="4615"/>
                </a:cubicBezTo>
                <a:cubicBezTo>
                  <a:pt x="10607" y="4678"/>
                  <a:pt x="10631" y="4728"/>
                  <a:pt x="10660" y="4728"/>
                </a:cubicBezTo>
                <a:cubicBezTo>
                  <a:pt x="10690" y="4728"/>
                  <a:pt x="10714" y="4678"/>
                  <a:pt x="10714" y="4615"/>
                </a:cubicBezTo>
                <a:cubicBezTo>
                  <a:pt x="10714" y="4553"/>
                  <a:pt x="10690" y="4502"/>
                  <a:pt x="10660" y="4502"/>
                </a:cubicBezTo>
                <a:close/>
                <a:moveTo>
                  <a:pt x="10505" y="4829"/>
                </a:moveTo>
                <a:cubicBezTo>
                  <a:pt x="10475" y="4829"/>
                  <a:pt x="10451" y="4880"/>
                  <a:pt x="10451" y="4942"/>
                </a:cubicBezTo>
                <a:cubicBezTo>
                  <a:pt x="10451" y="5005"/>
                  <a:pt x="10475" y="5055"/>
                  <a:pt x="10505" y="5055"/>
                </a:cubicBezTo>
                <a:cubicBezTo>
                  <a:pt x="10535" y="5055"/>
                  <a:pt x="10559" y="5005"/>
                  <a:pt x="10559" y="4942"/>
                </a:cubicBezTo>
                <a:cubicBezTo>
                  <a:pt x="10559" y="4880"/>
                  <a:pt x="10535" y="4829"/>
                  <a:pt x="10505" y="4829"/>
                </a:cubicBezTo>
                <a:close/>
                <a:moveTo>
                  <a:pt x="10505" y="4502"/>
                </a:moveTo>
                <a:cubicBezTo>
                  <a:pt x="10475" y="4502"/>
                  <a:pt x="10451" y="4553"/>
                  <a:pt x="10451" y="4615"/>
                </a:cubicBezTo>
                <a:cubicBezTo>
                  <a:pt x="10451" y="4678"/>
                  <a:pt x="10475" y="4728"/>
                  <a:pt x="10505" y="4728"/>
                </a:cubicBezTo>
                <a:cubicBezTo>
                  <a:pt x="10535" y="4728"/>
                  <a:pt x="10559" y="4678"/>
                  <a:pt x="10559" y="4615"/>
                </a:cubicBezTo>
                <a:cubicBezTo>
                  <a:pt x="10559" y="4553"/>
                  <a:pt x="10535" y="4502"/>
                  <a:pt x="10505" y="4502"/>
                </a:cubicBezTo>
                <a:close/>
                <a:moveTo>
                  <a:pt x="10351" y="4829"/>
                </a:moveTo>
                <a:cubicBezTo>
                  <a:pt x="10321" y="4829"/>
                  <a:pt x="10297" y="4880"/>
                  <a:pt x="10297" y="4942"/>
                </a:cubicBezTo>
                <a:cubicBezTo>
                  <a:pt x="10297" y="5005"/>
                  <a:pt x="10321" y="5055"/>
                  <a:pt x="10351" y="5055"/>
                </a:cubicBezTo>
                <a:cubicBezTo>
                  <a:pt x="10381" y="5055"/>
                  <a:pt x="10405" y="5005"/>
                  <a:pt x="10405" y="4942"/>
                </a:cubicBezTo>
                <a:cubicBezTo>
                  <a:pt x="10405" y="4880"/>
                  <a:pt x="10381" y="4829"/>
                  <a:pt x="10351" y="4829"/>
                </a:cubicBezTo>
                <a:close/>
                <a:moveTo>
                  <a:pt x="10351" y="4502"/>
                </a:moveTo>
                <a:cubicBezTo>
                  <a:pt x="10321" y="4502"/>
                  <a:pt x="10297" y="4553"/>
                  <a:pt x="10297" y="4615"/>
                </a:cubicBezTo>
                <a:cubicBezTo>
                  <a:pt x="10297" y="4678"/>
                  <a:pt x="10321" y="4728"/>
                  <a:pt x="10351" y="4728"/>
                </a:cubicBezTo>
                <a:cubicBezTo>
                  <a:pt x="10381" y="4728"/>
                  <a:pt x="10405" y="4678"/>
                  <a:pt x="10405" y="4615"/>
                </a:cubicBezTo>
                <a:cubicBezTo>
                  <a:pt x="10405" y="4553"/>
                  <a:pt x="10381" y="4502"/>
                  <a:pt x="10351" y="4502"/>
                </a:cubicBezTo>
                <a:close/>
                <a:moveTo>
                  <a:pt x="10198" y="4829"/>
                </a:moveTo>
                <a:cubicBezTo>
                  <a:pt x="10169" y="4829"/>
                  <a:pt x="10145" y="4880"/>
                  <a:pt x="10145" y="4942"/>
                </a:cubicBezTo>
                <a:cubicBezTo>
                  <a:pt x="10145" y="5005"/>
                  <a:pt x="10169" y="5055"/>
                  <a:pt x="10198" y="5055"/>
                </a:cubicBezTo>
                <a:cubicBezTo>
                  <a:pt x="10228" y="5055"/>
                  <a:pt x="10252" y="5005"/>
                  <a:pt x="10252" y="4942"/>
                </a:cubicBezTo>
                <a:cubicBezTo>
                  <a:pt x="10252" y="4880"/>
                  <a:pt x="10228" y="4829"/>
                  <a:pt x="10198" y="4829"/>
                </a:cubicBezTo>
                <a:close/>
                <a:moveTo>
                  <a:pt x="10198" y="4502"/>
                </a:moveTo>
                <a:cubicBezTo>
                  <a:pt x="10169" y="4502"/>
                  <a:pt x="10145" y="4553"/>
                  <a:pt x="10145" y="4615"/>
                </a:cubicBezTo>
                <a:cubicBezTo>
                  <a:pt x="10145" y="4678"/>
                  <a:pt x="10169" y="4728"/>
                  <a:pt x="10198" y="4728"/>
                </a:cubicBezTo>
                <a:cubicBezTo>
                  <a:pt x="10228" y="4728"/>
                  <a:pt x="10252" y="4678"/>
                  <a:pt x="10252" y="4615"/>
                </a:cubicBezTo>
                <a:cubicBezTo>
                  <a:pt x="10252" y="4553"/>
                  <a:pt x="10228" y="4502"/>
                  <a:pt x="10198" y="4502"/>
                </a:cubicBezTo>
                <a:close/>
                <a:moveTo>
                  <a:pt x="11273" y="5170"/>
                </a:moveTo>
                <a:cubicBezTo>
                  <a:pt x="11243" y="5170"/>
                  <a:pt x="11219" y="5220"/>
                  <a:pt x="11219" y="5283"/>
                </a:cubicBezTo>
                <a:cubicBezTo>
                  <a:pt x="11219" y="5345"/>
                  <a:pt x="11243" y="5396"/>
                  <a:pt x="11273" y="5396"/>
                </a:cubicBezTo>
                <a:cubicBezTo>
                  <a:pt x="11303" y="5396"/>
                  <a:pt x="11327" y="5345"/>
                  <a:pt x="11327" y="5283"/>
                </a:cubicBezTo>
                <a:cubicBezTo>
                  <a:pt x="11327" y="5220"/>
                  <a:pt x="11303" y="5170"/>
                  <a:pt x="11273" y="5170"/>
                </a:cubicBezTo>
                <a:close/>
                <a:moveTo>
                  <a:pt x="10967" y="5496"/>
                </a:moveTo>
                <a:cubicBezTo>
                  <a:pt x="10937" y="5496"/>
                  <a:pt x="10913" y="5547"/>
                  <a:pt x="10913" y="5610"/>
                </a:cubicBezTo>
                <a:cubicBezTo>
                  <a:pt x="10913" y="5672"/>
                  <a:pt x="10937" y="5723"/>
                  <a:pt x="10967" y="5723"/>
                </a:cubicBezTo>
                <a:cubicBezTo>
                  <a:pt x="10996" y="5723"/>
                  <a:pt x="11020" y="5672"/>
                  <a:pt x="11020" y="5610"/>
                </a:cubicBezTo>
                <a:cubicBezTo>
                  <a:pt x="11020" y="5547"/>
                  <a:pt x="10996" y="5496"/>
                  <a:pt x="10967" y="5496"/>
                </a:cubicBezTo>
                <a:close/>
                <a:moveTo>
                  <a:pt x="10967" y="5170"/>
                </a:moveTo>
                <a:cubicBezTo>
                  <a:pt x="10937" y="5170"/>
                  <a:pt x="10913" y="5220"/>
                  <a:pt x="10913" y="5283"/>
                </a:cubicBezTo>
                <a:cubicBezTo>
                  <a:pt x="10913" y="5345"/>
                  <a:pt x="10937" y="5396"/>
                  <a:pt x="10967" y="5396"/>
                </a:cubicBezTo>
                <a:cubicBezTo>
                  <a:pt x="10996" y="5396"/>
                  <a:pt x="11020" y="5345"/>
                  <a:pt x="11020" y="5283"/>
                </a:cubicBezTo>
                <a:cubicBezTo>
                  <a:pt x="11020" y="5220"/>
                  <a:pt x="10996" y="5170"/>
                  <a:pt x="10967" y="5170"/>
                </a:cubicBezTo>
                <a:close/>
                <a:moveTo>
                  <a:pt x="10813" y="5496"/>
                </a:moveTo>
                <a:cubicBezTo>
                  <a:pt x="10783" y="5496"/>
                  <a:pt x="10759" y="5547"/>
                  <a:pt x="10759" y="5610"/>
                </a:cubicBezTo>
                <a:cubicBezTo>
                  <a:pt x="10759" y="5672"/>
                  <a:pt x="10783" y="5723"/>
                  <a:pt x="10813" y="5723"/>
                </a:cubicBezTo>
                <a:cubicBezTo>
                  <a:pt x="10843" y="5723"/>
                  <a:pt x="10867" y="5672"/>
                  <a:pt x="10867" y="5610"/>
                </a:cubicBezTo>
                <a:cubicBezTo>
                  <a:pt x="10867" y="5547"/>
                  <a:pt x="10843" y="5496"/>
                  <a:pt x="10813" y="5496"/>
                </a:cubicBezTo>
                <a:close/>
                <a:moveTo>
                  <a:pt x="10813" y="5170"/>
                </a:moveTo>
                <a:cubicBezTo>
                  <a:pt x="10783" y="5170"/>
                  <a:pt x="10759" y="5220"/>
                  <a:pt x="10759" y="5283"/>
                </a:cubicBezTo>
                <a:cubicBezTo>
                  <a:pt x="10759" y="5345"/>
                  <a:pt x="10783" y="5396"/>
                  <a:pt x="10813" y="5396"/>
                </a:cubicBezTo>
                <a:cubicBezTo>
                  <a:pt x="10843" y="5396"/>
                  <a:pt x="10867" y="5345"/>
                  <a:pt x="10867" y="5283"/>
                </a:cubicBezTo>
                <a:cubicBezTo>
                  <a:pt x="10867" y="5220"/>
                  <a:pt x="10843" y="5170"/>
                  <a:pt x="10813" y="5170"/>
                </a:cubicBezTo>
                <a:close/>
                <a:moveTo>
                  <a:pt x="10660" y="5496"/>
                </a:moveTo>
                <a:cubicBezTo>
                  <a:pt x="10631" y="5496"/>
                  <a:pt x="10607" y="5547"/>
                  <a:pt x="10607" y="5610"/>
                </a:cubicBezTo>
                <a:cubicBezTo>
                  <a:pt x="10607" y="5672"/>
                  <a:pt x="10631" y="5723"/>
                  <a:pt x="10660" y="5723"/>
                </a:cubicBezTo>
                <a:cubicBezTo>
                  <a:pt x="10690" y="5723"/>
                  <a:pt x="10714" y="5672"/>
                  <a:pt x="10714" y="5610"/>
                </a:cubicBezTo>
                <a:cubicBezTo>
                  <a:pt x="10714" y="5547"/>
                  <a:pt x="10690" y="5496"/>
                  <a:pt x="10660" y="5496"/>
                </a:cubicBezTo>
                <a:close/>
                <a:moveTo>
                  <a:pt x="10660" y="5170"/>
                </a:moveTo>
                <a:cubicBezTo>
                  <a:pt x="10631" y="5170"/>
                  <a:pt x="10607" y="5220"/>
                  <a:pt x="10607" y="5283"/>
                </a:cubicBezTo>
                <a:cubicBezTo>
                  <a:pt x="10607" y="5345"/>
                  <a:pt x="10631" y="5396"/>
                  <a:pt x="10660" y="5396"/>
                </a:cubicBezTo>
                <a:cubicBezTo>
                  <a:pt x="10690" y="5396"/>
                  <a:pt x="10714" y="5345"/>
                  <a:pt x="10714" y="5283"/>
                </a:cubicBezTo>
                <a:cubicBezTo>
                  <a:pt x="10714" y="5220"/>
                  <a:pt x="10690" y="5170"/>
                  <a:pt x="10660" y="5170"/>
                </a:cubicBezTo>
                <a:close/>
                <a:moveTo>
                  <a:pt x="10505" y="5496"/>
                </a:moveTo>
                <a:cubicBezTo>
                  <a:pt x="10475" y="5496"/>
                  <a:pt x="10451" y="5547"/>
                  <a:pt x="10451" y="5610"/>
                </a:cubicBezTo>
                <a:cubicBezTo>
                  <a:pt x="10451" y="5672"/>
                  <a:pt x="10475" y="5723"/>
                  <a:pt x="10505" y="5723"/>
                </a:cubicBezTo>
                <a:cubicBezTo>
                  <a:pt x="10535" y="5723"/>
                  <a:pt x="10559" y="5672"/>
                  <a:pt x="10559" y="5610"/>
                </a:cubicBezTo>
                <a:cubicBezTo>
                  <a:pt x="10559" y="5547"/>
                  <a:pt x="10535" y="5496"/>
                  <a:pt x="10505" y="5496"/>
                </a:cubicBezTo>
                <a:close/>
                <a:moveTo>
                  <a:pt x="10505" y="5170"/>
                </a:moveTo>
                <a:cubicBezTo>
                  <a:pt x="10475" y="5170"/>
                  <a:pt x="10451" y="5220"/>
                  <a:pt x="10451" y="5283"/>
                </a:cubicBezTo>
                <a:cubicBezTo>
                  <a:pt x="10451" y="5345"/>
                  <a:pt x="10475" y="5396"/>
                  <a:pt x="10505" y="5396"/>
                </a:cubicBezTo>
                <a:cubicBezTo>
                  <a:pt x="10535" y="5396"/>
                  <a:pt x="10559" y="5345"/>
                  <a:pt x="10559" y="5283"/>
                </a:cubicBezTo>
                <a:cubicBezTo>
                  <a:pt x="10559" y="5220"/>
                  <a:pt x="10535" y="5170"/>
                  <a:pt x="10505" y="5170"/>
                </a:cubicBezTo>
                <a:close/>
                <a:moveTo>
                  <a:pt x="10351" y="5496"/>
                </a:moveTo>
                <a:cubicBezTo>
                  <a:pt x="10321" y="5496"/>
                  <a:pt x="10297" y="5547"/>
                  <a:pt x="10297" y="5610"/>
                </a:cubicBezTo>
                <a:cubicBezTo>
                  <a:pt x="10297" y="5672"/>
                  <a:pt x="10321" y="5723"/>
                  <a:pt x="10351" y="5723"/>
                </a:cubicBezTo>
                <a:cubicBezTo>
                  <a:pt x="10381" y="5723"/>
                  <a:pt x="10405" y="5672"/>
                  <a:pt x="10405" y="5610"/>
                </a:cubicBezTo>
                <a:cubicBezTo>
                  <a:pt x="10405" y="5547"/>
                  <a:pt x="10381" y="5496"/>
                  <a:pt x="10351" y="5496"/>
                </a:cubicBezTo>
                <a:close/>
                <a:moveTo>
                  <a:pt x="10351" y="5170"/>
                </a:moveTo>
                <a:cubicBezTo>
                  <a:pt x="10321" y="5170"/>
                  <a:pt x="10297" y="5220"/>
                  <a:pt x="10297" y="5283"/>
                </a:cubicBezTo>
                <a:cubicBezTo>
                  <a:pt x="10297" y="5345"/>
                  <a:pt x="10321" y="5396"/>
                  <a:pt x="10351" y="5396"/>
                </a:cubicBezTo>
                <a:cubicBezTo>
                  <a:pt x="10381" y="5396"/>
                  <a:pt x="10405" y="5345"/>
                  <a:pt x="10405" y="5283"/>
                </a:cubicBezTo>
                <a:cubicBezTo>
                  <a:pt x="10405" y="5220"/>
                  <a:pt x="10381" y="5170"/>
                  <a:pt x="10351" y="5170"/>
                </a:cubicBezTo>
                <a:close/>
                <a:moveTo>
                  <a:pt x="10198" y="5496"/>
                </a:moveTo>
                <a:cubicBezTo>
                  <a:pt x="10169" y="5496"/>
                  <a:pt x="10145" y="5547"/>
                  <a:pt x="10145" y="5610"/>
                </a:cubicBezTo>
                <a:cubicBezTo>
                  <a:pt x="10145" y="5672"/>
                  <a:pt x="10169" y="5723"/>
                  <a:pt x="10198" y="5723"/>
                </a:cubicBezTo>
                <a:cubicBezTo>
                  <a:pt x="10228" y="5723"/>
                  <a:pt x="10252" y="5672"/>
                  <a:pt x="10252" y="5610"/>
                </a:cubicBezTo>
                <a:cubicBezTo>
                  <a:pt x="10252" y="5547"/>
                  <a:pt x="10228" y="5496"/>
                  <a:pt x="10198" y="5496"/>
                </a:cubicBezTo>
                <a:close/>
                <a:moveTo>
                  <a:pt x="10198" y="5170"/>
                </a:moveTo>
                <a:cubicBezTo>
                  <a:pt x="10169" y="5170"/>
                  <a:pt x="10145" y="5220"/>
                  <a:pt x="10145" y="5283"/>
                </a:cubicBezTo>
                <a:cubicBezTo>
                  <a:pt x="10145" y="5345"/>
                  <a:pt x="10169" y="5396"/>
                  <a:pt x="10198" y="5396"/>
                </a:cubicBezTo>
                <a:cubicBezTo>
                  <a:pt x="10228" y="5396"/>
                  <a:pt x="10252" y="5345"/>
                  <a:pt x="10252" y="5283"/>
                </a:cubicBezTo>
                <a:cubicBezTo>
                  <a:pt x="10252" y="5220"/>
                  <a:pt x="10228" y="5170"/>
                  <a:pt x="10198" y="5170"/>
                </a:cubicBezTo>
                <a:close/>
                <a:moveTo>
                  <a:pt x="11428" y="6461"/>
                </a:moveTo>
                <a:cubicBezTo>
                  <a:pt x="11399" y="6461"/>
                  <a:pt x="11375" y="6512"/>
                  <a:pt x="11375" y="6574"/>
                </a:cubicBezTo>
                <a:cubicBezTo>
                  <a:pt x="11375" y="6637"/>
                  <a:pt x="11399" y="6687"/>
                  <a:pt x="11428" y="6687"/>
                </a:cubicBezTo>
                <a:cubicBezTo>
                  <a:pt x="11458" y="6687"/>
                  <a:pt x="11482" y="6637"/>
                  <a:pt x="11482" y="6574"/>
                </a:cubicBezTo>
                <a:cubicBezTo>
                  <a:pt x="11482" y="6512"/>
                  <a:pt x="11458" y="6461"/>
                  <a:pt x="11428" y="6461"/>
                </a:cubicBezTo>
                <a:close/>
                <a:moveTo>
                  <a:pt x="11273" y="6461"/>
                </a:moveTo>
                <a:cubicBezTo>
                  <a:pt x="11243" y="6461"/>
                  <a:pt x="11219" y="6512"/>
                  <a:pt x="11219" y="6574"/>
                </a:cubicBezTo>
                <a:cubicBezTo>
                  <a:pt x="11219" y="6637"/>
                  <a:pt x="11243" y="6687"/>
                  <a:pt x="11273" y="6687"/>
                </a:cubicBezTo>
                <a:cubicBezTo>
                  <a:pt x="11303" y="6687"/>
                  <a:pt x="11327" y="6637"/>
                  <a:pt x="11327" y="6574"/>
                </a:cubicBezTo>
                <a:cubicBezTo>
                  <a:pt x="11327" y="6512"/>
                  <a:pt x="11303" y="6461"/>
                  <a:pt x="11273" y="6461"/>
                </a:cubicBezTo>
                <a:close/>
                <a:moveTo>
                  <a:pt x="11119" y="6461"/>
                </a:moveTo>
                <a:cubicBezTo>
                  <a:pt x="11089" y="6461"/>
                  <a:pt x="11065" y="6512"/>
                  <a:pt x="11065" y="6574"/>
                </a:cubicBezTo>
                <a:cubicBezTo>
                  <a:pt x="11065" y="6637"/>
                  <a:pt x="11089" y="6687"/>
                  <a:pt x="11119" y="6687"/>
                </a:cubicBezTo>
                <a:cubicBezTo>
                  <a:pt x="11149" y="6687"/>
                  <a:pt x="11173" y="6637"/>
                  <a:pt x="11173" y="6574"/>
                </a:cubicBezTo>
                <a:cubicBezTo>
                  <a:pt x="11173" y="6512"/>
                  <a:pt x="11149" y="6461"/>
                  <a:pt x="11119" y="6461"/>
                </a:cubicBezTo>
                <a:close/>
                <a:moveTo>
                  <a:pt x="10967" y="6461"/>
                </a:moveTo>
                <a:cubicBezTo>
                  <a:pt x="10937" y="6461"/>
                  <a:pt x="10913" y="6512"/>
                  <a:pt x="10913" y="6574"/>
                </a:cubicBezTo>
                <a:cubicBezTo>
                  <a:pt x="10913" y="6637"/>
                  <a:pt x="10937" y="6687"/>
                  <a:pt x="10967" y="6687"/>
                </a:cubicBezTo>
                <a:cubicBezTo>
                  <a:pt x="10996" y="6687"/>
                  <a:pt x="11020" y="6637"/>
                  <a:pt x="11020" y="6574"/>
                </a:cubicBezTo>
                <a:cubicBezTo>
                  <a:pt x="11020" y="6512"/>
                  <a:pt x="10996" y="6461"/>
                  <a:pt x="10967" y="6461"/>
                </a:cubicBezTo>
                <a:close/>
                <a:moveTo>
                  <a:pt x="11428" y="6134"/>
                </a:moveTo>
                <a:cubicBezTo>
                  <a:pt x="11399" y="6134"/>
                  <a:pt x="11375" y="6185"/>
                  <a:pt x="11375" y="6247"/>
                </a:cubicBezTo>
                <a:cubicBezTo>
                  <a:pt x="11375" y="6310"/>
                  <a:pt x="11399" y="6361"/>
                  <a:pt x="11428" y="6361"/>
                </a:cubicBezTo>
                <a:cubicBezTo>
                  <a:pt x="11458" y="6361"/>
                  <a:pt x="11482" y="6310"/>
                  <a:pt x="11482" y="6247"/>
                </a:cubicBezTo>
                <a:cubicBezTo>
                  <a:pt x="11482" y="6185"/>
                  <a:pt x="11458" y="6134"/>
                  <a:pt x="11428" y="6134"/>
                </a:cubicBezTo>
                <a:close/>
                <a:moveTo>
                  <a:pt x="11428" y="5807"/>
                </a:moveTo>
                <a:cubicBezTo>
                  <a:pt x="11399" y="5807"/>
                  <a:pt x="11375" y="5858"/>
                  <a:pt x="11375" y="5921"/>
                </a:cubicBezTo>
                <a:cubicBezTo>
                  <a:pt x="11375" y="5983"/>
                  <a:pt x="11399" y="6034"/>
                  <a:pt x="11428" y="6034"/>
                </a:cubicBezTo>
                <a:cubicBezTo>
                  <a:pt x="11458" y="6034"/>
                  <a:pt x="11482" y="5983"/>
                  <a:pt x="11482" y="5921"/>
                </a:cubicBezTo>
                <a:cubicBezTo>
                  <a:pt x="11482" y="5858"/>
                  <a:pt x="11458" y="5807"/>
                  <a:pt x="11428" y="5807"/>
                </a:cubicBezTo>
                <a:close/>
                <a:moveTo>
                  <a:pt x="11273" y="6134"/>
                </a:moveTo>
                <a:cubicBezTo>
                  <a:pt x="11243" y="6134"/>
                  <a:pt x="11219" y="6185"/>
                  <a:pt x="11219" y="6247"/>
                </a:cubicBezTo>
                <a:cubicBezTo>
                  <a:pt x="11219" y="6310"/>
                  <a:pt x="11243" y="6361"/>
                  <a:pt x="11273" y="6361"/>
                </a:cubicBezTo>
                <a:cubicBezTo>
                  <a:pt x="11303" y="6361"/>
                  <a:pt x="11327" y="6310"/>
                  <a:pt x="11327" y="6247"/>
                </a:cubicBezTo>
                <a:cubicBezTo>
                  <a:pt x="11327" y="6185"/>
                  <a:pt x="11303" y="6134"/>
                  <a:pt x="11273" y="6134"/>
                </a:cubicBezTo>
                <a:close/>
                <a:moveTo>
                  <a:pt x="11273" y="5807"/>
                </a:moveTo>
                <a:cubicBezTo>
                  <a:pt x="11243" y="5807"/>
                  <a:pt x="11219" y="5858"/>
                  <a:pt x="11219" y="5921"/>
                </a:cubicBezTo>
                <a:cubicBezTo>
                  <a:pt x="11219" y="5983"/>
                  <a:pt x="11243" y="6034"/>
                  <a:pt x="11273" y="6034"/>
                </a:cubicBezTo>
                <a:cubicBezTo>
                  <a:pt x="11303" y="6034"/>
                  <a:pt x="11327" y="5983"/>
                  <a:pt x="11327" y="5921"/>
                </a:cubicBezTo>
                <a:cubicBezTo>
                  <a:pt x="11327" y="5858"/>
                  <a:pt x="11303" y="5807"/>
                  <a:pt x="11273" y="5807"/>
                </a:cubicBezTo>
                <a:close/>
                <a:moveTo>
                  <a:pt x="11119" y="6134"/>
                </a:moveTo>
                <a:cubicBezTo>
                  <a:pt x="11089" y="6134"/>
                  <a:pt x="11065" y="6185"/>
                  <a:pt x="11065" y="6247"/>
                </a:cubicBezTo>
                <a:cubicBezTo>
                  <a:pt x="11065" y="6310"/>
                  <a:pt x="11089" y="6361"/>
                  <a:pt x="11119" y="6361"/>
                </a:cubicBezTo>
                <a:cubicBezTo>
                  <a:pt x="11149" y="6361"/>
                  <a:pt x="11173" y="6310"/>
                  <a:pt x="11173" y="6247"/>
                </a:cubicBezTo>
                <a:cubicBezTo>
                  <a:pt x="11173" y="6185"/>
                  <a:pt x="11149" y="6134"/>
                  <a:pt x="11119" y="6134"/>
                </a:cubicBezTo>
                <a:close/>
                <a:moveTo>
                  <a:pt x="10967" y="6134"/>
                </a:moveTo>
                <a:cubicBezTo>
                  <a:pt x="10937" y="6134"/>
                  <a:pt x="10913" y="6185"/>
                  <a:pt x="10913" y="6247"/>
                </a:cubicBezTo>
                <a:cubicBezTo>
                  <a:pt x="10913" y="6310"/>
                  <a:pt x="10937" y="6361"/>
                  <a:pt x="10967" y="6361"/>
                </a:cubicBezTo>
                <a:cubicBezTo>
                  <a:pt x="10996" y="6361"/>
                  <a:pt x="11020" y="6310"/>
                  <a:pt x="11020" y="6247"/>
                </a:cubicBezTo>
                <a:cubicBezTo>
                  <a:pt x="11020" y="6185"/>
                  <a:pt x="10996" y="6134"/>
                  <a:pt x="10967" y="6134"/>
                </a:cubicBezTo>
                <a:close/>
                <a:moveTo>
                  <a:pt x="10967" y="5807"/>
                </a:moveTo>
                <a:cubicBezTo>
                  <a:pt x="10937" y="5807"/>
                  <a:pt x="10913" y="5858"/>
                  <a:pt x="10913" y="5921"/>
                </a:cubicBezTo>
                <a:cubicBezTo>
                  <a:pt x="10913" y="5983"/>
                  <a:pt x="10937" y="6034"/>
                  <a:pt x="10967" y="6034"/>
                </a:cubicBezTo>
                <a:cubicBezTo>
                  <a:pt x="10996" y="6034"/>
                  <a:pt x="11020" y="5983"/>
                  <a:pt x="11020" y="5921"/>
                </a:cubicBezTo>
                <a:cubicBezTo>
                  <a:pt x="11020" y="5858"/>
                  <a:pt x="10996" y="5807"/>
                  <a:pt x="10967" y="5807"/>
                </a:cubicBezTo>
                <a:close/>
                <a:moveTo>
                  <a:pt x="10660" y="7425"/>
                </a:moveTo>
                <a:cubicBezTo>
                  <a:pt x="10631" y="7425"/>
                  <a:pt x="10607" y="7475"/>
                  <a:pt x="10607" y="7538"/>
                </a:cubicBezTo>
                <a:cubicBezTo>
                  <a:pt x="10607" y="7600"/>
                  <a:pt x="10631" y="7651"/>
                  <a:pt x="10660" y="7651"/>
                </a:cubicBezTo>
                <a:cubicBezTo>
                  <a:pt x="10690" y="7651"/>
                  <a:pt x="10714" y="7600"/>
                  <a:pt x="10714" y="7538"/>
                </a:cubicBezTo>
                <a:cubicBezTo>
                  <a:pt x="10714" y="7475"/>
                  <a:pt x="10690" y="7425"/>
                  <a:pt x="10660" y="7425"/>
                </a:cubicBezTo>
                <a:close/>
                <a:moveTo>
                  <a:pt x="10505" y="7425"/>
                </a:moveTo>
                <a:cubicBezTo>
                  <a:pt x="10475" y="7425"/>
                  <a:pt x="10451" y="7475"/>
                  <a:pt x="10451" y="7538"/>
                </a:cubicBezTo>
                <a:cubicBezTo>
                  <a:pt x="10451" y="7600"/>
                  <a:pt x="10475" y="7651"/>
                  <a:pt x="10505" y="7651"/>
                </a:cubicBezTo>
                <a:cubicBezTo>
                  <a:pt x="10535" y="7651"/>
                  <a:pt x="10559" y="7600"/>
                  <a:pt x="10559" y="7538"/>
                </a:cubicBezTo>
                <a:cubicBezTo>
                  <a:pt x="10559" y="7475"/>
                  <a:pt x="10535" y="7425"/>
                  <a:pt x="10505" y="7425"/>
                </a:cubicBezTo>
                <a:close/>
                <a:moveTo>
                  <a:pt x="10813" y="6788"/>
                </a:moveTo>
                <a:cubicBezTo>
                  <a:pt x="10783" y="6788"/>
                  <a:pt x="10759" y="6839"/>
                  <a:pt x="10759" y="6901"/>
                </a:cubicBezTo>
                <a:cubicBezTo>
                  <a:pt x="10759" y="6964"/>
                  <a:pt x="10783" y="7014"/>
                  <a:pt x="10813" y="7014"/>
                </a:cubicBezTo>
                <a:cubicBezTo>
                  <a:pt x="10843" y="7014"/>
                  <a:pt x="10867" y="6964"/>
                  <a:pt x="10867" y="6901"/>
                </a:cubicBezTo>
                <a:cubicBezTo>
                  <a:pt x="10867" y="6839"/>
                  <a:pt x="10843" y="6788"/>
                  <a:pt x="10813" y="6788"/>
                </a:cubicBezTo>
                <a:close/>
                <a:moveTo>
                  <a:pt x="10660" y="6461"/>
                </a:moveTo>
                <a:cubicBezTo>
                  <a:pt x="10631" y="6461"/>
                  <a:pt x="10607" y="6512"/>
                  <a:pt x="10607" y="6574"/>
                </a:cubicBezTo>
                <a:cubicBezTo>
                  <a:pt x="10607" y="6637"/>
                  <a:pt x="10631" y="6687"/>
                  <a:pt x="10660" y="6687"/>
                </a:cubicBezTo>
                <a:cubicBezTo>
                  <a:pt x="10690" y="6687"/>
                  <a:pt x="10714" y="6637"/>
                  <a:pt x="10714" y="6574"/>
                </a:cubicBezTo>
                <a:cubicBezTo>
                  <a:pt x="10714" y="6512"/>
                  <a:pt x="10690" y="6461"/>
                  <a:pt x="10660" y="6461"/>
                </a:cubicBezTo>
                <a:close/>
                <a:moveTo>
                  <a:pt x="10813" y="5807"/>
                </a:moveTo>
                <a:cubicBezTo>
                  <a:pt x="10783" y="5807"/>
                  <a:pt x="10759" y="5858"/>
                  <a:pt x="10759" y="5921"/>
                </a:cubicBezTo>
                <a:cubicBezTo>
                  <a:pt x="10759" y="5983"/>
                  <a:pt x="10783" y="6034"/>
                  <a:pt x="10813" y="6034"/>
                </a:cubicBezTo>
                <a:cubicBezTo>
                  <a:pt x="10843" y="6034"/>
                  <a:pt x="10867" y="5983"/>
                  <a:pt x="10867" y="5921"/>
                </a:cubicBezTo>
                <a:cubicBezTo>
                  <a:pt x="10867" y="5858"/>
                  <a:pt x="10843" y="5807"/>
                  <a:pt x="10813" y="5807"/>
                </a:cubicBezTo>
                <a:close/>
                <a:moveTo>
                  <a:pt x="10660" y="5807"/>
                </a:moveTo>
                <a:cubicBezTo>
                  <a:pt x="10631" y="5807"/>
                  <a:pt x="10607" y="5858"/>
                  <a:pt x="10607" y="5921"/>
                </a:cubicBezTo>
                <a:cubicBezTo>
                  <a:pt x="10607" y="5983"/>
                  <a:pt x="10631" y="6034"/>
                  <a:pt x="10660" y="6034"/>
                </a:cubicBezTo>
                <a:cubicBezTo>
                  <a:pt x="10690" y="6034"/>
                  <a:pt x="10714" y="5983"/>
                  <a:pt x="10714" y="5921"/>
                </a:cubicBezTo>
                <a:cubicBezTo>
                  <a:pt x="10714" y="5858"/>
                  <a:pt x="10690" y="5807"/>
                  <a:pt x="10660" y="5807"/>
                </a:cubicBezTo>
                <a:close/>
                <a:moveTo>
                  <a:pt x="10505" y="6134"/>
                </a:moveTo>
                <a:cubicBezTo>
                  <a:pt x="10475" y="6134"/>
                  <a:pt x="10451" y="6185"/>
                  <a:pt x="10451" y="6247"/>
                </a:cubicBezTo>
                <a:cubicBezTo>
                  <a:pt x="10451" y="6310"/>
                  <a:pt x="10475" y="6361"/>
                  <a:pt x="10505" y="6361"/>
                </a:cubicBezTo>
                <a:cubicBezTo>
                  <a:pt x="10535" y="6361"/>
                  <a:pt x="10559" y="6310"/>
                  <a:pt x="10559" y="6247"/>
                </a:cubicBezTo>
                <a:cubicBezTo>
                  <a:pt x="10559" y="6185"/>
                  <a:pt x="10535" y="6134"/>
                  <a:pt x="10505" y="6134"/>
                </a:cubicBezTo>
                <a:close/>
                <a:moveTo>
                  <a:pt x="10505" y="5807"/>
                </a:moveTo>
                <a:cubicBezTo>
                  <a:pt x="10475" y="5807"/>
                  <a:pt x="10451" y="5858"/>
                  <a:pt x="10451" y="5921"/>
                </a:cubicBezTo>
                <a:cubicBezTo>
                  <a:pt x="10451" y="5983"/>
                  <a:pt x="10475" y="6034"/>
                  <a:pt x="10505" y="6034"/>
                </a:cubicBezTo>
                <a:cubicBezTo>
                  <a:pt x="10535" y="6034"/>
                  <a:pt x="10559" y="5983"/>
                  <a:pt x="10559" y="5921"/>
                </a:cubicBezTo>
                <a:cubicBezTo>
                  <a:pt x="10559" y="5858"/>
                  <a:pt x="10535" y="5807"/>
                  <a:pt x="10505" y="5807"/>
                </a:cubicBezTo>
                <a:close/>
                <a:moveTo>
                  <a:pt x="9730" y="6370"/>
                </a:moveTo>
                <a:cubicBezTo>
                  <a:pt x="9759" y="6370"/>
                  <a:pt x="9783" y="6319"/>
                  <a:pt x="9783" y="6257"/>
                </a:cubicBezTo>
                <a:cubicBezTo>
                  <a:pt x="9783" y="6194"/>
                  <a:pt x="9759" y="6144"/>
                  <a:pt x="9730" y="6144"/>
                </a:cubicBezTo>
                <a:cubicBezTo>
                  <a:pt x="9700" y="6144"/>
                  <a:pt x="9676" y="6194"/>
                  <a:pt x="9676" y="6257"/>
                </a:cubicBezTo>
                <a:cubicBezTo>
                  <a:pt x="9676" y="6319"/>
                  <a:pt x="9700" y="6370"/>
                  <a:pt x="9730" y="6370"/>
                </a:cubicBezTo>
                <a:close/>
                <a:moveTo>
                  <a:pt x="10033" y="6485"/>
                </a:moveTo>
                <a:cubicBezTo>
                  <a:pt x="10003" y="6485"/>
                  <a:pt x="9979" y="6535"/>
                  <a:pt x="9979" y="6598"/>
                </a:cubicBezTo>
                <a:cubicBezTo>
                  <a:pt x="9979" y="6660"/>
                  <a:pt x="10003" y="6711"/>
                  <a:pt x="10033" y="6711"/>
                </a:cubicBezTo>
                <a:cubicBezTo>
                  <a:pt x="10062" y="6711"/>
                  <a:pt x="10086" y="6660"/>
                  <a:pt x="10086" y="6598"/>
                </a:cubicBezTo>
                <a:cubicBezTo>
                  <a:pt x="10086" y="6535"/>
                  <a:pt x="10062" y="6485"/>
                  <a:pt x="10033" y="6485"/>
                </a:cubicBezTo>
                <a:close/>
                <a:moveTo>
                  <a:pt x="10198" y="6134"/>
                </a:moveTo>
                <a:cubicBezTo>
                  <a:pt x="10169" y="6134"/>
                  <a:pt x="10145" y="6185"/>
                  <a:pt x="10145" y="6247"/>
                </a:cubicBezTo>
                <a:cubicBezTo>
                  <a:pt x="10145" y="6310"/>
                  <a:pt x="10169" y="6361"/>
                  <a:pt x="10198" y="6361"/>
                </a:cubicBezTo>
                <a:cubicBezTo>
                  <a:pt x="10228" y="6361"/>
                  <a:pt x="10252" y="6310"/>
                  <a:pt x="10252" y="6247"/>
                </a:cubicBezTo>
                <a:cubicBezTo>
                  <a:pt x="10252" y="6185"/>
                  <a:pt x="10228" y="6134"/>
                  <a:pt x="10198" y="6134"/>
                </a:cubicBezTo>
                <a:close/>
                <a:moveTo>
                  <a:pt x="11428" y="8721"/>
                </a:moveTo>
                <a:cubicBezTo>
                  <a:pt x="11399" y="8721"/>
                  <a:pt x="11375" y="8772"/>
                  <a:pt x="11375" y="8834"/>
                </a:cubicBezTo>
                <a:cubicBezTo>
                  <a:pt x="11375" y="8897"/>
                  <a:pt x="11399" y="8947"/>
                  <a:pt x="11428" y="8947"/>
                </a:cubicBezTo>
                <a:cubicBezTo>
                  <a:pt x="11458" y="8947"/>
                  <a:pt x="11482" y="8897"/>
                  <a:pt x="11482" y="8834"/>
                </a:cubicBezTo>
                <a:cubicBezTo>
                  <a:pt x="11482" y="8772"/>
                  <a:pt x="11458" y="8721"/>
                  <a:pt x="11428" y="8721"/>
                </a:cubicBezTo>
                <a:close/>
                <a:moveTo>
                  <a:pt x="11466" y="7873"/>
                </a:moveTo>
                <a:cubicBezTo>
                  <a:pt x="11466" y="7811"/>
                  <a:pt x="11442" y="7760"/>
                  <a:pt x="11412" y="7760"/>
                </a:cubicBezTo>
                <a:cubicBezTo>
                  <a:pt x="11382" y="7760"/>
                  <a:pt x="11358" y="7811"/>
                  <a:pt x="11358" y="7873"/>
                </a:cubicBezTo>
                <a:cubicBezTo>
                  <a:pt x="11358" y="7936"/>
                  <a:pt x="11382" y="7987"/>
                  <a:pt x="11412" y="7987"/>
                </a:cubicBezTo>
                <a:cubicBezTo>
                  <a:pt x="11442" y="7987"/>
                  <a:pt x="11466" y="7936"/>
                  <a:pt x="11466" y="7873"/>
                </a:cubicBezTo>
                <a:close/>
                <a:moveTo>
                  <a:pt x="11273" y="7760"/>
                </a:moveTo>
                <a:cubicBezTo>
                  <a:pt x="11243" y="7760"/>
                  <a:pt x="11219" y="7811"/>
                  <a:pt x="11219" y="7873"/>
                </a:cubicBezTo>
                <a:cubicBezTo>
                  <a:pt x="11219" y="7936"/>
                  <a:pt x="11243" y="7987"/>
                  <a:pt x="11273" y="7987"/>
                </a:cubicBezTo>
                <a:cubicBezTo>
                  <a:pt x="11303" y="7987"/>
                  <a:pt x="11327" y="7936"/>
                  <a:pt x="11327" y="7873"/>
                </a:cubicBezTo>
                <a:cubicBezTo>
                  <a:pt x="11327" y="7811"/>
                  <a:pt x="11303" y="7760"/>
                  <a:pt x="11273" y="7760"/>
                </a:cubicBezTo>
                <a:close/>
                <a:moveTo>
                  <a:pt x="11119" y="7760"/>
                </a:moveTo>
                <a:cubicBezTo>
                  <a:pt x="11089" y="7760"/>
                  <a:pt x="11065" y="7811"/>
                  <a:pt x="11065" y="7873"/>
                </a:cubicBezTo>
                <a:cubicBezTo>
                  <a:pt x="11065" y="7936"/>
                  <a:pt x="11089" y="7987"/>
                  <a:pt x="11119" y="7987"/>
                </a:cubicBezTo>
                <a:cubicBezTo>
                  <a:pt x="11149" y="7987"/>
                  <a:pt x="11173" y="7936"/>
                  <a:pt x="11173" y="7873"/>
                </a:cubicBezTo>
                <a:cubicBezTo>
                  <a:pt x="11173" y="7811"/>
                  <a:pt x="11149" y="7760"/>
                  <a:pt x="11119" y="7760"/>
                </a:cubicBezTo>
                <a:close/>
                <a:moveTo>
                  <a:pt x="10967" y="7760"/>
                </a:moveTo>
                <a:cubicBezTo>
                  <a:pt x="10937" y="7760"/>
                  <a:pt x="10913" y="7811"/>
                  <a:pt x="10913" y="7873"/>
                </a:cubicBezTo>
                <a:cubicBezTo>
                  <a:pt x="10913" y="7936"/>
                  <a:pt x="10937" y="7987"/>
                  <a:pt x="10967" y="7987"/>
                </a:cubicBezTo>
                <a:cubicBezTo>
                  <a:pt x="10996" y="7987"/>
                  <a:pt x="11020" y="7936"/>
                  <a:pt x="11020" y="7873"/>
                </a:cubicBezTo>
                <a:cubicBezTo>
                  <a:pt x="11020" y="7811"/>
                  <a:pt x="10996" y="7760"/>
                  <a:pt x="10967" y="7760"/>
                </a:cubicBezTo>
                <a:close/>
                <a:moveTo>
                  <a:pt x="8811" y="5535"/>
                </a:moveTo>
                <a:cubicBezTo>
                  <a:pt x="8782" y="5535"/>
                  <a:pt x="8758" y="5586"/>
                  <a:pt x="8758" y="5649"/>
                </a:cubicBezTo>
                <a:cubicBezTo>
                  <a:pt x="8758" y="5711"/>
                  <a:pt x="8782" y="5762"/>
                  <a:pt x="8811" y="5762"/>
                </a:cubicBezTo>
                <a:cubicBezTo>
                  <a:pt x="8841" y="5762"/>
                  <a:pt x="8865" y="5711"/>
                  <a:pt x="8865" y="5649"/>
                </a:cubicBezTo>
                <a:cubicBezTo>
                  <a:pt x="8865" y="5586"/>
                  <a:pt x="8841" y="5535"/>
                  <a:pt x="8811" y="5535"/>
                </a:cubicBezTo>
                <a:close/>
                <a:moveTo>
                  <a:pt x="8659" y="5535"/>
                </a:moveTo>
                <a:cubicBezTo>
                  <a:pt x="8629" y="5535"/>
                  <a:pt x="8605" y="5586"/>
                  <a:pt x="8605" y="5649"/>
                </a:cubicBezTo>
                <a:cubicBezTo>
                  <a:pt x="8605" y="5711"/>
                  <a:pt x="8629" y="5762"/>
                  <a:pt x="8659" y="5762"/>
                </a:cubicBezTo>
                <a:cubicBezTo>
                  <a:pt x="8688" y="5762"/>
                  <a:pt x="8712" y="5711"/>
                  <a:pt x="8712" y="5649"/>
                </a:cubicBezTo>
                <a:cubicBezTo>
                  <a:pt x="8712" y="5586"/>
                  <a:pt x="8688" y="5535"/>
                  <a:pt x="8659" y="5535"/>
                </a:cubicBezTo>
                <a:close/>
                <a:moveTo>
                  <a:pt x="8811" y="5817"/>
                </a:moveTo>
                <a:cubicBezTo>
                  <a:pt x="8782" y="5817"/>
                  <a:pt x="8758" y="5868"/>
                  <a:pt x="8758" y="5930"/>
                </a:cubicBezTo>
                <a:cubicBezTo>
                  <a:pt x="8758" y="5993"/>
                  <a:pt x="8782" y="6044"/>
                  <a:pt x="8811" y="6044"/>
                </a:cubicBezTo>
                <a:cubicBezTo>
                  <a:pt x="8841" y="6044"/>
                  <a:pt x="8865" y="5993"/>
                  <a:pt x="8865" y="5930"/>
                </a:cubicBezTo>
                <a:cubicBezTo>
                  <a:pt x="8865" y="5868"/>
                  <a:pt x="8841" y="5817"/>
                  <a:pt x="8811" y="5817"/>
                </a:cubicBezTo>
                <a:close/>
                <a:moveTo>
                  <a:pt x="8659" y="5817"/>
                </a:moveTo>
                <a:cubicBezTo>
                  <a:pt x="8629" y="5817"/>
                  <a:pt x="8605" y="5868"/>
                  <a:pt x="8605" y="5930"/>
                </a:cubicBezTo>
                <a:cubicBezTo>
                  <a:pt x="8605" y="5993"/>
                  <a:pt x="8629" y="6044"/>
                  <a:pt x="8659" y="6044"/>
                </a:cubicBezTo>
                <a:cubicBezTo>
                  <a:pt x="8688" y="6044"/>
                  <a:pt x="8712" y="5993"/>
                  <a:pt x="8712" y="5930"/>
                </a:cubicBezTo>
                <a:cubicBezTo>
                  <a:pt x="8712" y="5868"/>
                  <a:pt x="8688" y="5817"/>
                  <a:pt x="8659" y="5817"/>
                </a:cubicBezTo>
                <a:close/>
                <a:moveTo>
                  <a:pt x="8965" y="5817"/>
                </a:moveTo>
                <a:cubicBezTo>
                  <a:pt x="8935" y="5817"/>
                  <a:pt x="8911" y="5868"/>
                  <a:pt x="8911" y="5930"/>
                </a:cubicBezTo>
                <a:cubicBezTo>
                  <a:pt x="8911" y="5993"/>
                  <a:pt x="8935" y="6044"/>
                  <a:pt x="8965" y="6044"/>
                </a:cubicBezTo>
                <a:cubicBezTo>
                  <a:pt x="8995" y="6044"/>
                  <a:pt x="9019" y="5993"/>
                  <a:pt x="9019" y="5930"/>
                </a:cubicBezTo>
                <a:cubicBezTo>
                  <a:pt x="9019" y="5868"/>
                  <a:pt x="8995" y="5817"/>
                  <a:pt x="8965" y="5817"/>
                </a:cubicBezTo>
                <a:close/>
                <a:moveTo>
                  <a:pt x="9575" y="4768"/>
                </a:moveTo>
                <a:cubicBezTo>
                  <a:pt x="9604" y="4768"/>
                  <a:pt x="9628" y="4717"/>
                  <a:pt x="9628" y="4655"/>
                </a:cubicBezTo>
                <a:cubicBezTo>
                  <a:pt x="9628" y="4592"/>
                  <a:pt x="9604" y="4542"/>
                  <a:pt x="9575" y="4542"/>
                </a:cubicBezTo>
                <a:cubicBezTo>
                  <a:pt x="9545" y="4542"/>
                  <a:pt x="9521" y="4592"/>
                  <a:pt x="9521" y="4655"/>
                </a:cubicBezTo>
                <a:cubicBezTo>
                  <a:pt x="9521" y="4717"/>
                  <a:pt x="9545" y="4768"/>
                  <a:pt x="9575" y="4768"/>
                </a:cubicBezTo>
                <a:close/>
                <a:moveTo>
                  <a:pt x="9419" y="4768"/>
                </a:moveTo>
                <a:cubicBezTo>
                  <a:pt x="9449" y="4768"/>
                  <a:pt x="9473" y="4717"/>
                  <a:pt x="9473" y="4655"/>
                </a:cubicBezTo>
                <a:cubicBezTo>
                  <a:pt x="9473" y="4592"/>
                  <a:pt x="9449" y="4542"/>
                  <a:pt x="9419" y="4542"/>
                </a:cubicBezTo>
                <a:cubicBezTo>
                  <a:pt x="9390" y="4542"/>
                  <a:pt x="9366" y="4592"/>
                  <a:pt x="9366" y="4655"/>
                </a:cubicBezTo>
                <a:cubicBezTo>
                  <a:pt x="9366" y="4717"/>
                  <a:pt x="9390" y="4768"/>
                  <a:pt x="9419" y="4768"/>
                </a:cubicBezTo>
                <a:close/>
                <a:moveTo>
                  <a:pt x="9116" y="4115"/>
                </a:moveTo>
                <a:cubicBezTo>
                  <a:pt x="9146" y="4115"/>
                  <a:pt x="9170" y="4065"/>
                  <a:pt x="9170" y="4002"/>
                </a:cubicBezTo>
                <a:cubicBezTo>
                  <a:pt x="9170" y="3940"/>
                  <a:pt x="9146" y="3889"/>
                  <a:pt x="9116" y="3889"/>
                </a:cubicBezTo>
                <a:cubicBezTo>
                  <a:pt x="9087" y="3889"/>
                  <a:pt x="9063" y="3940"/>
                  <a:pt x="9063" y="4002"/>
                </a:cubicBezTo>
                <a:cubicBezTo>
                  <a:pt x="9063" y="4065"/>
                  <a:pt x="9087" y="4115"/>
                  <a:pt x="9116" y="4115"/>
                </a:cubicBezTo>
                <a:close/>
                <a:moveTo>
                  <a:pt x="8975" y="3563"/>
                </a:moveTo>
                <a:cubicBezTo>
                  <a:pt x="8946" y="3563"/>
                  <a:pt x="8922" y="3613"/>
                  <a:pt x="8922" y="3676"/>
                </a:cubicBezTo>
                <a:cubicBezTo>
                  <a:pt x="8922" y="3738"/>
                  <a:pt x="8946" y="3789"/>
                  <a:pt x="8975" y="3789"/>
                </a:cubicBezTo>
                <a:cubicBezTo>
                  <a:pt x="9005" y="3789"/>
                  <a:pt x="9029" y="3738"/>
                  <a:pt x="9029" y="3676"/>
                </a:cubicBezTo>
                <a:cubicBezTo>
                  <a:pt x="9029" y="3613"/>
                  <a:pt x="9005" y="3563"/>
                  <a:pt x="8975" y="3563"/>
                </a:cubicBezTo>
                <a:close/>
                <a:moveTo>
                  <a:pt x="9273" y="4542"/>
                </a:moveTo>
                <a:cubicBezTo>
                  <a:pt x="9243" y="4542"/>
                  <a:pt x="9219" y="4592"/>
                  <a:pt x="9219" y="4655"/>
                </a:cubicBezTo>
                <a:cubicBezTo>
                  <a:pt x="9219" y="4717"/>
                  <a:pt x="9243" y="4768"/>
                  <a:pt x="9273" y="4768"/>
                </a:cubicBezTo>
                <a:cubicBezTo>
                  <a:pt x="9302" y="4768"/>
                  <a:pt x="9326" y="4717"/>
                  <a:pt x="9326" y="4655"/>
                </a:cubicBezTo>
                <a:cubicBezTo>
                  <a:pt x="9326" y="4592"/>
                  <a:pt x="9302" y="4542"/>
                  <a:pt x="9273" y="4542"/>
                </a:cubicBezTo>
                <a:close/>
                <a:moveTo>
                  <a:pt x="9575" y="5094"/>
                </a:moveTo>
                <a:cubicBezTo>
                  <a:pt x="9604" y="5094"/>
                  <a:pt x="9628" y="5044"/>
                  <a:pt x="9628" y="4981"/>
                </a:cubicBezTo>
                <a:cubicBezTo>
                  <a:pt x="9628" y="4919"/>
                  <a:pt x="9604" y="4868"/>
                  <a:pt x="9575" y="4868"/>
                </a:cubicBezTo>
                <a:cubicBezTo>
                  <a:pt x="9545" y="4868"/>
                  <a:pt x="9521" y="4919"/>
                  <a:pt x="9521" y="4981"/>
                </a:cubicBezTo>
                <a:cubicBezTo>
                  <a:pt x="9521" y="5044"/>
                  <a:pt x="9545" y="5094"/>
                  <a:pt x="9575" y="5094"/>
                </a:cubicBezTo>
                <a:close/>
                <a:moveTo>
                  <a:pt x="9419" y="5094"/>
                </a:moveTo>
                <a:cubicBezTo>
                  <a:pt x="9449" y="5094"/>
                  <a:pt x="9473" y="5044"/>
                  <a:pt x="9473" y="4981"/>
                </a:cubicBezTo>
                <a:cubicBezTo>
                  <a:pt x="9473" y="4919"/>
                  <a:pt x="9449" y="4868"/>
                  <a:pt x="9419" y="4868"/>
                </a:cubicBezTo>
                <a:cubicBezTo>
                  <a:pt x="9390" y="4868"/>
                  <a:pt x="9366" y="4919"/>
                  <a:pt x="9366" y="4981"/>
                </a:cubicBezTo>
                <a:cubicBezTo>
                  <a:pt x="9366" y="5044"/>
                  <a:pt x="9390" y="5094"/>
                  <a:pt x="9419" y="5094"/>
                </a:cubicBezTo>
                <a:close/>
                <a:moveTo>
                  <a:pt x="9273" y="4868"/>
                </a:moveTo>
                <a:cubicBezTo>
                  <a:pt x="9243" y="4868"/>
                  <a:pt x="9219" y="4919"/>
                  <a:pt x="9219" y="4981"/>
                </a:cubicBezTo>
                <a:cubicBezTo>
                  <a:pt x="9219" y="5044"/>
                  <a:pt x="9243" y="5094"/>
                  <a:pt x="9273" y="5094"/>
                </a:cubicBezTo>
                <a:cubicBezTo>
                  <a:pt x="9302" y="5094"/>
                  <a:pt x="9326" y="5044"/>
                  <a:pt x="9326" y="4981"/>
                </a:cubicBezTo>
                <a:cubicBezTo>
                  <a:pt x="9326" y="4919"/>
                  <a:pt x="9302" y="4868"/>
                  <a:pt x="9273" y="4868"/>
                </a:cubicBezTo>
                <a:close/>
                <a:moveTo>
                  <a:pt x="8652" y="4427"/>
                </a:moveTo>
                <a:cubicBezTo>
                  <a:pt x="8682" y="4427"/>
                  <a:pt x="8706" y="4376"/>
                  <a:pt x="8706" y="4314"/>
                </a:cubicBezTo>
                <a:cubicBezTo>
                  <a:pt x="8706" y="4251"/>
                  <a:pt x="8682" y="4201"/>
                  <a:pt x="8652" y="4201"/>
                </a:cubicBezTo>
                <a:cubicBezTo>
                  <a:pt x="8623" y="4201"/>
                  <a:pt x="8599" y="4251"/>
                  <a:pt x="8599" y="4314"/>
                </a:cubicBezTo>
                <a:cubicBezTo>
                  <a:pt x="8599" y="4376"/>
                  <a:pt x="8623" y="4427"/>
                  <a:pt x="8652" y="4427"/>
                </a:cubicBezTo>
                <a:close/>
                <a:moveTo>
                  <a:pt x="8963" y="4427"/>
                </a:moveTo>
                <a:cubicBezTo>
                  <a:pt x="8992" y="4427"/>
                  <a:pt x="9016" y="4376"/>
                  <a:pt x="9016" y="4314"/>
                </a:cubicBezTo>
                <a:cubicBezTo>
                  <a:pt x="9016" y="4251"/>
                  <a:pt x="8992" y="4201"/>
                  <a:pt x="8963" y="4201"/>
                </a:cubicBezTo>
                <a:cubicBezTo>
                  <a:pt x="8933" y="4201"/>
                  <a:pt x="8909" y="4251"/>
                  <a:pt x="8909" y="4314"/>
                </a:cubicBezTo>
                <a:cubicBezTo>
                  <a:pt x="8909" y="4376"/>
                  <a:pt x="8933" y="4427"/>
                  <a:pt x="8963" y="4427"/>
                </a:cubicBezTo>
                <a:close/>
                <a:moveTo>
                  <a:pt x="9118" y="4201"/>
                </a:moveTo>
                <a:cubicBezTo>
                  <a:pt x="9088" y="4201"/>
                  <a:pt x="9064" y="4251"/>
                  <a:pt x="9064" y="4314"/>
                </a:cubicBezTo>
                <a:cubicBezTo>
                  <a:pt x="9064" y="4376"/>
                  <a:pt x="9088" y="4427"/>
                  <a:pt x="9118" y="4427"/>
                </a:cubicBezTo>
                <a:cubicBezTo>
                  <a:pt x="9147" y="4427"/>
                  <a:pt x="9171" y="4376"/>
                  <a:pt x="9171" y="4314"/>
                </a:cubicBezTo>
                <a:cubicBezTo>
                  <a:pt x="9171" y="4251"/>
                  <a:pt x="9147" y="4201"/>
                  <a:pt x="9118" y="4201"/>
                </a:cubicBezTo>
                <a:close/>
                <a:moveTo>
                  <a:pt x="8059" y="2272"/>
                </a:moveTo>
                <a:cubicBezTo>
                  <a:pt x="8030" y="2272"/>
                  <a:pt x="8005" y="2323"/>
                  <a:pt x="8005" y="2386"/>
                </a:cubicBezTo>
                <a:cubicBezTo>
                  <a:pt x="8005" y="2448"/>
                  <a:pt x="8030" y="2499"/>
                  <a:pt x="8059" y="2499"/>
                </a:cubicBezTo>
                <a:cubicBezTo>
                  <a:pt x="8089" y="2499"/>
                  <a:pt x="8113" y="2448"/>
                  <a:pt x="8113" y="2386"/>
                </a:cubicBezTo>
                <a:cubicBezTo>
                  <a:pt x="8113" y="2323"/>
                  <a:pt x="8089" y="2272"/>
                  <a:pt x="8059" y="2272"/>
                </a:cubicBezTo>
                <a:close/>
                <a:moveTo>
                  <a:pt x="8200" y="2272"/>
                </a:moveTo>
                <a:cubicBezTo>
                  <a:pt x="8171" y="2272"/>
                  <a:pt x="8146" y="2323"/>
                  <a:pt x="8146" y="2386"/>
                </a:cubicBezTo>
                <a:cubicBezTo>
                  <a:pt x="8146" y="2448"/>
                  <a:pt x="8171" y="2499"/>
                  <a:pt x="8200" y="2499"/>
                </a:cubicBezTo>
                <a:cubicBezTo>
                  <a:pt x="8230" y="2499"/>
                  <a:pt x="8254" y="2448"/>
                  <a:pt x="8254" y="2386"/>
                </a:cubicBezTo>
                <a:cubicBezTo>
                  <a:pt x="8254" y="2323"/>
                  <a:pt x="8230" y="2272"/>
                  <a:pt x="8200" y="2272"/>
                </a:cubicBezTo>
                <a:close/>
                <a:moveTo>
                  <a:pt x="8355" y="2272"/>
                </a:moveTo>
                <a:cubicBezTo>
                  <a:pt x="8326" y="2272"/>
                  <a:pt x="8301" y="2323"/>
                  <a:pt x="8301" y="2386"/>
                </a:cubicBezTo>
                <a:cubicBezTo>
                  <a:pt x="8301" y="2448"/>
                  <a:pt x="8326" y="2499"/>
                  <a:pt x="8355" y="2499"/>
                </a:cubicBezTo>
                <a:cubicBezTo>
                  <a:pt x="8385" y="2499"/>
                  <a:pt x="8409" y="2448"/>
                  <a:pt x="8409" y="2386"/>
                </a:cubicBezTo>
                <a:cubicBezTo>
                  <a:pt x="8409" y="2323"/>
                  <a:pt x="8385" y="2272"/>
                  <a:pt x="8355" y="2272"/>
                </a:cubicBezTo>
                <a:close/>
                <a:moveTo>
                  <a:pt x="8658" y="4115"/>
                </a:moveTo>
                <a:cubicBezTo>
                  <a:pt x="8688" y="4115"/>
                  <a:pt x="8712" y="4065"/>
                  <a:pt x="8712" y="4002"/>
                </a:cubicBezTo>
                <a:cubicBezTo>
                  <a:pt x="8712" y="3940"/>
                  <a:pt x="8688" y="3889"/>
                  <a:pt x="8658" y="3889"/>
                </a:cubicBezTo>
                <a:cubicBezTo>
                  <a:pt x="8629" y="3889"/>
                  <a:pt x="8605" y="3940"/>
                  <a:pt x="8605" y="4002"/>
                </a:cubicBezTo>
                <a:cubicBezTo>
                  <a:pt x="8605" y="4065"/>
                  <a:pt x="8629" y="4115"/>
                  <a:pt x="8658" y="4115"/>
                </a:cubicBezTo>
                <a:close/>
                <a:moveTo>
                  <a:pt x="8813" y="3889"/>
                </a:moveTo>
                <a:cubicBezTo>
                  <a:pt x="8784" y="3889"/>
                  <a:pt x="8760" y="3940"/>
                  <a:pt x="8760" y="4002"/>
                </a:cubicBezTo>
                <a:cubicBezTo>
                  <a:pt x="8760" y="4065"/>
                  <a:pt x="8784" y="4115"/>
                  <a:pt x="8813" y="4115"/>
                </a:cubicBezTo>
                <a:cubicBezTo>
                  <a:pt x="8843" y="4115"/>
                  <a:pt x="8867" y="4065"/>
                  <a:pt x="8867" y="4002"/>
                </a:cubicBezTo>
                <a:cubicBezTo>
                  <a:pt x="8867" y="3940"/>
                  <a:pt x="8843" y="3889"/>
                  <a:pt x="8813" y="3889"/>
                </a:cubicBezTo>
                <a:close/>
                <a:moveTo>
                  <a:pt x="8963" y="5094"/>
                </a:moveTo>
                <a:cubicBezTo>
                  <a:pt x="8992" y="5094"/>
                  <a:pt x="9016" y="5044"/>
                  <a:pt x="9016" y="4981"/>
                </a:cubicBezTo>
                <a:cubicBezTo>
                  <a:pt x="9016" y="4919"/>
                  <a:pt x="8992" y="4868"/>
                  <a:pt x="8963" y="4868"/>
                </a:cubicBezTo>
                <a:cubicBezTo>
                  <a:pt x="8933" y="4868"/>
                  <a:pt x="8909" y="4919"/>
                  <a:pt x="8909" y="4981"/>
                </a:cubicBezTo>
                <a:cubicBezTo>
                  <a:pt x="8909" y="5044"/>
                  <a:pt x="8933" y="5094"/>
                  <a:pt x="8963" y="5094"/>
                </a:cubicBezTo>
                <a:close/>
                <a:moveTo>
                  <a:pt x="9118" y="4868"/>
                </a:moveTo>
                <a:cubicBezTo>
                  <a:pt x="9088" y="4868"/>
                  <a:pt x="9064" y="4919"/>
                  <a:pt x="9064" y="4981"/>
                </a:cubicBezTo>
                <a:cubicBezTo>
                  <a:pt x="9064" y="5044"/>
                  <a:pt x="9088" y="5094"/>
                  <a:pt x="9118" y="5094"/>
                </a:cubicBezTo>
                <a:cubicBezTo>
                  <a:pt x="9147" y="5094"/>
                  <a:pt x="9171" y="5044"/>
                  <a:pt x="9171" y="4981"/>
                </a:cubicBezTo>
                <a:cubicBezTo>
                  <a:pt x="9171" y="4919"/>
                  <a:pt x="9147" y="4868"/>
                  <a:pt x="9118" y="4868"/>
                </a:cubicBezTo>
                <a:close/>
                <a:moveTo>
                  <a:pt x="9575" y="5406"/>
                </a:moveTo>
                <a:cubicBezTo>
                  <a:pt x="9604" y="5406"/>
                  <a:pt x="9628" y="5355"/>
                  <a:pt x="9628" y="5293"/>
                </a:cubicBezTo>
                <a:cubicBezTo>
                  <a:pt x="9628" y="5230"/>
                  <a:pt x="9604" y="5179"/>
                  <a:pt x="9575" y="5179"/>
                </a:cubicBezTo>
                <a:cubicBezTo>
                  <a:pt x="9545" y="5179"/>
                  <a:pt x="9521" y="5230"/>
                  <a:pt x="9521" y="5293"/>
                </a:cubicBezTo>
                <a:cubicBezTo>
                  <a:pt x="9521" y="5355"/>
                  <a:pt x="9545" y="5406"/>
                  <a:pt x="9575" y="5406"/>
                </a:cubicBezTo>
                <a:close/>
                <a:moveTo>
                  <a:pt x="9419" y="5406"/>
                </a:moveTo>
                <a:cubicBezTo>
                  <a:pt x="9449" y="5406"/>
                  <a:pt x="9473" y="5355"/>
                  <a:pt x="9473" y="5293"/>
                </a:cubicBezTo>
                <a:cubicBezTo>
                  <a:pt x="9473" y="5230"/>
                  <a:pt x="9449" y="5179"/>
                  <a:pt x="9419" y="5179"/>
                </a:cubicBezTo>
                <a:cubicBezTo>
                  <a:pt x="9390" y="5179"/>
                  <a:pt x="9366" y="5230"/>
                  <a:pt x="9366" y="5293"/>
                </a:cubicBezTo>
                <a:cubicBezTo>
                  <a:pt x="9366" y="5355"/>
                  <a:pt x="9390" y="5406"/>
                  <a:pt x="9419" y="5406"/>
                </a:cubicBezTo>
                <a:close/>
                <a:moveTo>
                  <a:pt x="9273" y="5179"/>
                </a:moveTo>
                <a:cubicBezTo>
                  <a:pt x="9243" y="5179"/>
                  <a:pt x="9219" y="5230"/>
                  <a:pt x="9219" y="5293"/>
                </a:cubicBezTo>
                <a:cubicBezTo>
                  <a:pt x="9219" y="5355"/>
                  <a:pt x="9243" y="5406"/>
                  <a:pt x="9273" y="5406"/>
                </a:cubicBezTo>
                <a:cubicBezTo>
                  <a:pt x="9302" y="5406"/>
                  <a:pt x="9326" y="5355"/>
                  <a:pt x="9326" y="5293"/>
                </a:cubicBezTo>
                <a:cubicBezTo>
                  <a:pt x="9326" y="5230"/>
                  <a:pt x="9302" y="5179"/>
                  <a:pt x="9273" y="5179"/>
                </a:cubicBezTo>
                <a:close/>
                <a:moveTo>
                  <a:pt x="9118" y="5179"/>
                </a:moveTo>
                <a:cubicBezTo>
                  <a:pt x="9088" y="5179"/>
                  <a:pt x="9064" y="5230"/>
                  <a:pt x="9064" y="5293"/>
                </a:cubicBezTo>
                <a:cubicBezTo>
                  <a:pt x="9064" y="5355"/>
                  <a:pt x="9088" y="5406"/>
                  <a:pt x="9118" y="5406"/>
                </a:cubicBezTo>
                <a:cubicBezTo>
                  <a:pt x="9147" y="5406"/>
                  <a:pt x="9171" y="5355"/>
                  <a:pt x="9171" y="5293"/>
                </a:cubicBezTo>
                <a:cubicBezTo>
                  <a:pt x="9171" y="5230"/>
                  <a:pt x="9147" y="5179"/>
                  <a:pt x="9118" y="5179"/>
                </a:cubicBezTo>
                <a:close/>
                <a:moveTo>
                  <a:pt x="9575" y="5717"/>
                </a:moveTo>
                <a:cubicBezTo>
                  <a:pt x="9604" y="5717"/>
                  <a:pt x="9628" y="5667"/>
                  <a:pt x="9628" y="5604"/>
                </a:cubicBezTo>
                <a:cubicBezTo>
                  <a:pt x="9628" y="5542"/>
                  <a:pt x="9604" y="5491"/>
                  <a:pt x="9575" y="5491"/>
                </a:cubicBezTo>
                <a:cubicBezTo>
                  <a:pt x="9545" y="5491"/>
                  <a:pt x="9521" y="5542"/>
                  <a:pt x="9521" y="5604"/>
                </a:cubicBezTo>
                <a:cubicBezTo>
                  <a:pt x="9521" y="5667"/>
                  <a:pt x="9545" y="5717"/>
                  <a:pt x="9575" y="5717"/>
                </a:cubicBezTo>
                <a:close/>
                <a:moveTo>
                  <a:pt x="9419" y="5717"/>
                </a:moveTo>
                <a:cubicBezTo>
                  <a:pt x="9449" y="5717"/>
                  <a:pt x="9473" y="5667"/>
                  <a:pt x="9473" y="5604"/>
                </a:cubicBezTo>
                <a:cubicBezTo>
                  <a:pt x="9473" y="5542"/>
                  <a:pt x="9449" y="5491"/>
                  <a:pt x="9419" y="5491"/>
                </a:cubicBezTo>
                <a:cubicBezTo>
                  <a:pt x="9390" y="5491"/>
                  <a:pt x="9366" y="5542"/>
                  <a:pt x="9366" y="5604"/>
                </a:cubicBezTo>
                <a:cubicBezTo>
                  <a:pt x="9366" y="5667"/>
                  <a:pt x="9390" y="5717"/>
                  <a:pt x="9419" y="5717"/>
                </a:cubicBezTo>
                <a:close/>
                <a:moveTo>
                  <a:pt x="9273" y="5491"/>
                </a:moveTo>
                <a:cubicBezTo>
                  <a:pt x="9243" y="5491"/>
                  <a:pt x="9219" y="5542"/>
                  <a:pt x="9219" y="5604"/>
                </a:cubicBezTo>
                <a:cubicBezTo>
                  <a:pt x="9219" y="5667"/>
                  <a:pt x="9243" y="5717"/>
                  <a:pt x="9273" y="5717"/>
                </a:cubicBezTo>
                <a:cubicBezTo>
                  <a:pt x="9302" y="5717"/>
                  <a:pt x="9326" y="5667"/>
                  <a:pt x="9326" y="5604"/>
                </a:cubicBezTo>
                <a:cubicBezTo>
                  <a:pt x="9326" y="5542"/>
                  <a:pt x="9302" y="5491"/>
                  <a:pt x="9273" y="5491"/>
                </a:cubicBezTo>
                <a:close/>
                <a:moveTo>
                  <a:pt x="9118" y="5491"/>
                </a:moveTo>
                <a:cubicBezTo>
                  <a:pt x="9088" y="5491"/>
                  <a:pt x="9064" y="5542"/>
                  <a:pt x="9064" y="5604"/>
                </a:cubicBezTo>
                <a:cubicBezTo>
                  <a:pt x="9064" y="5667"/>
                  <a:pt x="9088" y="5717"/>
                  <a:pt x="9118" y="5717"/>
                </a:cubicBezTo>
                <a:cubicBezTo>
                  <a:pt x="9147" y="5717"/>
                  <a:pt x="9171" y="5667"/>
                  <a:pt x="9171" y="5604"/>
                </a:cubicBezTo>
                <a:cubicBezTo>
                  <a:pt x="9171" y="5542"/>
                  <a:pt x="9147" y="5491"/>
                  <a:pt x="9118" y="5491"/>
                </a:cubicBezTo>
                <a:close/>
                <a:moveTo>
                  <a:pt x="9273" y="5802"/>
                </a:moveTo>
                <a:cubicBezTo>
                  <a:pt x="9243" y="5802"/>
                  <a:pt x="9219" y="5853"/>
                  <a:pt x="9219" y="5916"/>
                </a:cubicBezTo>
                <a:cubicBezTo>
                  <a:pt x="9219" y="5978"/>
                  <a:pt x="9243" y="6029"/>
                  <a:pt x="9273" y="6029"/>
                </a:cubicBezTo>
                <a:cubicBezTo>
                  <a:pt x="9302" y="6029"/>
                  <a:pt x="9326" y="5978"/>
                  <a:pt x="9326" y="5916"/>
                </a:cubicBezTo>
                <a:cubicBezTo>
                  <a:pt x="9326" y="5853"/>
                  <a:pt x="9302" y="5802"/>
                  <a:pt x="9273" y="5802"/>
                </a:cubicBezTo>
                <a:close/>
                <a:moveTo>
                  <a:pt x="9118" y="5802"/>
                </a:moveTo>
                <a:cubicBezTo>
                  <a:pt x="9088" y="5802"/>
                  <a:pt x="9064" y="5853"/>
                  <a:pt x="9064" y="5916"/>
                </a:cubicBezTo>
                <a:cubicBezTo>
                  <a:pt x="9064" y="5978"/>
                  <a:pt x="9088" y="6029"/>
                  <a:pt x="9118" y="6029"/>
                </a:cubicBezTo>
                <a:cubicBezTo>
                  <a:pt x="9147" y="6029"/>
                  <a:pt x="9171" y="5978"/>
                  <a:pt x="9171" y="5916"/>
                </a:cubicBezTo>
                <a:cubicBezTo>
                  <a:pt x="9171" y="5853"/>
                  <a:pt x="9147" y="5802"/>
                  <a:pt x="9118" y="5802"/>
                </a:cubicBezTo>
                <a:close/>
                <a:moveTo>
                  <a:pt x="8811" y="6158"/>
                </a:moveTo>
                <a:cubicBezTo>
                  <a:pt x="8782" y="6158"/>
                  <a:pt x="8758" y="6209"/>
                  <a:pt x="8758" y="6272"/>
                </a:cubicBezTo>
                <a:cubicBezTo>
                  <a:pt x="8758" y="6334"/>
                  <a:pt x="8782" y="6385"/>
                  <a:pt x="8811" y="6385"/>
                </a:cubicBezTo>
                <a:cubicBezTo>
                  <a:pt x="8841" y="6385"/>
                  <a:pt x="8865" y="6334"/>
                  <a:pt x="8865" y="6272"/>
                </a:cubicBezTo>
                <a:cubicBezTo>
                  <a:pt x="8865" y="6209"/>
                  <a:pt x="8841" y="6158"/>
                  <a:pt x="8811" y="6158"/>
                </a:cubicBezTo>
                <a:close/>
                <a:moveTo>
                  <a:pt x="8518" y="6158"/>
                </a:moveTo>
                <a:cubicBezTo>
                  <a:pt x="8488" y="6158"/>
                  <a:pt x="8464" y="6209"/>
                  <a:pt x="8464" y="6272"/>
                </a:cubicBezTo>
                <a:cubicBezTo>
                  <a:pt x="8464" y="6334"/>
                  <a:pt x="8488" y="6385"/>
                  <a:pt x="8518" y="6385"/>
                </a:cubicBezTo>
                <a:cubicBezTo>
                  <a:pt x="8547" y="6385"/>
                  <a:pt x="8571" y="6334"/>
                  <a:pt x="8571" y="6272"/>
                </a:cubicBezTo>
                <a:cubicBezTo>
                  <a:pt x="8571" y="6209"/>
                  <a:pt x="8547" y="6158"/>
                  <a:pt x="8518" y="6158"/>
                </a:cubicBezTo>
                <a:close/>
                <a:moveTo>
                  <a:pt x="8659" y="6158"/>
                </a:moveTo>
                <a:cubicBezTo>
                  <a:pt x="8629" y="6158"/>
                  <a:pt x="8605" y="6209"/>
                  <a:pt x="8605" y="6272"/>
                </a:cubicBezTo>
                <a:cubicBezTo>
                  <a:pt x="8605" y="6334"/>
                  <a:pt x="8629" y="6385"/>
                  <a:pt x="8659" y="6385"/>
                </a:cubicBezTo>
                <a:cubicBezTo>
                  <a:pt x="8688" y="6385"/>
                  <a:pt x="8712" y="6334"/>
                  <a:pt x="8712" y="6272"/>
                </a:cubicBezTo>
                <a:cubicBezTo>
                  <a:pt x="8712" y="6209"/>
                  <a:pt x="8688" y="6158"/>
                  <a:pt x="8659" y="6158"/>
                </a:cubicBezTo>
                <a:close/>
                <a:moveTo>
                  <a:pt x="8965" y="6158"/>
                </a:moveTo>
                <a:cubicBezTo>
                  <a:pt x="8935" y="6158"/>
                  <a:pt x="8911" y="6209"/>
                  <a:pt x="8911" y="6272"/>
                </a:cubicBezTo>
                <a:cubicBezTo>
                  <a:pt x="8911" y="6334"/>
                  <a:pt x="8935" y="6385"/>
                  <a:pt x="8965" y="6385"/>
                </a:cubicBezTo>
                <a:cubicBezTo>
                  <a:pt x="8995" y="6385"/>
                  <a:pt x="9019" y="6334"/>
                  <a:pt x="9019" y="6272"/>
                </a:cubicBezTo>
                <a:cubicBezTo>
                  <a:pt x="9019" y="6209"/>
                  <a:pt x="8995" y="6158"/>
                  <a:pt x="8965" y="6158"/>
                </a:cubicBezTo>
                <a:close/>
                <a:moveTo>
                  <a:pt x="8811" y="6455"/>
                </a:moveTo>
                <a:cubicBezTo>
                  <a:pt x="8782" y="6455"/>
                  <a:pt x="8758" y="6506"/>
                  <a:pt x="8758" y="6568"/>
                </a:cubicBezTo>
                <a:cubicBezTo>
                  <a:pt x="8758" y="6631"/>
                  <a:pt x="8782" y="6681"/>
                  <a:pt x="8811" y="6681"/>
                </a:cubicBezTo>
                <a:cubicBezTo>
                  <a:pt x="8841" y="6681"/>
                  <a:pt x="8865" y="6631"/>
                  <a:pt x="8865" y="6568"/>
                </a:cubicBezTo>
                <a:cubicBezTo>
                  <a:pt x="8865" y="6506"/>
                  <a:pt x="8841" y="6455"/>
                  <a:pt x="8811" y="6455"/>
                </a:cubicBezTo>
                <a:close/>
                <a:moveTo>
                  <a:pt x="8659" y="6455"/>
                </a:moveTo>
                <a:cubicBezTo>
                  <a:pt x="8629" y="6455"/>
                  <a:pt x="8605" y="6506"/>
                  <a:pt x="8605" y="6568"/>
                </a:cubicBezTo>
                <a:cubicBezTo>
                  <a:pt x="8605" y="6631"/>
                  <a:pt x="8629" y="6681"/>
                  <a:pt x="8659" y="6681"/>
                </a:cubicBezTo>
                <a:cubicBezTo>
                  <a:pt x="8688" y="6681"/>
                  <a:pt x="8712" y="6631"/>
                  <a:pt x="8712" y="6568"/>
                </a:cubicBezTo>
                <a:cubicBezTo>
                  <a:pt x="8712" y="6506"/>
                  <a:pt x="8688" y="6455"/>
                  <a:pt x="8659" y="6455"/>
                </a:cubicBezTo>
                <a:close/>
                <a:moveTo>
                  <a:pt x="8965" y="6455"/>
                </a:moveTo>
                <a:cubicBezTo>
                  <a:pt x="8935" y="6455"/>
                  <a:pt x="8911" y="6506"/>
                  <a:pt x="8911" y="6568"/>
                </a:cubicBezTo>
                <a:cubicBezTo>
                  <a:pt x="8911" y="6631"/>
                  <a:pt x="8935" y="6681"/>
                  <a:pt x="8965" y="6681"/>
                </a:cubicBezTo>
                <a:cubicBezTo>
                  <a:pt x="8995" y="6681"/>
                  <a:pt x="9019" y="6631"/>
                  <a:pt x="9019" y="6568"/>
                </a:cubicBezTo>
                <a:cubicBezTo>
                  <a:pt x="9019" y="6506"/>
                  <a:pt x="8995" y="6455"/>
                  <a:pt x="8965" y="6455"/>
                </a:cubicBezTo>
                <a:close/>
                <a:moveTo>
                  <a:pt x="8811" y="7108"/>
                </a:moveTo>
                <a:cubicBezTo>
                  <a:pt x="8782" y="7108"/>
                  <a:pt x="8758" y="7158"/>
                  <a:pt x="8758" y="7221"/>
                </a:cubicBezTo>
                <a:cubicBezTo>
                  <a:pt x="8758" y="7283"/>
                  <a:pt x="8782" y="7334"/>
                  <a:pt x="8811" y="7334"/>
                </a:cubicBezTo>
                <a:cubicBezTo>
                  <a:pt x="8841" y="7334"/>
                  <a:pt x="8865" y="7283"/>
                  <a:pt x="8865" y="7221"/>
                </a:cubicBezTo>
                <a:cubicBezTo>
                  <a:pt x="8865" y="7158"/>
                  <a:pt x="8841" y="7108"/>
                  <a:pt x="8811" y="7108"/>
                </a:cubicBezTo>
                <a:close/>
                <a:moveTo>
                  <a:pt x="8659" y="7108"/>
                </a:moveTo>
                <a:cubicBezTo>
                  <a:pt x="8629" y="7108"/>
                  <a:pt x="8605" y="7158"/>
                  <a:pt x="8605" y="7221"/>
                </a:cubicBezTo>
                <a:cubicBezTo>
                  <a:pt x="8605" y="7283"/>
                  <a:pt x="8629" y="7334"/>
                  <a:pt x="8659" y="7334"/>
                </a:cubicBezTo>
                <a:cubicBezTo>
                  <a:pt x="8688" y="7334"/>
                  <a:pt x="8712" y="7283"/>
                  <a:pt x="8712" y="7221"/>
                </a:cubicBezTo>
                <a:cubicBezTo>
                  <a:pt x="8712" y="7158"/>
                  <a:pt x="8688" y="7108"/>
                  <a:pt x="8659" y="7108"/>
                </a:cubicBezTo>
                <a:close/>
                <a:moveTo>
                  <a:pt x="9272" y="6796"/>
                </a:moveTo>
                <a:cubicBezTo>
                  <a:pt x="9242" y="6796"/>
                  <a:pt x="9218" y="6847"/>
                  <a:pt x="9218" y="6909"/>
                </a:cubicBezTo>
                <a:cubicBezTo>
                  <a:pt x="9218" y="6972"/>
                  <a:pt x="9242" y="7022"/>
                  <a:pt x="9272" y="7022"/>
                </a:cubicBezTo>
                <a:cubicBezTo>
                  <a:pt x="9301" y="7022"/>
                  <a:pt x="9325" y="6972"/>
                  <a:pt x="9325" y="6909"/>
                </a:cubicBezTo>
                <a:cubicBezTo>
                  <a:pt x="9325" y="6847"/>
                  <a:pt x="9301" y="6796"/>
                  <a:pt x="9272" y="6796"/>
                </a:cubicBezTo>
                <a:close/>
                <a:moveTo>
                  <a:pt x="9118" y="6144"/>
                </a:moveTo>
                <a:cubicBezTo>
                  <a:pt x="9088" y="6144"/>
                  <a:pt x="9064" y="6194"/>
                  <a:pt x="9064" y="6257"/>
                </a:cubicBezTo>
                <a:cubicBezTo>
                  <a:pt x="9064" y="6319"/>
                  <a:pt x="9088" y="6370"/>
                  <a:pt x="9118" y="6370"/>
                </a:cubicBezTo>
                <a:cubicBezTo>
                  <a:pt x="9147" y="6370"/>
                  <a:pt x="9171" y="6319"/>
                  <a:pt x="9171" y="6257"/>
                </a:cubicBezTo>
                <a:cubicBezTo>
                  <a:pt x="9171" y="6194"/>
                  <a:pt x="9147" y="6144"/>
                  <a:pt x="9118" y="6144"/>
                </a:cubicBezTo>
                <a:close/>
                <a:moveTo>
                  <a:pt x="9118" y="6796"/>
                </a:moveTo>
                <a:cubicBezTo>
                  <a:pt x="9088" y="6796"/>
                  <a:pt x="9064" y="6847"/>
                  <a:pt x="9064" y="6909"/>
                </a:cubicBezTo>
                <a:cubicBezTo>
                  <a:pt x="9064" y="6972"/>
                  <a:pt x="9088" y="7022"/>
                  <a:pt x="9118" y="7022"/>
                </a:cubicBezTo>
                <a:cubicBezTo>
                  <a:pt x="9147" y="7022"/>
                  <a:pt x="9171" y="6972"/>
                  <a:pt x="9171" y="6909"/>
                </a:cubicBezTo>
                <a:cubicBezTo>
                  <a:pt x="9171" y="6847"/>
                  <a:pt x="9147" y="6796"/>
                  <a:pt x="9118" y="6796"/>
                </a:cubicBezTo>
                <a:close/>
                <a:moveTo>
                  <a:pt x="9737" y="6796"/>
                </a:moveTo>
                <a:cubicBezTo>
                  <a:pt x="9707" y="6796"/>
                  <a:pt x="9683" y="6847"/>
                  <a:pt x="9683" y="6909"/>
                </a:cubicBezTo>
                <a:cubicBezTo>
                  <a:pt x="9683" y="6972"/>
                  <a:pt x="9707" y="7022"/>
                  <a:pt x="9737" y="7022"/>
                </a:cubicBezTo>
                <a:cubicBezTo>
                  <a:pt x="9766" y="7022"/>
                  <a:pt x="9791" y="6972"/>
                  <a:pt x="9791" y="6909"/>
                </a:cubicBezTo>
                <a:cubicBezTo>
                  <a:pt x="9791" y="6847"/>
                  <a:pt x="9766" y="6796"/>
                  <a:pt x="9737" y="6796"/>
                </a:cubicBezTo>
                <a:close/>
                <a:moveTo>
                  <a:pt x="9583" y="6796"/>
                </a:moveTo>
                <a:cubicBezTo>
                  <a:pt x="9553" y="6796"/>
                  <a:pt x="9529" y="6847"/>
                  <a:pt x="9529" y="6909"/>
                </a:cubicBezTo>
                <a:cubicBezTo>
                  <a:pt x="9529" y="6972"/>
                  <a:pt x="9553" y="7022"/>
                  <a:pt x="9583" y="7022"/>
                </a:cubicBezTo>
                <a:cubicBezTo>
                  <a:pt x="9612" y="7022"/>
                  <a:pt x="9637" y="6972"/>
                  <a:pt x="9637" y="6909"/>
                </a:cubicBezTo>
                <a:cubicBezTo>
                  <a:pt x="9637" y="6847"/>
                  <a:pt x="9612" y="6796"/>
                  <a:pt x="9583" y="6796"/>
                </a:cubicBezTo>
                <a:close/>
                <a:moveTo>
                  <a:pt x="9430" y="6796"/>
                </a:moveTo>
                <a:cubicBezTo>
                  <a:pt x="9400" y="6796"/>
                  <a:pt x="9376" y="6847"/>
                  <a:pt x="9376" y="6909"/>
                </a:cubicBezTo>
                <a:cubicBezTo>
                  <a:pt x="9376" y="6972"/>
                  <a:pt x="9400" y="7022"/>
                  <a:pt x="9430" y="7022"/>
                </a:cubicBezTo>
                <a:cubicBezTo>
                  <a:pt x="9460" y="7022"/>
                  <a:pt x="9484" y="6972"/>
                  <a:pt x="9484" y="6909"/>
                </a:cubicBezTo>
                <a:cubicBezTo>
                  <a:pt x="9484" y="6847"/>
                  <a:pt x="9460" y="6796"/>
                  <a:pt x="9430" y="6796"/>
                </a:cubicBezTo>
                <a:close/>
                <a:moveTo>
                  <a:pt x="9272" y="7108"/>
                </a:moveTo>
                <a:cubicBezTo>
                  <a:pt x="9242" y="7108"/>
                  <a:pt x="9218" y="7158"/>
                  <a:pt x="9218" y="7221"/>
                </a:cubicBezTo>
                <a:cubicBezTo>
                  <a:pt x="9218" y="7283"/>
                  <a:pt x="9242" y="7334"/>
                  <a:pt x="9272" y="7334"/>
                </a:cubicBezTo>
                <a:cubicBezTo>
                  <a:pt x="9301" y="7334"/>
                  <a:pt x="9325" y="7283"/>
                  <a:pt x="9325" y="7221"/>
                </a:cubicBezTo>
                <a:cubicBezTo>
                  <a:pt x="9325" y="7158"/>
                  <a:pt x="9301" y="7108"/>
                  <a:pt x="9272" y="7108"/>
                </a:cubicBezTo>
                <a:close/>
                <a:moveTo>
                  <a:pt x="9118" y="7108"/>
                </a:moveTo>
                <a:cubicBezTo>
                  <a:pt x="9088" y="7108"/>
                  <a:pt x="9064" y="7158"/>
                  <a:pt x="9064" y="7221"/>
                </a:cubicBezTo>
                <a:cubicBezTo>
                  <a:pt x="9064" y="7283"/>
                  <a:pt x="9088" y="7334"/>
                  <a:pt x="9118" y="7334"/>
                </a:cubicBezTo>
                <a:cubicBezTo>
                  <a:pt x="9147" y="7334"/>
                  <a:pt x="9171" y="7283"/>
                  <a:pt x="9171" y="7221"/>
                </a:cubicBezTo>
                <a:cubicBezTo>
                  <a:pt x="9171" y="7158"/>
                  <a:pt x="9147" y="7108"/>
                  <a:pt x="9118" y="7108"/>
                </a:cubicBezTo>
                <a:close/>
                <a:moveTo>
                  <a:pt x="8965" y="7108"/>
                </a:moveTo>
                <a:cubicBezTo>
                  <a:pt x="8935" y="7108"/>
                  <a:pt x="8911" y="7158"/>
                  <a:pt x="8911" y="7221"/>
                </a:cubicBezTo>
                <a:cubicBezTo>
                  <a:pt x="8911" y="7283"/>
                  <a:pt x="8935" y="7334"/>
                  <a:pt x="8965" y="7334"/>
                </a:cubicBezTo>
                <a:cubicBezTo>
                  <a:pt x="8995" y="7334"/>
                  <a:pt x="9019" y="7283"/>
                  <a:pt x="9019" y="7221"/>
                </a:cubicBezTo>
                <a:cubicBezTo>
                  <a:pt x="9019" y="7158"/>
                  <a:pt x="8995" y="7108"/>
                  <a:pt x="8965" y="7108"/>
                </a:cubicBezTo>
                <a:close/>
                <a:moveTo>
                  <a:pt x="9737" y="7108"/>
                </a:moveTo>
                <a:cubicBezTo>
                  <a:pt x="9707" y="7108"/>
                  <a:pt x="9683" y="7158"/>
                  <a:pt x="9683" y="7221"/>
                </a:cubicBezTo>
                <a:cubicBezTo>
                  <a:pt x="9683" y="7283"/>
                  <a:pt x="9707" y="7334"/>
                  <a:pt x="9737" y="7334"/>
                </a:cubicBezTo>
                <a:cubicBezTo>
                  <a:pt x="9766" y="7334"/>
                  <a:pt x="9791" y="7283"/>
                  <a:pt x="9791" y="7221"/>
                </a:cubicBezTo>
                <a:cubicBezTo>
                  <a:pt x="9791" y="7158"/>
                  <a:pt x="9766" y="7108"/>
                  <a:pt x="9737" y="7108"/>
                </a:cubicBezTo>
                <a:close/>
                <a:moveTo>
                  <a:pt x="9583" y="7108"/>
                </a:moveTo>
                <a:cubicBezTo>
                  <a:pt x="9553" y="7108"/>
                  <a:pt x="9529" y="7158"/>
                  <a:pt x="9529" y="7221"/>
                </a:cubicBezTo>
                <a:cubicBezTo>
                  <a:pt x="9529" y="7283"/>
                  <a:pt x="9553" y="7334"/>
                  <a:pt x="9583" y="7334"/>
                </a:cubicBezTo>
                <a:cubicBezTo>
                  <a:pt x="9612" y="7334"/>
                  <a:pt x="9637" y="7283"/>
                  <a:pt x="9637" y="7221"/>
                </a:cubicBezTo>
                <a:cubicBezTo>
                  <a:pt x="9637" y="7158"/>
                  <a:pt x="9612" y="7108"/>
                  <a:pt x="9583" y="7108"/>
                </a:cubicBezTo>
                <a:close/>
                <a:moveTo>
                  <a:pt x="9430" y="7108"/>
                </a:moveTo>
                <a:cubicBezTo>
                  <a:pt x="9400" y="7108"/>
                  <a:pt x="9376" y="7158"/>
                  <a:pt x="9376" y="7221"/>
                </a:cubicBezTo>
                <a:cubicBezTo>
                  <a:pt x="9376" y="7283"/>
                  <a:pt x="9400" y="7334"/>
                  <a:pt x="9430" y="7334"/>
                </a:cubicBezTo>
                <a:cubicBezTo>
                  <a:pt x="9460" y="7334"/>
                  <a:pt x="9484" y="7283"/>
                  <a:pt x="9484" y="7221"/>
                </a:cubicBezTo>
                <a:cubicBezTo>
                  <a:pt x="9484" y="7158"/>
                  <a:pt x="9460" y="7108"/>
                  <a:pt x="9430" y="7108"/>
                </a:cubicBezTo>
                <a:close/>
                <a:moveTo>
                  <a:pt x="8811" y="7449"/>
                </a:moveTo>
                <a:cubicBezTo>
                  <a:pt x="8782" y="7449"/>
                  <a:pt x="8758" y="7499"/>
                  <a:pt x="8758" y="7562"/>
                </a:cubicBezTo>
                <a:cubicBezTo>
                  <a:pt x="8758" y="7624"/>
                  <a:pt x="8782" y="7675"/>
                  <a:pt x="8811" y="7675"/>
                </a:cubicBezTo>
                <a:cubicBezTo>
                  <a:pt x="8841" y="7675"/>
                  <a:pt x="8865" y="7624"/>
                  <a:pt x="8865" y="7562"/>
                </a:cubicBezTo>
                <a:cubicBezTo>
                  <a:pt x="8865" y="7499"/>
                  <a:pt x="8841" y="7449"/>
                  <a:pt x="8811" y="7449"/>
                </a:cubicBezTo>
                <a:close/>
                <a:moveTo>
                  <a:pt x="8659" y="7449"/>
                </a:moveTo>
                <a:cubicBezTo>
                  <a:pt x="8629" y="7449"/>
                  <a:pt x="8605" y="7499"/>
                  <a:pt x="8605" y="7562"/>
                </a:cubicBezTo>
                <a:cubicBezTo>
                  <a:pt x="8605" y="7624"/>
                  <a:pt x="8629" y="7675"/>
                  <a:pt x="8659" y="7675"/>
                </a:cubicBezTo>
                <a:cubicBezTo>
                  <a:pt x="8688" y="7675"/>
                  <a:pt x="8712" y="7624"/>
                  <a:pt x="8712" y="7562"/>
                </a:cubicBezTo>
                <a:cubicBezTo>
                  <a:pt x="8712" y="7499"/>
                  <a:pt x="8688" y="7449"/>
                  <a:pt x="8659" y="7449"/>
                </a:cubicBezTo>
                <a:close/>
                <a:moveTo>
                  <a:pt x="8503" y="7449"/>
                </a:moveTo>
                <a:cubicBezTo>
                  <a:pt x="8474" y="7449"/>
                  <a:pt x="8450" y="7499"/>
                  <a:pt x="8450" y="7562"/>
                </a:cubicBezTo>
                <a:cubicBezTo>
                  <a:pt x="8450" y="7624"/>
                  <a:pt x="8474" y="7675"/>
                  <a:pt x="8503" y="7675"/>
                </a:cubicBezTo>
                <a:cubicBezTo>
                  <a:pt x="8533" y="7675"/>
                  <a:pt x="8557" y="7624"/>
                  <a:pt x="8557" y="7562"/>
                </a:cubicBezTo>
                <a:cubicBezTo>
                  <a:pt x="8557" y="7499"/>
                  <a:pt x="8533" y="7449"/>
                  <a:pt x="8503" y="7449"/>
                </a:cubicBezTo>
                <a:close/>
                <a:moveTo>
                  <a:pt x="9272" y="7449"/>
                </a:moveTo>
                <a:cubicBezTo>
                  <a:pt x="9242" y="7449"/>
                  <a:pt x="9218" y="7499"/>
                  <a:pt x="9218" y="7562"/>
                </a:cubicBezTo>
                <a:cubicBezTo>
                  <a:pt x="9218" y="7624"/>
                  <a:pt x="9242" y="7675"/>
                  <a:pt x="9272" y="7675"/>
                </a:cubicBezTo>
                <a:cubicBezTo>
                  <a:pt x="9301" y="7675"/>
                  <a:pt x="9325" y="7624"/>
                  <a:pt x="9325" y="7562"/>
                </a:cubicBezTo>
                <a:cubicBezTo>
                  <a:pt x="9325" y="7499"/>
                  <a:pt x="9301" y="7449"/>
                  <a:pt x="9272" y="7449"/>
                </a:cubicBezTo>
                <a:close/>
                <a:moveTo>
                  <a:pt x="9118" y="7449"/>
                </a:moveTo>
                <a:cubicBezTo>
                  <a:pt x="9088" y="7449"/>
                  <a:pt x="9064" y="7499"/>
                  <a:pt x="9064" y="7562"/>
                </a:cubicBezTo>
                <a:cubicBezTo>
                  <a:pt x="9064" y="7624"/>
                  <a:pt x="9088" y="7675"/>
                  <a:pt x="9118" y="7675"/>
                </a:cubicBezTo>
                <a:cubicBezTo>
                  <a:pt x="9147" y="7675"/>
                  <a:pt x="9171" y="7624"/>
                  <a:pt x="9171" y="7562"/>
                </a:cubicBezTo>
                <a:cubicBezTo>
                  <a:pt x="9171" y="7499"/>
                  <a:pt x="9147" y="7449"/>
                  <a:pt x="9118" y="7449"/>
                </a:cubicBezTo>
                <a:close/>
                <a:moveTo>
                  <a:pt x="8965" y="7449"/>
                </a:moveTo>
                <a:cubicBezTo>
                  <a:pt x="8935" y="7449"/>
                  <a:pt x="8911" y="7499"/>
                  <a:pt x="8911" y="7562"/>
                </a:cubicBezTo>
                <a:cubicBezTo>
                  <a:pt x="8911" y="7624"/>
                  <a:pt x="8935" y="7675"/>
                  <a:pt x="8965" y="7675"/>
                </a:cubicBezTo>
                <a:cubicBezTo>
                  <a:pt x="8995" y="7675"/>
                  <a:pt x="9019" y="7624"/>
                  <a:pt x="9019" y="7562"/>
                </a:cubicBezTo>
                <a:cubicBezTo>
                  <a:pt x="9019" y="7499"/>
                  <a:pt x="8995" y="7449"/>
                  <a:pt x="8965" y="7449"/>
                </a:cubicBezTo>
                <a:close/>
                <a:moveTo>
                  <a:pt x="10045" y="7449"/>
                </a:moveTo>
                <a:cubicBezTo>
                  <a:pt x="10015" y="7449"/>
                  <a:pt x="9991" y="7499"/>
                  <a:pt x="9991" y="7562"/>
                </a:cubicBezTo>
                <a:cubicBezTo>
                  <a:pt x="9991" y="7624"/>
                  <a:pt x="10015" y="7675"/>
                  <a:pt x="10045" y="7675"/>
                </a:cubicBezTo>
                <a:cubicBezTo>
                  <a:pt x="10074" y="7675"/>
                  <a:pt x="10098" y="7624"/>
                  <a:pt x="10098" y="7562"/>
                </a:cubicBezTo>
                <a:cubicBezTo>
                  <a:pt x="10098" y="7499"/>
                  <a:pt x="10074" y="7449"/>
                  <a:pt x="10045" y="7449"/>
                </a:cubicBezTo>
                <a:close/>
                <a:moveTo>
                  <a:pt x="9892" y="7675"/>
                </a:moveTo>
                <a:cubicBezTo>
                  <a:pt x="9922" y="7675"/>
                  <a:pt x="9946" y="7624"/>
                  <a:pt x="9946" y="7562"/>
                </a:cubicBezTo>
                <a:cubicBezTo>
                  <a:pt x="9946" y="7499"/>
                  <a:pt x="9922" y="7449"/>
                  <a:pt x="9892" y="7449"/>
                </a:cubicBezTo>
                <a:cubicBezTo>
                  <a:pt x="9862" y="7449"/>
                  <a:pt x="9838" y="7499"/>
                  <a:pt x="9838" y="7562"/>
                </a:cubicBezTo>
                <a:cubicBezTo>
                  <a:pt x="9838" y="7624"/>
                  <a:pt x="9862" y="7675"/>
                  <a:pt x="9892" y="7675"/>
                </a:cubicBezTo>
                <a:close/>
                <a:moveTo>
                  <a:pt x="9737" y="7449"/>
                </a:moveTo>
                <a:cubicBezTo>
                  <a:pt x="9707" y="7449"/>
                  <a:pt x="9683" y="7499"/>
                  <a:pt x="9683" y="7562"/>
                </a:cubicBezTo>
                <a:cubicBezTo>
                  <a:pt x="9683" y="7624"/>
                  <a:pt x="9707" y="7675"/>
                  <a:pt x="9737" y="7675"/>
                </a:cubicBezTo>
                <a:cubicBezTo>
                  <a:pt x="9766" y="7675"/>
                  <a:pt x="9791" y="7624"/>
                  <a:pt x="9791" y="7562"/>
                </a:cubicBezTo>
                <a:cubicBezTo>
                  <a:pt x="9791" y="7499"/>
                  <a:pt x="9766" y="7449"/>
                  <a:pt x="9737" y="7449"/>
                </a:cubicBezTo>
                <a:close/>
                <a:moveTo>
                  <a:pt x="9583" y="7449"/>
                </a:moveTo>
                <a:cubicBezTo>
                  <a:pt x="9553" y="7449"/>
                  <a:pt x="9529" y="7499"/>
                  <a:pt x="9529" y="7562"/>
                </a:cubicBezTo>
                <a:cubicBezTo>
                  <a:pt x="9529" y="7624"/>
                  <a:pt x="9553" y="7675"/>
                  <a:pt x="9583" y="7675"/>
                </a:cubicBezTo>
                <a:cubicBezTo>
                  <a:pt x="9612" y="7675"/>
                  <a:pt x="9637" y="7624"/>
                  <a:pt x="9637" y="7562"/>
                </a:cubicBezTo>
                <a:cubicBezTo>
                  <a:pt x="9637" y="7499"/>
                  <a:pt x="9612" y="7449"/>
                  <a:pt x="9583" y="7449"/>
                </a:cubicBezTo>
                <a:close/>
                <a:moveTo>
                  <a:pt x="9430" y="7449"/>
                </a:moveTo>
                <a:cubicBezTo>
                  <a:pt x="9400" y="7449"/>
                  <a:pt x="9376" y="7499"/>
                  <a:pt x="9376" y="7562"/>
                </a:cubicBezTo>
                <a:cubicBezTo>
                  <a:pt x="9376" y="7624"/>
                  <a:pt x="9400" y="7675"/>
                  <a:pt x="9430" y="7675"/>
                </a:cubicBezTo>
                <a:cubicBezTo>
                  <a:pt x="9460" y="7675"/>
                  <a:pt x="9484" y="7624"/>
                  <a:pt x="9484" y="7562"/>
                </a:cubicBezTo>
                <a:cubicBezTo>
                  <a:pt x="9484" y="7499"/>
                  <a:pt x="9460" y="7449"/>
                  <a:pt x="9430" y="7449"/>
                </a:cubicBezTo>
                <a:close/>
                <a:moveTo>
                  <a:pt x="8811" y="7760"/>
                </a:moveTo>
                <a:cubicBezTo>
                  <a:pt x="8782" y="7760"/>
                  <a:pt x="8758" y="7811"/>
                  <a:pt x="8758" y="7873"/>
                </a:cubicBezTo>
                <a:cubicBezTo>
                  <a:pt x="8758" y="7936"/>
                  <a:pt x="8782" y="7987"/>
                  <a:pt x="8811" y="7987"/>
                </a:cubicBezTo>
                <a:cubicBezTo>
                  <a:pt x="8841" y="7987"/>
                  <a:pt x="8865" y="7936"/>
                  <a:pt x="8865" y="7873"/>
                </a:cubicBezTo>
                <a:cubicBezTo>
                  <a:pt x="8865" y="7811"/>
                  <a:pt x="8841" y="7760"/>
                  <a:pt x="8811" y="7760"/>
                </a:cubicBezTo>
                <a:close/>
                <a:moveTo>
                  <a:pt x="8659" y="7760"/>
                </a:moveTo>
                <a:cubicBezTo>
                  <a:pt x="8629" y="7760"/>
                  <a:pt x="8605" y="7811"/>
                  <a:pt x="8605" y="7873"/>
                </a:cubicBezTo>
                <a:cubicBezTo>
                  <a:pt x="8605" y="7936"/>
                  <a:pt x="8629" y="7987"/>
                  <a:pt x="8659" y="7987"/>
                </a:cubicBezTo>
                <a:cubicBezTo>
                  <a:pt x="8688" y="7987"/>
                  <a:pt x="8712" y="7936"/>
                  <a:pt x="8712" y="7873"/>
                </a:cubicBezTo>
                <a:cubicBezTo>
                  <a:pt x="8712" y="7811"/>
                  <a:pt x="8688" y="7760"/>
                  <a:pt x="8659" y="7760"/>
                </a:cubicBezTo>
                <a:close/>
                <a:moveTo>
                  <a:pt x="8503" y="7760"/>
                </a:moveTo>
                <a:cubicBezTo>
                  <a:pt x="8474" y="7760"/>
                  <a:pt x="8450" y="7811"/>
                  <a:pt x="8450" y="7873"/>
                </a:cubicBezTo>
                <a:cubicBezTo>
                  <a:pt x="8450" y="7936"/>
                  <a:pt x="8474" y="7987"/>
                  <a:pt x="8503" y="7987"/>
                </a:cubicBezTo>
                <a:cubicBezTo>
                  <a:pt x="8533" y="7987"/>
                  <a:pt x="8557" y="7936"/>
                  <a:pt x="8557" y="7873"/>
                </a:cubicBezTo>
                <a:cubicBezTo>
                  <a:pt x="8557" y="7811"/>
                  <a:pt x="8533" y="7760"/>
                  <a:pt x="8503" y="7760"/>
                </a:cubicBezTo>
                <a:close/>
                <a:moveTo>
                  <a:pt x="9272" y="7760"/>
                </a:moveTo>
                <a:cubicBezTo>
                  <a:pt x="9242" y="7760"/>
                  <a:pt x="9218" y="7811"/>
                  <a:pt x="9218" y="7873"/>
                </a:cubicBezTo>
                <a:cubicBezTo>
                  <a:pt x="9218" y="7936"/>
                  <a:pt x="9242" y="7987"/>
                  <a:pt x="9272" y="7987"/>
                </a:cubicBezTo>
                <a:cubicBezTo>
                  <a:pt x="9301" y="7987"/>
                  <a:pt x="9325" y="7936"/>
                  <a:pt x="9325" y="7873"/>
                </a:cubicBezTo>
                <a:cubicBezTo>
                  <a:pt x="9325" y="7811"/>
                  <a:pt x="9301" y="7760"/>
                  <a:pt x="9272" y="7760"/>
                </a:cubicBezTo>
                <a:close/>
                <a:moveTo>
                  <a:pt x="9118" y="7760"/>
                </a:moveTo>
                <a:cubicBezTo>
                  <a:pt x="9088" y="7760"/>
                  <a:pt x="9064" y="7811"/>
                  <a:pt x="9064" y="7873"/>
                </a:cubicBezTo>
                <a:cubicBezTo>
                  <a:pt x="9064" y="7936"/>
                  <a:pt x="9088" y="7987"/>
                  <a:pt x="9118" y="7987"/>
                </a:cubicBezTo>
                <a:cubicBezTo>
                  <a:pt x="9147" y="7987"/>
                  <a:pt x="9171" y="7936"/>
                  <a:pt x="9171" y="7873"/>
                </a:cubicBezTo>
                <a:cubicBezTo>
                  <a:pt x="9171" y="7811"/>
                  <a:pt x="9147" y="7760"/>
                  <a:pt x="9118" y="7760"/>
                </a:cubicBezTo>
                <a:close/>
                <a:moveTo>
                  <a:pt x="8965" y="7760"/>
                </a:moveTo>
                <a:cubicBezTo>
                  <a:pt x="8935" y="7760"/>
                  <a:pt x="8911" y="7811"/>
                  <a:pt x="8911" y="7873"/>
                </a:cubicBezTo>
                <a:cubicBezTo>
                  <a:pt x="8911" y="7936"/>
                  <a:pt x="8935" y="7987"/>
                  <a:pt x="8965" y="7987"/>
                </a:cubicBezTo>
                <a:cubicBezTo>
                  <a:pt x="8995" y="7987"/>
                  <a:pt x="9019" y="7936"/>
                  <a:pt x="9019" y="7873"/>
                </a:cubicBezTo>
                <a:cubicBezTo>
                  <a:pt x="9019" y="7811"/>
                  <a:pt x="8995" y="7760"/>
                  <a:pt x="8965" y="7760"/>
                </a:cubicBezTo>
                <a:close/>
                <a:moveTo>
                  <a:pt x="10045" y="7760"/>
                </a:moveTo>
                <a:cubicBezTo>
                  <a:pt x="10015" y="7760"/>
                  <a:pt x="9991" y="7811"/>
                  <a:pt x="9991" y="7873"/>
                </a:cubicBezTo>
                <a:cubicBezTo>
                  <a:pt x="9991" y="7936"/>
                  <a:pt x="10015" y="7987"/>
                  <a:pt x="10045" y="7987"/>
                </a:cubicBezTo>
                <a:cubicBezTo>
                  <a:pt x="10074" y="7987"/>
                  <a:pt x="10098" y="7936"/>
                  <a:pt x="10098" y="7873"/>
                </a:cubicBezTo>
                <a:cubicBezTo>
                  <a:pt x="10098" y="7811"/>
                  <a:pt x="10074" y="7760"/>
                  <a:pt x="10045" y="7760"/>
                </a:cubicBezTo>
                <a:close/>
                <a:moveTo>
                  <a:pt x="9892" y="7987"/>
                </a:moveTo>
                <a:cubicBezTo>
                  <a:pt x="9922" y="7987"/>
                  <a:pt x="9946" y="7936"/>
                  <a:pt x="9946" y="7873"/>
                </a:cubicBezTo>
                <a:cubicBezTo>
                  <a:pt x="9946" y="7811"/>
                  <a:pt x="9922" y="7760"/>
                  <a:pt x="9892" y="7760"/>
                </a:cubicBezTo>
                <a:cubicBezTo>
                  <a:pt x="9862" y="7760"/>
                  <a:pt x="9838" y="7811"/>
                  <a:pt x="9838" y="7873"/>
                </a:cubicBezTo>
                <a:cubicBezTo>
                  <a:pt x="9838" y="7936"/>
                  <a:pt x="9862" y="7987"/>
                  <a:pt x="9892" y="7987"/>
                </a:cubicBezTo>
                <a:close/>
                <a:moveTo>
                  <a:pt x="9737" y="7760"/>
                </a:moveTo>
                <a:cubicBezTo>
                  <a:pt x="9707" y="7760"/>
                  <a:pt x="9683" y="7811"/>
                  <a:pt x="9683" y="7873"/>
                </a:cubicBezTo>
                <a:cubicBezTo>
                  <a:pt x="9683" y="7936"/>
                  <a:pt x="9707" y="7987"/>
                  <a:pt x="9737" y="7987"/>
                </a:cubicBezTo>
                <a:cubicBezTo>
                  <a:pt x="9766" y="7987"/>
                  <a:pt x="9791" y="7936"/>
                  <a:pt x="9791" y="7873"/>
                </a:cubicBezTo>
                <a:cubicBezTo>
                  <a:pt x="9791" y="7811"/>
                  <a:pt x="9766" y="7760"/>
                  <a:pt x="9737" y="7760"/>
                </a:cubicBezTo>
                <a:close/>
                <a:moveTo>
                  <a:pt x="9583" y="7760"/>
                </a:moveTo>
                <a:cubicBezTo>
                  <a:pt x="9553" y="7760"/>
                  <a:pt x="9529" y="7811"/>
                  <a:pt x="9529" y="7873"/>
                </a:cubicBezTo>
                <a:cubicBezTo>
                  <a:pt x="9529" y="7936"/>
                  <a:pt x="9553" y="7987"/>
                  <a:pt x="9583" y="7987"/>
                </a:cubicBezTo>
                <a:cubicBezTo>
                  <a:pt x="9612" y="7987"/>
                  <a:pt x="9637" y="7936"/>
                  <a:pt x="9637" y="7873"/>
                </a:cubicBezTo>
                <a:cubicBezTo>
                  <a:pt x="9637" y="7811"/>
                  <a:pt x="9612" y="7760"/>
                  <a:pt x="9583" y="7760"/>
                </a:cubicBezTo>
                <a:close/>
                <a:moveTo>
                  <a:pt x="9430" y="7760"/>
                </a:moveTo>
                <a:cubicBezTo>
                  <a:pt x="9400" y="7760"/>
                  <a:pt x="9376" y="7811"/>
                  <a:pt x="9376" y="7873"/>
                </a:cubicBezTo>
                <a:cubicBezTo>
                  <a:pt x="9376" y="7936"/>
                  <a:pt x="9400" y="7987"/>
                  <a:pt x="9430" y="7987"/>
                </a:cubicBezTo>
                <a:cubicBezTo>
                  <a:pt x="9460" y="7987"/>
                  <a:pt x="9484" y="7936"/>
                  <a:pt x="9484" y="7873"/>
                </a:cubicBezTo>
                <a:cubicBezTo>
                  <a:pt x="9484" y="7811"/>
                  <a:pt x="9460" y="7760"/>
                  <a:pt x="9430" y="7760"/>
                </a:cubicBezTo>
                <a:close/>
                <a:moveTo>
                  <a:pt x="10813" y="7760"/>
                </a:moveTo>
                <a:cubicBezTo>
                  <a:pt x="10783" y="7760"/>
                  <a:pt x="10759" y="7811"/>
                  <a:pt x="10759" y="7873"/>
                </a:cubicBezTo>
                <a:cubicBezTo>
                  <a:pt x="10759" y="7936"/>
                  <a:pt x="10783" y="7987"/>
                  <a:pt x="10813" y="7987"/>
                </a:cubicBezTo>
                <a:cubicBezTo>
                  <a:pt x="10843" y="7987"/>
                  <a:pt x="10867" y="7936"/>
                  <a:pt x="10867" y="7873"/>
                </a:cubicBezTo>
                <a:cubicBezTo>
                  <a:pt x="10867" y="7811"/>
                  <a:pt x="10843" y="7760"/>
                  <a:pt x="10813" y="7760"/>
                </a:cubicBezTo>
                <a:close/>
                <a:moveTo>
                  <a:pt x="10660" y="7760"/>
                </a:moveTo>
                <a:cubicBezTo>
                  <a:pt x="10631" y="7760"/>
                  <a:pt x="10607" y="7811"/>
                  <a:pt x="10607" y="7873"/>
                </a:cubicBezTo>
                <a:cubicBezTo>
                  <a:pt x="10607" y="7936"/>
                  <a:pt x="10631" y="7987"/>
                  <a:pt x="10660" y="7987"/>
                </a:cubicBezTo>
                <a:cubicBezTo>
                  <a:pt x="10690" y="7987"/>
                  <a:pt x="10714" y="7936"/>
                  <a:pt x="10714" y="7873"/>
                </a:cubicBezTo>
                <a:cubicBezTo>
                  <a:pt x="10714" y="7811"/>
                  <a:pt x="10690" y="7760"/>
                  <a:pt x="10660" y="7760"/>
                </a:cubicBezTo>
                <a:close/>
                <a:moveTo>
                  <a:pt x="10505" y="7760"/>
                </a:moveTo>
                <a:cubicBezTo>
                  <a:pt x="10475" y="7760"/>
                  <a:pt x="10451" y="7811"/>
                  <a:pt x="10451" y="7873"/>
                </a:cubicBezTo>
                <a:cubicBezTo>
                  <a:pt x="10451" y="7936"/>
                  <a:pt x="10475" y="7987"/>
                  <a:pt x="10505" y="7987"/>
                </a:cubicBezTo>
                <a:cubicBezTo>
                  <a:pt x="10535" y="7987"/>
                  <a:pt x="10559" y="7936"/>
                  <a:pt x="10559" y="7873"/>
                </a:cubicBezTo>
                <a:cubicBezTo>
                  <a:pt x="10559" y="7811"/>
                  <a:pt x="10535" y="7760"/>
                  <a:pt x="10505" y="7760"/>
                </a:cubicBezTo>
                <a:close/>
                <a:moveTo>
                  <a:pt x="10351" y="7760"/>
                </a:moveTo>
                <a:cubicBezTo>
                  <a:pt x="10321" y="7760"/>
                  <a:pt x="10297" y="7811"/>
                  <a:pt x="10297" y="7873"/>
                </a:cubicBezTo>
                <a:cubicBezTo>
                  <a:pt x="10297" y="7936"/>
                  <a:pt x="10321" y="7987"/>
                  <a:pt x="10351" y="7987"/>
                </a:cubicBezTo>
                <a:cubicBezTo>
                  <a:pt x="10381" y="7987"/>
                  <a:pt x="10405" y="7936"/>
                  <a:pt x="10405" y="7873"/>
                </a:cubicBezTo>
                <a:cubicBezTo>
                  <a:pt x="10405" y="7811"/>
                  <a:pt x="10381" y="7760"/>
                  <a:pt x="10351" y="7760"/>
                </a:cubicBezTo>
                <a:close/>
                <a:moveTo>
                  <a:pt x="10198" y="7760"/>
                </a:moveTo>
                <a:cubicBezTo>
                  <a:pt x="10169" y="7760"/>
                  <a:pt x="10145" y="7811"/>
                  <a:pt x="10145" y="7873"/>
                </a:cubicBezTo>
                <a:cubicBezTo>
                  <a:pt x="10145" y="7936"/>
                  <a:pt x="10169" y="7987"/>
                  <a:pt x="10198" y="7987"/>
                </a:cubicBezTo>
                <a:cubicBezTo>
                  <a:pt x="10228" y="7987"/>
                  <a:pt x="10252" y="7936"/>
                  <a:pt x="10252" y="7873"/>
                </a:cubicBezTo>
                <a:cubicBezTo>
                  <a:pt x="10252" y="7811"/>
                  <a:pt x="10228" y="7760"/>
                  <a:pt x="10198" y="7760"/>
                </a:cubicBezTo>
                <a:close/>
                <a:moveTo>
                  <a:pt x="11273" y="8087"/>
                </a:moveTo>
                <a:cubicBezTo>
                  <a:pt x="11243" y="8087"/>
                  <a:pt x="11219" y="8137"/>
                  <a:pt x="11219" y="8200"/>
                </a:cubicBezTo>
                <a:cubicBezTo>
                  <a:pt x="11219" y="8262"/>
                  <a:pt x="11243" y="8313"/>
                  <a:pt x="11273" y="8313"/>
                </a:cubicBezTo>
                <a:cubicBezTo>
                  <a:pt x="11303" y="8313"/>
                  <a:pt x="11327" y="8262"/>
                  <a:pt x="11327" y="8200"/>
                </a:cubicBezTo>
                <a:cubicBezTo>
                  <a:pt x="11327" y="8137"/>
                  <a:pt x="11303" y="8087"/>
                  <a:pt x="11273" y="8087"/>
                </a:cubicBezTo>
                <a:close/>
                <a:moveTo>
                  <a:pt x="11119" y="8087"/>
                </a:moveTo>
                <a:cubicBezTo>
                  <a:pt x="11089" y="8087"/>
                  <a:pt x="11065" y="8137"/>
                  <a:pt x="11065" y="8200"/>
                </a:cubicBezTo>
                <a:cubicBezTo>
                  <a:pt x="11065" y="8262"/>
                  <a:pt x="11089" y="8313"/>
                  <a:pt x="11119" y="8313"/>
                </a:cubicBezTo>
                <a:cubicBezTo>
                  <a:pt x="11149" y="8313"/>
                  <a:pt x="11173" y="8262"/>
                  <a:pt x="11173" y="8200"/>
                </a:cubicBezTo>
                <a:cubicBezTo>
                  <a:pt x="11173" y="8137"/>
                  <a:pt x="11149" y="8087"/>
                  <a:pt x="11119" y="8087"/>
                </a:cubicBezTo>
                <a:close/>
                <a:moveTo>
                  <a:pt x="10967" y="8087"/>
                </a:moveTo>
                <a:cubicBezTo>
                  <a:pt x="10937" y="8087"/>
                  <a:pt x="10913" y="8137"/>
                  <a:pt x="10913" y="8200"/>
                </a:cubicBezTo>
                <a:cubicBezTo>
                  <a:pt x="10913" y="8262"/>
                  <a:pt x="10937" y="8313"/>
                  <a:pt x="10967" y="8313"/>
                </a:cubicBezTo>
                <a:cubicBezTo>
                  <a:pt x="10996" y="8313"/>
                  <a:pt x="11020" y="8262"/>
                  <a:pt x="11020" y="8200"/>
                </a:cubicBezTo>
                <a:cubicBezTo>
                  <a:pt x="11020" y="8137"/>
                  <a:pt x="10996" y="8087"/>
                  <a:pt x="10967" y="8087"/>
                </a:cubicBezTo>
                <a:close/>
                <a:moveTo>
                  <a:pt x="6042" y="226"/>
                </a:moveTo>
                <a:cubicBezTo>
                  <a:pt x="6072" y="226"/>
                  <a:pt x="6096" y="176"/>
                  <a:pt x="6096" y="113"/>
                </a:cubicBezTo>
                <a:cubicBezTo>
                  <a:pt x="6096" y="51"/>
                  <a:pt x="6072" y="0"/>
                  <a:pt x="6042" y="0"/>
                </a:cubicBezTo>
                <a:cubicBezTo>
                  <a:pt x="6013" y="0"/>
                  <a:pt x="5989" y="51"/>
                  <a:pt x="5989" y="113"/>
                </a:cubicBezTo>
                <a:cubicBezTo>
                  <a:pt x="5989" y="176"/>
                  <a:pt x="6013" y="226"/>
                  <a:pt x="6042" y="226"/>
                </a:cubicBezTo>
                <a:close/>
                <a:moveTo>
                  <a:pt x="5890" y="226"/>
                </a:moveTo>
                <a:cubicBezTo>
                  <a:pt x="5919" y="226"/>
                  <a:pt x="5944" y="176"/>
                  <a:pt x="5944" y="113"/>
                </a:cubicBezTo>
                <a:cubicBezTo>
                  <a:pt x="5944" y="51"/>
                  <a:pt x="5919" y="0"/>
                  <a:pt x="5890" y="0"/>
                </a:cubicBezTo>
                <a:cubicBezTo>
                  <a:pt x="5860" y="0"/>
                  <a:pt x="5836" y="51"/>
                  <a:pt x="5836" y="113"/>
                </a:cubicBezTo>
                <a:cubicBezTo>
                  <a:pt x="5836" y="176"/>
                  <a:pt x="5860" y="226"/>
                  <a:pt x="5890" y="226"/>
                </a:cubicBezTo>
                <a:close/>
                <a:moveTo>
                  <a:pt x="5578" y="861"/>
                </a:moveTo>
                <a:cubicBezTo>
                  <a:pt x="5608" y="861"/>
                  <a:pt x="5632" y="810"/>
                  <a:pt x="5632" y="748"/>
                </a:cubicBezTo>
                <a:cubicBezTo>
                  <a:pt x="5632" y="685"/>
                  <a:pt x="5608" y="635"/>
                  <a:pt x="5578" y="635"/>
                </a:cubicBezTo>
                <a:cubicBezTo>
                  <a:pt x="5549" y="635"/>
                  <a:pt x="5525" y="685"/>
                  <a:pt x="5525" y="748"/>
                </a:cubicBezTo>
                <a:cubicBezTo>
                  <a:pt x="5525" y="810"/>
                  <a:pt x="5549" y="861"/>
                  <a:pt x="5578" y="861"/>
                </a:cubicBezTo>
                <a:close/>
                <a:moveTo>
                  <a:pt x="6042" y="861"/>
                </a:moveTo>
                <a:cubicBezTo>
                  <a:pt x="6072" y="861"/>
                  <a:pt x="6096" y="810"/>
                  <a:pt x="6096" y="748"/>
                </a:cubicBezTo>
                <a:cubicBezTo>
                  <a:pt x="6096" y="685"/>
                  <a:pt x="6072" y="635"/>
                  <a:pt x="6042" y="635"/>
                </a:cubicBezTo>
                <a:cubicBezTo>
                  <a:pt x="6013" y="635"/>
                  <a:pt x="5989" y="685"/>
                  <a:pt x="5989" y="748"/>
                </a:cubicBezTo>
                <a:cubicBezTo>
                  <a:pt x="5989" y="810"/>
                  <a:pt x="6013" y="861"/>
                  <a:pt x="6042" y="861"/>
                </a:cubicBezTo>
                <a:close/>
                <a:moveTo>
                  <a:pt x="5744" y="534"/>
                </a:moveTo>
                <a:cubicBezTo>
                  <a:pt x="5773" y="534"/>
                  <a:pt x="5797" y="483"/>
                  <a:pt x="5797" y="421"/>
                </a:cubicBezTo>
                <a:cubicBezTo>
                  <a:pt x="5797" y="358"/>
                  <a:pt x="5773" y="308"/>
                  <a:pt x="5744" y="308"/>
                </a:cubicBezTo>
                <a:cubicBezTo>
                  <a:pt x="5714" y="308"/>
                  <a:pt x="5690" y="358"/>
                  <a:pt x="5690" y="421"/>
                </a:cubicBezTo>
                <a:cubicBezTo>
                  <a:pt x="5690" y="483"/>
                  <a:pt x="5714" y="534"/>
                  <a:pt x="5744" y="534"/>
                </a:cubicBezTo>
                <a:close/>
                <a:moveTo>
                  <a:pt x="5591" y="534"/>
                </a:moveTo>
                <a:cubicBezTo>
                  <a:pt x="5621" y="534"/>
                  <a:pt x="5645" y="483"/>
                  <a:pt x="5645" y="421"/>
                </a:cubicBezTo>
                <a:cubicBezTo>
                  <a:pt x="5645" y="358"/>
                  <a:pt x="5621" y="308"/>
                  <a:pt x="5591" y="308"/>
                </a:cubicBezTo>
                <a:cubicBezTo>
                  <a:pt x="5561" y="308"/>
                  <a:pt x="5537" y="358"/>
                  <a:pt x="5537" y="421"/>
                </a:cubicBezTo>
                <a:cubicBezTo>
                  <a:pt x="5537" y="483"/>
                  <a:pt x="5561" y="534"/>
                  <a:pt x="5591" y="534"/>
                </a:cubicBezTo>
                <a:close/>
                <a:moveTo>
                  <a:pt x="5890" y="534"/>
                </a:moveTo>
                <a:cubicBezTo>
                  <a:pt x="5919" y="534"/>
                  <a:pt x="5944" y="483"/>
                  <a:pt x="5944" y="421"/>
                </a:cubicBezTo>
                <a:cubicBezTo>
                  <a:pt x="5944" y="358"/>
                  <a:pt x="5919" y="308"/>
                  <a:pt x="5890" y="308"/>
                </a:cubicBezTo>
                <a:cubicBezTo>
                  <a:pt x="5860" y="308"/>
                  <a:pt x="5836" y="358"/>
                  <a:pt x="5836" y="421"/>
                </a:cubicBezTo>
                <a:cubicBezTo>
                  <a:pt x="5836" y="483"/>
                  <a:pt x="5860" y="534"/>
                  <a:pt x="5890" y="534"/>
                </a:cubicBezTo>
                <a:close/>
                <a:moveTo>
                  <a:pt x="6501" y="226"/>
                </a:moveTo>
                <a:cubicBezTo>
                  <a:pt x="6531" y="226"/>
                  <a:pt x="6555" y="176"/>
                  <a:pt x="6555" y="113"/>
                </a:cubicBezTo>
                <a:cubicBezTo>
                  <a:pt x="6555" y="51"/>
                  <a:pt x="6531" y="0"/>
                  <a:pt x="6501" y="0"/>
                </a:cubicBezTo>
                <a:cubicBezTo>
                  <a:pt x="6471" y="0"/>
                  <a:pt x="6447" y="51"/>
                  <a:pt x="6447" y="113"/>
                </a:cubicBezTo>
                <a:cubicBezTo>
                  <a:pt x="6447" y="176"/>
                  <a:pt x="6471" y="226"/>
                  <a:pt x="6501" y="226"/>
                </a:cubicBezTo>
                <a:close/>
                <a:moveTo>
                  <a:pt x="6196" y="226"/>
                </a:moveTo>
                <a:cubicBezTo>
                  <a:pt x="6225" y="226"/>
                  <a:pt x="6249" y="176"/>
                  <a:pt x="6249" y="113"/>
                </a:cubicBezTo>
                <a:cubicBezTo>
                  <a:pt x="6249" y="51"/>
                  <a:pt x="6225" y="0"/>
                  <a:pt x="6196" y="0"/>
                </a:cubicBezTo>
                <a:cubicBezTo>
                  <a:pt x="6166" y="0"/>
                  <a:pt x="6142" y="51"/>
                  <a:pt x="6142" y="113"/>
                </a:cubicBezTo>
                <a:cubicBezTo>
                  <a:pt x="6142" y="176"/>
                  <a:pt x="6166" y="226"/>
                  <a:pt x="6196" y="226"/>
                </a:cubicBezTo>
                <a:close/>
                <a:moveTo>
                  <a:pt x="6348" y="0"/>
                </a:moveTo>
                <a:cubicBezTo>
                  <a:pt x="6319" y="0"/>
                  <a:pt x="6295" y="51"/>
                  <a:pt x="6295" y="113"/>
                </a:cubicBezTo>
                <a:cubicBezTo>
                  <a:pt x="6295" y="176"/>
                  <a:pt x="6319" y="226"/>
                  <a:pt x="6348" y="226"/>
                </a:cubicBezTo>
                <a:cubicBezTo>
                  <a:pt x="6378" y="226"/>
                  <a:pt x="6402" y="176"/>
                  <a:pt x="6402" y="113"/>
                </a:cubicBezTo>
                <a:cubicBezTo>
                  <a:pt x="6402" y="51"/>
                  <a:pt x="6378" y="0"/>
                  <a:pt x="6348" y="0"/>
                </a:cubicBezTo>
                <a:close/>
                <a:moveTo>
                  <a:pt x="8196" y="226"/>
                </a:moveTo>
                <a:cubicBezTo>
                  <a:pt x="8226" y="226"/>
                  <a:pt x="8250" y="176"/>
                  <a:pt x="8250" y="113"/>
                </a:cubicBezTo>
                <a:cubicBezTo>
                  <a:pt x="8250" y="51"/>
                  <a:pt x="8226" y="0"/>
                  <a:pt x="8196" y="0"/>
                </a:cubicBezTo>
                <a:cubicBezTo>
                  <a:pt x="8167" y="0"/>
                  <a:pt x="8143" y="51"/>
                  <a:pt x="8143" y="113"/>
                </a:cubicBezTo>
                <a:cubicBezTo>
                  <a:pt x="8143" y="176"/>
                  <a:pt x="8167" y="226"/>
                  <a:pt x="8196" y="226"/>
                </a:cubicBezTo>
                <a:close/>
                <a:moveTo>
                  <a:pt x="8044" y="226"/>
                </a:moveTo>
                <a:cubicBezTo>
                  <a:pt x="8073" y="226"/>
                  <a:pt x="8098" y="176"/>
                  <a:pt x="8098" y="113"/>
                </a:cubicBezTo>
                <a:cubicBezTo>
                  <a:pt x="8098" y="51"/>
                  <a:pt x="8073" y="0"/>
                  <a:pt x="8044" y="0"/>
                </a:cubicBezTo>
                <a:cubicBezTo>
                  <a:pt x="8014" y="0"/>
                  <a:pt x="7990" y="51"/>
                  <a:pt x="7990" y="113"/>
                </a:cubicBezTo>
                <a:cubicBezTo>
                  <a:pt x="7990" y="176"/>
                  <a:pt x="8014" y="226"/>
                  <a:pt x="8044" y="226"/>
                </a:cubicBezTo>
                <a:close/>
                <a:moveTo>
                  <a:pt x="7888" y="0"/>
                </a:moveTo>
                <a:cubicBezTo>
                  <a:pt x="7859" y="0"/>
                  <a:pt x="7835" y="51"/>
                  <a:pt x="7835" y="113"/>
                </a:cubicBezTo>
                <a:cubicBezTo>
                  <a:pt x="7835" y="176"/>
                  <a:pt x="7859" y="226"/>
                  <a:pt x="7888" y="226"/>
                </a:cubicBezTo>
                <a:cubicBezTo>
                  <a:pt x="7918" y="226"/>
                  <a:pt x="7942" y="176"/>
                  <a:pt x="7942" y="113"/>
                </a:cubicBezTo>
                <a:cubicBezTo>
                  <a:pt x="7942" y="51"/>
                  <a:pt x="7918" y="0"/>
                  <a:pt x="7888" y="0"/>
                </a:cubicBezTo>
                <a:close/>
                <a:moveTo>
                  <a:pt x="7734" y="0"/>
                </a:moveTo>
                <a:cubicBezTo>
                  <a:pt x="7705" y="0"/>
                  <a:pt x="7681" y="51"/>
                  <a:pt x="7681" y="113"/>
                </a:cubicBezTo>
                <a:cubicBezTo>
                  <a:pt x="7681" y="176"/>
                  <a:pt x="7705" y="226"/>
                  <a:pt x="7734" y="226"/>
                </a:cubicBezTo>
                <a:cubicBezTo>
                  <a:pt x="7764" y="226"/>
                  <a:pt x="7788" y="176"/>
                  <a:pt x="7788" y="113"/>
                </a:cubicBezTo>
                <a:cubicBezTo>
                  <a:pt x="7788" y="51"/>
                  <a:pt x="7764" y="0"/>
                  <a:pt x="7734" y="0"/>
                </a:cubicBezTo>
                <a:close/>
                <a:moveTo>
                  <a:pt x="7582" y="0"/>
                </a:moveTo>
                <a:cubicBezTo>
                  <a:pt x="7552" y="0"/>
                  <a:pt x="7528" y="51"/>
                  <a:pt x="7528" y="113"/>
                </a:cubicBezTo>
                <a:cubicBezTo>
                  <a:pt x="7528" y="176"/>
                  <a:pt x="7552" y="226"/>
                  <a:pt x="7582" y="226"/>
                </a:cubicBezTo>
                <a:cubicBezTo>
                  <a:pt x="7611" y="226"/>
                  <a:pt x="7636" y="176"/>
                  <a:pt x="7636" y="113"/>
                </a:cubicBezTo>
                <a:cubicBezTo>
                  <a:pt x="7636" y="51"/>
                  <a:pt x="7611" y="0"/>
                  <a:pt x="7582" y="0"/>
                </a:cubicBezTo>
                <a:close/>
                <a:moveTo>
                  <a:pt x="8350" y="226"/>
                </a:moveTo>
                <a:cubicBezTo>
                  <a:pt x="8380" y="226"/>
                  <a:pt x="8404" y="176"/>
                  <a:pt x="8404" y="113"/>
                </a:cubicBezTo>
                <a:cubicBezTo>
                  <a:pt x="8404" y="51"/>
                  <a:pt x="8380" y="0"/>
                  <a:pt x="8350" y="0"/>
                </a:cubicBezTo>
                <a:cubicBezTo>
                  <a:pt x="8320" y="0"/>
                  <a:pt x="8296" y="51"/>
                  <a:pt x="8296" y="113"/>
                </a:cubicBezTo>
                <a:cubicBezTo>
                  <a:pt x="8296" y="176"/>
                  <a:pt x="8320" y="226"/>
                  <a:pt x="8350" y="226"/>
                </a:cubicBezTo>
                <a:close/>
                <a:moveTo>
                  <a:pt x="6204" y="861"/>
                </a:moveTo>
                <a:cubicBezTo>
                  <a:pt x="6234" y="861"/>
                  <a:pt x="6258" y="810"/>
                  <a:pt x="6258" y="748"/>
                </a:cubicBezTo>
                <a:cubicBezTo>
                  <a:pt x="6258" y="685"/>
                  <a:pt x="6234" y="635"/>
                  <a:pt x="6204" y="635"/>
                </a:cubicBezTo>
                <a:cubicBezTo>
                  <a:pt x="6174" y="635"/>
                  <a:pt x="6150" y="685"/>
                  <a:pt x="6150" y="748"/>
                </a:cubicBezTo>
                <a:cubicBezTo>
                  <a:pt x="6150" y="810"/>
                  <a:pt x="6174" y="861"/>
                  <a:pt x="6204" y="861"/>
                </a:cubicBezTo>
                <a:close/>
                <a:moveTo>
                  <a:pt x="6963" y="861"/>
                </a:moveTo>
                <a:cubicBezTo>
                  <a:pt x="6993" y="861"/>
                  <a:pt x="7017" y="810"/>
                  <a:pt x="7017" y="748"/>
                </a:cubicBezTo>
                <a:cubicBezTo>
                  <a:pt x="7017" y="685"/>
                  <a:pt x="6993" y="635"/>
                  <a:pt x="6963" y="635"/>
                </a:cubicBezTo>
                <a:cubicBezTo>
                  <a:pt x="6933" y="635"/>
                  <a:pt x="6909" y="685"/>
                  <a:pt x="6909" y="748"/>
                </a:cubicBezTo>
                <a:cubicBezTo>
                  <a:pt x="6909" y="810"/>
                  <a:pt x="6933" y="861"/>
                  <a:pt x="6963" y="861"/>
                </a:cubicBezTo>
                <a:close/>
                <a:moveTo>
                  <a:pt x="6963" y="534"/>
                </a:moveTo>
                <a:cubicBezTo>
                  <a:pt x="6993" y="534"/>
                  <a:pt x="7017" y="483"/>
                  <a:pt x="7017" y="421"/>
                </a:cubicBezTo>
                <a:cubicBezTo>
                  <a:pt x="7017" y="358"/>
                  <a:pt x="6993" y="308"/>
                  <a:pt x="6963" y="308"/>
                </a:cubicBezTo>
                <a:cubicBezTo>
                  <a:pt x="6933" y="308"/>
                  <a:pt x="6909" y="358"/>
                  <a:pt x="6909" y="421"/>
                </a:cubicBezTo>
                <a:cubicBezTo>
                  <a:pt x="6909" y="483"/>
                  <a:pt x="6933" y="534"/>
                  <a:pt x="6963" y="534"/>
                </a:cubicBezTo>
                <a:close/>
                <a:moveTo>
                  <a:pt x="6810" y="861"/>
                </a:moveTo>
                <a:cubicBezTo>
                  <a:pt x="6840" y="861"/>
                  <a:pt x="6864" y="810"/>
                  <a:pt x="6864" y="748"/>
                </a:cubicBezTo>
                <a:cubicBezTo>
                  <a:pt x="6864" y="685"/>
                  <a:pt x="6840" y="635"/>
                  <a:pt x="6810" y="635"/>
                </a:cubicBezTo>
                <a:cubicBezTo>
                  <a:pt x="6781" y="635"/>
                  <a:pt x="6757" y="685"/>
                  <a:pt x="6757" y="748"/>
                </a:cubicBezTo>
                <a:cubicBezTo>
                  <a:pt x="6757" y="810"/>
                  <a:pt x="6781" y="861"/>
                  <a:pt x="6810" y="861"/>
                </a:cubicBezTo>
                <a:close/>
                <a:moveTo>
                  <a:pt x="6810" y="534"/>
                </a:moveTo>
                <a:cubicBezTo>
                  <a:pt x="6840" y="534"/>
                  <a:pt x="6864" y="483"/>
                  <a:pt x="6864" y="421"/>
                </a:cubicBezTo>
                <a:cubicBezTo>
                  <a:pt x="6864" y="358"/>
                  <a:pt x="6840" y="308"/>
                  <a:pt x="6810" y="308"/>
                </a:cubicBezTo>
                <a:cubicBezTo>
                  <a:pt x="6781" y="308"/>
                  <a:pt x="6757" y="358"/>
                  <a:pt x="6757" y="421"/>
                </a:cubicBezTo>
                <a:cubicBezTo>
                  <a:pt x="6757" y="483"/>
                  <a:pt x="6781" y="534"/>
                  <a:pt x="6810" y="534"/>
                </a:cubicBezTo>
                <a:close/>
                <a:moveTo>
                  <a:pt x="6655" y="861"/>
                </a:moveTo>
                <a:cubicBezTo>
                  <a:pt x="6685" y="861"/>
                  <a:pt x="6709" y="810"/>
                  <a:pt x="6709" y="748"/>
                </a:cubicBezTo>
                <a:cubicBezTo>
                  <a:pt x="6709" y="685"/>
                  <a:pt x="6685" y="635"/>
                  <a:pt x="6655" y="635"/>
                </a:cubicBezTo>
                <a:cubicBezTo>
                  <a:pt x="6625" y="635"/>
                  <a:pt x="6601" y="685"/>
                  <a:pt x="6601" y="748"/>
                </a:cubicBezTo>
                <a:cubicBezTo>
                  <a:pt x="6601" y="810"/>
                  <a:pt x="6625" y="861"/>
                  <a:pt x="6655" y="861"/>
                </a:cubicBezTo>
                <a:close/>
                <a:moveTo>
                  <a:pt x="6655" y="534"/>
                </a:moveTo>
                <a:cubicBezTo>
                  <a:pt x="6685" y="534"/>
                  <a:pt x="6709" y="483"/>
                  <a:pt x="6709" y="421"/>
                </a:cubicBezTo>
                <a:cubicBezTo>
                  <a:pt x="6709" y="358"/>
                  <a:pt x="6685" y="308"/>
                  <a:pt x="6655" y="308"/>
                </a:cubicBezTo>
                <a:cubicBezTo>
                  <a:pt x="6625" y="308"/>
                  <a:pt x="6601" y="358"/>
                  <a:pt x="6601" y="421"/>
                </a:cubicBezTo>
                <a:cubicBezTo>
                  <a:pt x="6601" y="483"/>
                  <a:pt x="6625" y="534"/>
                  <a:pt x="6655" y="534"/>
                </a:cubicBezTo>
                <a:close/>
                <a:moveTo>
                  <a:pt x="6501" y="861"/>
                </a:moveTo>
                <a:cubicBezTo>
                  <a:pt x="6531" y="861"/>
                  <a:pt x="6555" y="810"/>
                  <a:pt x="6555" y="748"/>
                </a:cubicBezTo>
                <a:cubicBezTo>
                  <a:pt x="6555" y="685"/>
                  <a:pt x="6531" y="635"/>
                  <a:pt x="6501" y="635"/>
                </a:cubicBezTo>
                <a:cubicBezTo>
                  <a:pt x="6471" y="635"/>
                  <a:pt x="6447" y="685"/>
                  <a:pt x="6447" y="748"/>
                </a:cubicBezTo>
                <a:cubicBezTo>
                  <a:pt x="6447" y="810"/>
                  <a:pt x="6471" y="861"/>
                  <a:pt x="6501" y="861"/>
                </a:cubicBezTo>
                <a:close/>
                <a:moveTo>
                  <a:pt x="6501" y="534"/>
                </a:moveTo>
                <a:cubicBezTo>
                  <a:pt x="6531" y="534"/>
                  <a:pt x="6555" y="483"/>
                  <a:pt x="6555" y="421"/>
                </a:cubicBezTo>
                <a:cubicBezTo>
                  <a:pt x="6555" y="358"/>
                  <a:pt x="6531" y="308"/>
                  <a:pt x="6501" y="308"/>
                </a:cubicBezTo>
                <a:cubicBezTo>
                  <a:pt x="6471" y="308"/>
                  <a:pt x="6447" y="358"/>
                  <a:pt x="6447" y="421"/>
                </a:cubicBezTo>
                <a:cubicBezTo>
                  <a:pt x="6447" y="483"/>
                  <a:pt x="6471" y="534"/>
                  <a:pt x="6501" y="534"/>
                </a:cubicBezTo>
                <a:close/>
                <a:moveTo>
                  <a:pt x="6348" y="635"/>
                </a:moveTo>
                <a:cubicBezTo>
                  <a:pt x="6319" y="635"/>
                  <a:pt x="6295" y="685"/>
                  <a:pt x="6295" y="748"/>
                </a:cubicBezTo>
                <a:cubicBezTo>
                  <a:pt x="6295" y="810"/>
                  <a:pt x="6319" y="861"/>
                  <a:pt x="6348" y="861"/>
                </a:cubicBezTo>
                <a:cubicBezTo>
                  <a:pt x="6378" y="861"/>
                  <a:pt x="6402" y="810"/>
                  <a:pt x="6402" y="748"/>
                </a:cubicBezTo>
                <a:cubicBezTo>
                  <a:pt x="6402" y="685"/>
                  <a:pt x="6378" y="635"/>
                  <a:pt x="6348" y="635"/>
                </a:cubicBezTo>
                <a:close/>
                <a:moveTo>
                  <a:pt x="6051" y="308"/>
                </a:moveTo>
                <a:cubicBezTo>
                  <a:pt x="6021" y="308"/>
                  <a:pt x="5997" y="358"/>
                  <a:pt x="5997" y="421"/>
                </a:cubicBezTo>
                <a:cubicBezTo>
                  <a:pt x="5997" y="483"/>
                  <a:pt x="6021" y="534"/>
                  <a:pt x="6051" y="534"/>
                </a:cubicBezTo>
                <a:cubicBezTo>
                  <a:pt x="6081" y="534"/>
                  <a:pt x="6105" y="483"/>
                  <a:pt x="6105" y="421"/>
                </a:cubicBezTo>
                <a:cubicBezTo>
                  <a:pt x="6105" y="358"/>
                  <a:pt x="6081" y="308"/>
                  <a:pt x="6051" y="308"/>
                </a:cubicBezTo>
                <a:close/>
                <a:moveTo>
                  <a:pt x="6348" y="308"/>
                </a:moveTo>
                <a:cubicBezTo>
                  <a:pt x="6319" y="308"/>
                  <a:pt x="6295" y="358"/>
                  <a:pt x="6295" y="421"/>
                </a:cubicBezTo>
                <a:cubicBezTo>
                  <a:pt x="6295" y="483"/>
                  <a:pt x="6319" y="534"/>
                  <a:pt x="6348" y="534"/>
                </a:cubicBezTo>
                <a:cubicBezTo>
                  <a:pt x="6378" y="534"/>
                  <a:pt x="6402" y="483"/>
                  <a:pt x="6402" y="421"/>
                </a:cubicBezTo>
                <a:cubicBezTo>
                  <a:pt x="6402" y="358"/>
                  <a:pt x="6378" y="308"/>
                  <a:pt x="6348" y="308"/>
                </a:cubicBezTo>
                <a:close/>
                <a:moveTo>
                  <a:pt x="7423" y="861"/>
                </a:moveTo>
                <a:cubicBezTo>
                  <a:pt x="7453" y="861"/>
                  <a:pt x="7477" y="810"/>
                  <a:pt x="7477" y="748"/>
                </a:cubicBezTo>
                <a:cubicBezTo>
                  <a:pt x="7477" y="685"/>
                  <a:pt x="7453" y="635"/>
                  <a:pt x="7423" y="635"/>
                </a:cubicBezTo>
                <a:cubicBezTo>
                  <a:pt x="7394" y="635"/>
                  <a:pt x="7370" y="685"/>
                  <a:pt x="7370" y="748"/>
                </a:cubicBezTo>
                <a:cubicBezTo>
                  <a:pt x="7370" y="810"/>
                  <a:pt x="7394" y="861"/>
                  <a:pt x="7423" y="861"/>
                </a:cubicBezTo>
                <a:close/>
                <a:moveTo>
                  <a:pt x="7423" y="534"/>
                </a:moveTo>
                <a:cubicBezTo>
                  <a:pt x="7453" y="534"/>
                  <a:pt x="7477" y="483"/>
                  <a:pt x="7477" y="421"/>
                </a:cubicBezTo>
                <a:cubicBezTo>
                  <a:pt x="7477" y="358"/>
                  <a:pt x="7453" y="308"/>
                  <a:pt x="7423" y="308"/>
                </a:cubicBezTo>
                <a:cubicBezTo>
                  <a:pt x="7394" y="308"/>
                  <a:pt x="7370" y="358"/>
                  <a:pt x="7370" y="421"/>
                </a:cubicBezTo>
                <a:cubicBezTo>
                  <a:pt x="7370" y="483"/>
                  <a:pt x="7394" y="534"/>
                  <a:pt x="7423" y="534"/>
                </a:cubicBezTo>
                <a:close/>
                <a:moveTo>
                  <a:pt x="7269" y="861"/>
                </a:moveTo>
                <a:cubicBezTo>
                  <a:pt x="7299" y="861"/>
                  <a:pt x="7323" y="810"/>
                  <a:pt x="7323" y="748"/>
                </a:cubicBezTo>
                <a:cubicBezTo>
                  <a:pt x="7323" y="685"/>
                  <a:pt x="7299" y="635"/>
                  <a:pt x="7269" y="635"/>
                </a:cubicBezTo>
                <a:cubicBezTo>
                  <a:pt x="7240" y="635"/>
                  <a:pt x="7216" y="685"/>
                  <a:pt x="7216" y="748"/>
                </a:cubicBezTo>
                <a:cubicBezTo>
                  <a:pt x="7216" y="810"/>
                  <a:pt x="7240" y="861"/>
                  <a:pt x="7269" y="861"/>
                </a:cubicBezTo>
                <a:close/>
                <a:moveTo>
                  <a:pt x="7269" y="534"/>
                </a:moveTo>
                <a:cubicBezTo>
                  <a:pt x="7299" y="534"/>
                  <a:pt x="7323" y="483"/>
                  <a:pt x="7323" y="421"/>
                </a:cubicBezTo>
                <a:cubicBezTo>
                  <a:pt x="7323" y="358"/>
                  <a:pt x="7299" y="308"/>
                  <a:pt x="7269" y="308"/>
                </a:cubicBezTo>
                <a:cubicBezTo>
                  <a:pt x="7240" y="308"/>
                  <a:pt x="7216" y="358"/>
                  <a:pt x="7216" y="421"/>
                </a:cubicBezTo>
                <a:cubicBezTo>
                  <a:pt x="7216" y="483"/>
                  <a:pt x="7240" y="534"/>
                  <a:pt x="7269" y="534"/>
                </a:cubicBezTo>
                <a:close/>
                <a:moveTo>
                  <a:pt x="7117" y="861"/>
                </a:moveTo>
                <a:cubicBezTo>
                  <a:pt x="7146" y="861"/>
                  <a:pt x="7170" y="810"/>
                  <a:pt x="7170" y="748"/>
                </a:cubicBezTo>
                <a:cubicBezTo>
                  <a:pt x="7170" y="685"/>
                  <a:pt x="7146" y="635"/>
                  <a:pt x="7117" y="635"/>
                </a:cubicBezTo>
                <a:cubicBezTo>
                  <a:pt x="7087" y="635"/>
                  <a:pt x="7063" y="685"/>
                  <a:pt x="7063" y="748"/>
                </a:cubicBezTo>
                <a:cubicBezTo>
                  <a:pt x="7063" y="810"/>
                  <a:pt x="7087" y="861"/>
                  <a:pt x="7117" y="861"/>
                </a:cubicBezTo>
                <a:close/>
                <a:moveTo>
                  <a:pt x="7117" y="534"/>
                </a:moveTo>
                <a:cubicBezTo>
                  <a:pt x="7146" y="534"/>
                  <a:pt x="7170" y="483"/>
                  <a:pt x="7170" y="421"/>
                </a:cubicBezTo>
                <a:cubicBezTo>
                  <a:pt x="7170" y="358"/>
                  <a:pt x="7146" y="308"/>
                  <a:pt x="7117" y="308"/>
                </a:cubicBezTo>
                <a:cubicBezTo>
                  <a:pt x="7087" y="308"/>
                  <a:pt x="7063" y="358"/>
                  <a:pt x="7063" y="421"/>
                </a:cubicBezTo>
                <a:cubicBezTo>
                  <a:pt x="7063" y="483"/>
                  <a:pt x="7087" y="534"/>
                  <a:pt x="7117" y="534"/>
                </a:cubicBezTo>
                <a:close/>
                <a:moveTo>
                  <a:pt x="8196" y="861"/>
                </a:moveTo>
                <a:cubicBezTo>
                  <a:pt x="8226" y="861"/>
                  <a:pt x="8250" y="810"/>
                  <a:pt x="8250" y="748"/>
                </a:cubicBezTo>
                <a:cubicBezTo>
                  <a:pt x="8250" y="685"/>
                  <a:pt x="8226" y="635"/>
                  <a:pt x="8196" y="635"/>
                </a:cubicBezTo>
                <a:cubicBezTo>
                  <a:pt x="8167" y="635"/>
                  <a:pt x="8143" y="685"/>
                  <a:pt x="8143" y="748"/>
                </a:cubicBezTo>
                <a:cubicBezTo>
                  <a:pt x="8143" y="810"/>
                  <a:pt x="8167" y="861"/>
                  <a:pt x="8196" y="861"/>
                </a:cubicBezTo>
                <a:close/>
                <a:moveTo>
                  <a:pt x="8196" y="534"/>
                </a:moveTo>
                <a:cubicBezTo>
                  <a:pt x="8226" y="534"/>
                  <a:pt x="8250" y="483"/>
                  <a:pt x="8250" y="421"/>
                </a:cubicBezTo>
                <a:cubicBezTo>
                  <a:pt x="8250" y="358"/>
                  <a:pt x="8226" y="308"/>
                  <a:pt x="8196" y="308"/>
                </a:cubicBezTo>
                <a:cubicBezTo>
                  <a:pt x="8167" y="308"/>
                  <a:pt x="8143" y="358"/>
                  <a:pt x="8143" y="421"/>
                </a:cubicBezTo>
                <a:cubicBezTo>
                  <a:pt x="8143" y="483"/>
                  <a:pt x="8167" y="534"/>
                  <a:pt x="8196" y="534"/>
                </a:cubicBezTo>
                <a:close/>
                <a:moveTo>
                  <a:pt x="8044" y="861"/>
                </a:moveTo>
                <a:cubicBezTo>
                  <a:pt x="8073" y="861"/>
                  <a:pt x="8098" y="810"/>
                  <a:pt x="8098" y="748"/>
                </a:cubicBezTo>
                <a:cubicBezTo>
                  <a:pt x="8098" y="685"/>
                  <a:pt x="8073" y="635"/>
                  <a:pt x="8044" y="635"/>
                </a:cubicBezTo>
                <a:cubicBezTo>
                  <a:pt x="8014" y="635"/>
                  <a:pt x="7990" y="685"/>
                  <a:pt x="7990" y="748"/>
                </a:cubicBezTo>
                <a:cubicBezTo>
                  <a:pt x="7990" y="810"/>
                  <a:pt x="8014" y="861"/>
                  <a:pt x="8044" y="861"/>
                </a:cubicBezTo>
                <a:close/>
                <a:moveTo>
                  <a:pt x="8044" y="534"/>
                </a:moveTo>
                <a:cubicBezTo>
                  <a:pt x="8073" y="534"/>
                  <a:pt x="8098" y="483"/>
                  <a:pt x="8098" y="421"/>
                </a:cubicBezTo>
                <a:cubicBezTo>
                  <a:pt x="8098" y="358"/>
                  <a:pt x="8073" y="308"/>
                  <a:pt x="8044" y="308"/>
                </a:cubicBezTo>
                <a:cubicBezTo>
                  <a:pt x="8014" y="308"/>
                  <a:pt x="7990" y="358"/>
                  <a:pt x="7990" y="421"/>
                </a:cubicBezTo>
                <a:cubicBezTo>
                  <a:pt x="7990" y="483"/>
                  <a:pt x="8014" y="534"/>
                  <a:pt x="8044" y="534"/>
                </a:cubicBezTo>
                <a:close/>
                <a:moveTo>
                  <a:pt x="7888" y="635"/>
                </a:moveTo>
                <a:cubicBezTo>
                  <a:pt x="7859" y="635"/>
                  <a:pt x="7835" y="685"/>
                  <a:pt x="7835" y="748"/>
                </a:cubicBezTo>
                <a:cubicBezTo>
                  <a:pt x="7835" y="810"/>
                  <a:pt x="7859" y="861"/>
                  <a:pt x="7888" y="861"/>
                </a:cubicBezTo>
                <a:cubicBezTo>
                  <a:pt x="7918" y="861"/>
                  <a:pt x="7942" y="810"/>
                  <a:pt x="7942" y="748"/>
                </a:cubicBezTo>
                <a:cubicBezTo>
                  <a:pt x="7942" y="685"/>
                  <a:pt x="7918" y="635"/>
                  <a:pt x="7888" y="635"/>
                </a:cubicBezTo>
                <a:close/>
                <a:moveTo>
                  <a:pt x="7888" y="308"/>
                </a:moveTo>
                <a:cubicBezTo>
                  <a:pt x="7859" y="308"/>
                  <a:pt x="7835" y="358"/>
                  <a:pt x="7835" y="421"/>
                </a:cubicBezTo>
                <a:cubicBezTo>
                  <a:pt x="7835" y="483"/>
                  <a:pt x="7859" y="534"/>
                  <a:pt x="7888" y="534"/>
                </a:cubicBezTo>
                <a:cubicBezTo>
                  <a:pt x="7918" y="534"/>
                  <a:pt x="7942" y="483"/>
                  <a:pt x="7942" y="421"/>
                </a:cubicBezTo>
                <a:cubicBezTo>
                  <a:pt x="7942" y="358"/>
                  <a:pt x="7918" y="308"/>
                  <a:pt x="7888" y="308"/>
                </a:cubicBezTo>
                <a:close/>
                <a:moveTo>
                  <a:pt x="7734" y="635"/>
                </a:moveTo>
                <a:cubicBezTo>
                  <a:pt x="7705" y="635"/>
                  <a:pt x="7681" y="685"/>
                  <a:pt x="7681" y="748"/>
                </a:cubicBezTo>
                <a:cubicBezTo>
                  <a:pt x="7681" y="810"/>
                  <a:pt x="7705" y="861"/>
                  <a:pt x="7734" y="861"/>
                </a:cubicBezTo>
                <a:cubicBezTo>
                  <a:pt x="7764" y="861"/>
                  <a:pt x="7788" y="810"/>
                  <a:pt x="7788" y="748"/>
                </a:cubicBezTo>
                <a:cubicBezTo>
                  <a:pt x="7788" y="685"/>
                  <a:pt x="7764" y="635"/>
                  <a:pt x="7734" y="635"/>
                </a:cubicBezTo>
                <a:close/>
                <a:moveTo>
                  <a:pt x="7734" y="308"/>
                </a:moveTo>
                <a:cubicBezTo>
                  <a:pt x="7705" y="308"/>
                  <a:pt x="7681" y="358"/>
                  <a:pt x="7681" y="421"/>
                </a:cubicBezTo>
                <a:cubicBezTo>
                  <a:pt x="7681" y="483"/>
                  <a:pt x="7705" y="534"/>
                  <a:pt x="7734" y="534"/>
                </a:cubicBezTo>
                <a:cubicBezTo>
                  <a:pt x="7764" y="534"/>
                  <a:pt x="7788" y="483"/>
                  <a:pt x="7788" y="421"/>
                </a:cubicBezTo>
                <a:cubicBezTo>
                  <a:pt x="7788" y="358"/>
                  <a:pt x="7764" y="308"/>
                  <a:pt x="7734" y="308"/>
                </a:cubicBezTo>
                <a:close/>
                <a:moveTo>
                  <a:pt x="7582" y="635"/>
                </a:moveTo>
                <a:cubicBezTo>
                  <a:pt x="7552" y="635"/>
                  <a:pt x="7528" y="685"/>
                  <a:pt x="7528" y="748"/>
                </a:cubicBezTo>
                <a:cubicBezTo>
                  <a:pt x="7528" y="810"/>
                  <a:pt x="7552" y="861"/>
                  <a:pt x="7582" y="861"/>
                </a:cubicBezTo>
                <a:cubicBezTo>
                  <a:pt x="7611" y="861"/>
                  <a:pt x="7636" y="810"/>
                  <a:pt x="7636" y="748"/>
                </a:cubicBezTo>
                <a:cubicBezTo>
                  <a:pt x="7636" y="685"/>
                  <a:pt x="7611" y="635"/>
                  <a:pt x="7582" y="635"/>
                </a:cubicBezTo>
                <a:close/>
                <a:moveTo>
                  <a:pt x="7582" y="308"/>
                </a:moveTo>
                <a:cubicBezTo>
                  <a:pt x="7552" y="308"/>
                  <a:pt x="7528" y="358"/>
                  <a:pt x="7528" y="421"/>
                </a:cubicBezTo>
                <a:cubicBezTo>
                  <a:pt x="7528" y="483"/>
                  <a:pt x="7552" y="534"/>
                  <a:pt x="7582" y="534"/>
                </a:cubicBezTo>
                <a:cubicBezTo>
                  <a:pt x="7611" y="534"/>
                  <a:pt x="7636" y="483"/>
                  <a:pt x="7636" y="421"/>
                </a:cubicBezTo>
                <a:cubicBezTo>
                  <a:pt x="7636" y="358"/>
                  <a:pt x="7611" y="308"/>
                  <a:pt x="7582" y="308"/>
                </a:cubicBezTo>
                <a:close/>
                <a:moveTo>
                  <a:pt x="8350" y="861"/>
                </a:moveTo>
                <a:cubicBezTo>
                  <a:pt x="8380" y="861"/>
                  <a:pt x="8404" y="810"/>
                  <a:pt x="8404" y="748"/>
                </a:cubicBezTo>
                <a:cubicBezTo>
                  <a:pt x="8404" y="685"/>
                  <a:pt x="8380" y="635"/>
                  <a:pt x="8350" y="635"/>
                </a:cubicBezTo>
                <a:cubicBezTo>
                  <a:pt x="8320" y="635"/>
                  <a:pt x="8296" y="685"/>
                  <a:pt x="8296" y="748"/>
                </a:cubicBezTo>
                <a:cubicBezTo>
                  <a:pt x="8296" y="810"/>
                  <a:pt x="8320" y="861"/>
                  <a:pt x="8350" y="861"/>
                </a:cubicBezTo>
                <a:close/>
                <a:moveTo>
                  <a:pt x="8350" y="534"/>
                </a:moveTo>
                <a:cubicBezTo>
                  <a:pt x="8380" y="534"/>
                  <a:pt x="8404" y="483"/>
                  <a:pt x="8404" y="421"/>
                </a:cubicBezTo>
                <a:cubicBezTo>
                  <a:pt x="8404" y="358"/>
                  <a:pt x="8380" y="308"/>
                  <a:pt x="8350" y="308"/>
                </a:cubicBezTo>
                <a:cubicBezTo>
                  <a:pt x="8320" y="308"/>
                  <a:pt x="8296" y="358"/>
                  <a:pt x="8296" y="421"/>
                </a:cubicBezTo>
                <a:cubicBezTo>
                  <a:pt x="8296" y="483"/>
                  <a:pt x="8320" y="534"/>
                  <a:pt x="8350" y="534"/>
                </a:cubicBezTo>
                <a:close/>
                <a:moveTo>
                  <a:pt x="6963" y="1528"/>
                </a:moveTo>
                <a:cubicBezTo>
                  <a:pt x="6993" y="1528"/>
                  <a:pt x="7017" y="1478"/>
                  <a:pt x="7017" y="1415"/>
                </a:cubicBezTo>
                <a:cubicBezTo>
                  <a:pt x="7017" y="1353"/>
                  <a:pt x="6993" y="1302"/>
                  <a:pt x="6963" y="1302"/>
                </a:cubicBezTo>
                <a:cubicBezTo>
                  <a:pt x="6933" y="1302"/>
                  <a:pt x="6909" y="1353"/>
                  <a:pt x="6909" y="1415"/>
                </a:cubicBezTo>
                <a:cubicBezTo>
                  <a:pt x="6909" y="1478"/>
                  <a:pt x="6933" y="1528"/>
                  <a:pt x="6963" y="1528"/>
                </a:cubicBezTo>
                <a:close/>
                <a:moveTo>
                  <a:pt x="6963" y="1202"/>
                </a:moveTo>
                <a:cubicBezTo>
                  <a:pt x="6993" y="1202"/>
                  <a:pt x="7017" y="1151"/>
                  <a:pt x="7017" y="1088"/>
                </a:cubicBezTo>
                <a:cubicBezTo>
                  <a:pt x="7017" y="1026"/>
                  <a:pt x="6993" y="975"/>
                  <a:pt x="6963" y="975"/>
                </a:cubicBezTo>
                <a:cubicBezTo>
                  <a:pt x="6933" y="975"/>
                  <a:pt x="6909" y="1026"/>
                  <a:pt x="6909" y="1088"/>
                </a:cubicBezTo>
                <a:cubicBezTo>
                  <a:pt x="6909" y="1151"/>
                  <a:pt x="6933" y="1202"/>
                  <a:pt x="6963" y="1202"/>
                </a:cubicBezTo>
                <a:close/>
                <a:moveTo>
                  <a:pt x="6810" y="1528"/>
                </a:moveTo>
                <a:cubicBezTo>
                  <a:pt x="6840" y="1528"/>
                  <a:pt x="6864" y="1478"/>
                  <a:pt x="6864" y="1415"/>
                </a:cubicBezTo>
                <a:cubicBezTo>
                  <a:pt x="6864" y="1353"/>
                  <a:pt x="6840" y="1302"/>
                  <a:pt x="6810" y="1302"/>
                </a:cubicBezTo>
                <a:cubicBezTo>
                  <a:pt x="6781" y="1302"/>
                  <a:pt x="6757" y="1353"/>
                  <a:pt x="6757" y="1415"/>
                </a:cubicBezTo>
                <a:cubicBezTo>
                  <a:pt x="6757" y="1478"/>
                  <a:pt x="6781" y="1528"/>
                  <a:pt x="6810" y="1528"/>
                </a:cubicBezTo>
                <a:close/>
                <a:moveTo>
                  <a:pt x="6810" y="1202"/>
                </a:moveTo>
                <a:cubicBezTo>
                  <a:pt x="6840" y="1202"/>
                  <a:pt x="6864" y="1151"/>
                  <a:pt x="6864" y="1088"/>
                </a:cubicBezTo>
                <a:cubicBezTo>
                  <a:pt x="6864" y="1026"/>
                  <a:pt x="6840" y="975"/>
                  <a:pt x="6810" y="975"/>
                </a:cubicBezTo>
                <a:cubicBezTo>
                  <a:pt x="6781" y="975"/>
                  <a:pt x="6757" y="1026"/>
                  <a:pt x="6757" y="1088"/>
                </a:cubicBezTo>
                <a:cubicBezTo>
                  <a:pt x="6757" y="1151"/>
                  <a:pt x="6781" y="1202"/>
                  <a:pt x="6810" y="1202"/>
                </a:cubicBezTo>
                <a:close/>
                <a:moveTo>
                  <a:pt x="6655" y="1528"/>
                </a:moveTo>
                <a:cubicBezTo>
                  <a:pt x="6685" y="1528"/>
                  <a:pt x="6709" y="1478"/>
                  <a:pt x="6709" y="1415"/>
                </a:cubicBezTo>
                <a:cubicBezTo>
                  <a:pt x="6709" y="1353"/>
                  <a:pt x="6685" y="1302"/>
                  <a:pt x="6655" y="1302"/>
                </a:cubicBezTo>
                <a:cubicBezTo>
                  <a:pt x="6625" y="1302"/>
                  <a:pt x="6601" y="1353"/>
                  <a:pt x="6601" y="1415"/>
                </a:cubicBezTo>
                <a:cubicBezTo>
                  <a:pt x="6601" y="1478"/>
                  <a:pt x="6625" y="1528"/>
                  <a:pt x="6655" y="1528"/>
                </a:cubicBezTo>
                <a:close/>
                <a:moveTo>
                  <a:pt x="6655" y="1202"/>
                </a:moveTo>
                <a:cubicBezTo>
                  <a:pt x="6685" y="1202"/>
                  <a:pt x="6709" y="1151"/>
                  <a:pt x="6709" y="1088"/>
                </a:cubicBezTo>
                <a:cubicBezTo>
                  <a:pt x="6709" y="1026"/>
                  <a:pt x="6685" y="975"/>
                  <a:pt x="6655" y="975"/>
                </a:cubicBezTo>
                <a:cubicBezTo>
                  <a:pt x="6625" y="975"/>
                  <a:pt x="6601" y="1026"/>
                  <a:pt x="6601" y="1088"/>
                </a:cubicBezTo>
                <a:cubicBezTo>
                  <a:pt x="6601" y="1151"/>
                  <a:pt x="6625" y="1202"/>
                  <a:pt x="6655" y="1202"/>
                </a:cubicBezTo>
                <a:close/>
                <a:moveTo>
                  <a:pt x="7423" y="1528"/>
                </a:moveTo>
                <a:cubicBezTo>
                  <a:pt x="7453" y="1528"/>
                  <a:pt x="7477" y="1478"/>
                  <a:pt x="7477" y="1415"/>
                </a:cubicBezTo>
                <a:cubicBezTo>
                  <a:pt x="7477" y="1353"/>
                  <a:pt x="7453" y="1302"/>
                  <a:pt x="7423" y="1302"/>
                </a:cubicBezTo>
                <a:cubicBezTo>
                  <a:pt x="7394" y="1302"/>
                  <a:pt x="7370" y="1353"/>
                  <a:pt x="7370" y="1415"/>
                </a:cubicBezTo>
                <a:cubicBezTo>
                  <a:pt x="7370" y="1478"/>
                  <a:pt x="7394" y="1528"/>
                  <a:pt x="7423" y="1528"/>
                </a:cubicBezTo>
                <a:close/>
                <a:moveTo>
                  <a:pt x="7423" y="1202"/>
                </a:moveTo>
                <a:cubicBezTo>
                  <a:pt x="7453" y="1202"/>
                  <a:pt x="7477" y="1151"/>
                  <a:pt x="7477" y="1088"/>
                </a:cubicBezTo>
                <a:cubicBezTo>
                  <a:pt x="7477" y="1026"/>
                  <a:pt x="7453" y="975"/>
                  <a:pt x="7423" y="975"/>
                </a:cubicBezTo>
                <a:cubicBezTo>
                  <a:pt x="7394" y="975"/>
                  <a:pt x="7370" y="1026"/>
                  <a:pt x="7370" y="1088"/>
                </a:cubicBezTo>
                <a:cubicBezTo>
                  <a:pt x="7370" y="1151"/>
                  <a:pt x="7394" y="1202"/>
                  <a:pt x="7423" y="1202"/>
                </a:cubicBezTo>
                <a:close/>
                <a:moveTo>
                  <a:pt x="7269" y="1528"/>
                </a:moveTo>
                <a:cubicBezTo>
                  <a:pt x="7299" y="1528"/>
                  <a:pt x="7323" y="1478"/>
                  <a:pt x="7323" y="1415"/>
                </a:cubicBezTo>
                <a:cubicBezTo>
                  <a:pt x="7323" y="1353"/>
                  <a:pt x="7299" y="1302"/>
                  <a:pt x="7269" y="1302"/>
                </a:cubicBezTo>
                <a:cubicBezTo>
                  <a:pt x="7240" y="1302"/>
                  <a:pt x="7216" y="1353"/>
                  <a:pt x="7216" y="1415"/>
                </a:cubicBezTo>
                <a:cubicBezTo>
                  <a:pt x="7216" y="1478"/>
                  <a:pt x="7240" y="1528"/>
                  <a:pt x="7269" y="1528"/>
                </a:cubicBezTo>
                <a:close/>
                <a:moveTo>
                  <a:pt x="7269" y="1202"/>
                </a:moveTo>
                <a:cubicBezTo>
                  <a:pt x="7299" y="1202"/>
                  <a:pt x="7323" y="1151"/>
                  <a:pt x="7323" y="1088"/>
                </a:cubicBezTo>
                <a:cubicBezTo>
                  <a:pt x="7323" y="1026"/>
                  <a:pt x="7299" y="975"/>
                  <a:pt x="7269" y="975"/>
                </a:cubicBezTo>
                <a:cubicBezTo>
                  <a:pt x="7240" y="975"/>
                  <a:pt x="7216" y="1026"/>
                  <a:pt x="7216" y="1088"/>
                </a:cubicBezTo>
                <a:cubicBezTo>
                  <a:pt x="7216" y="1151"/>
                  <a:pt x="7240" y="1202"/>
                  <a:pt x="7269" y="1202"/>
                </a:cubicBezTo>
                <a:close/>
                <a:moveTo>
                  <a:pt x="7117" y="1528"/>
                </a:moveTo>
                <a:cubicBezTo>
                  <a:pt x="7146" y="1528"/>
                  <a:pt x="7170" y="1478"/>
                  <a:pt x="7170" y="1415"/>
                </a:cubicBezTo>
                <a:cubicBezTo>
                  <a:pt x="7170" y="1353"/>
                  <a:pt x="7146" y="1302"/>
                  <a:pt x="7117" y="1302"/>
                </a:cubicBezTo>
                <a:cubicBezTo>
                  <a:pt x="7087" y="1302"/>
                  <a:pt x="7063" y="1353"/>
                  <a:pt x="7063" y="1415"/>
                </a:cubicBezTo>
                <a:cubicBezTo>
                  <a:pt x="7063" y="1478"/>
                  <a:pt x="7087" y="1528"/>
                  <a:pt x="7117" y="1528"/>
                </a:cubicBezTo>
                <a:close/>
                <a:moveTo>
                  <a:pt x="7117" y="1202"/>
                </a:moveTo>
                <a:cubicBezTo>
                  <a:pt x="7146" y="1202"/>
                  <a:pt x="7170" y="1151"/>
                  <a:pt x="7170" y="1088"/>
                </a:cubicBezTo>
                <a:cubicBezTo>
                  <a:pt x="7170" y="1026"/>
                  <a:pt x="7146" y="975"/>
                  <a:pt x="7117" y="975"/>
                </a:cubicBezTo>
                <a:cubicBezTo>
                  <a:pt x="7087" y="975"/>
                  <a:pt x="7063" y="1026"/>
                  <a:pt x="7063" y="1088"/>
                </a:cubicBezTo>
                <a:cubicBezTo>
                  <a:pt x="7063" y="1151"/>
                  <a:pt x="7087" y="1202"/>
                  <a:pt x="7117" y="1202"/>
                </a:cubicBezTo>
                <a:close/>
                <a:moveTo>
                  <a:pt x="8196" y="1202"/>
                </a:moveTo>
                <a:cubicBezTo>
                  <a:pt x="8226" y="1202"/>
                  <a:pt x="8250" y="1151"/>
                  <a:pt x="8250" y="1088"/>
                </a:cubicBezTo>
                <a:cubicBezTo>
                  <a:pt x="8250" y="1026"/>
                  <a:pt x="8226" y="975"/>
                  <a:pt x="8196" y="975"/>
                </a:cubicBezTo>
                <a:cubicBezTo>
                  <a:pt x="8167" y="975"/>
                  <a:pt x="8143" y="1026"/>
                  <a:pt x="8143" y="1088"/>
                </a:cubicBezTo>
                <a:cubicBezTo>
                  <a:pt x="8143" y="1151"/>
                  <a:pt x="8167" y="1202"/>
                  <a:pt x="8196" y="1202"/>
                </a:cubicBezTo>
                <a:close/>
                <a:moveTo>
                  <a:pt x="8044" y="1528"/>
                </a:moveTo>
                <a:cubicBezTo>
                  <a:pt x="8073" y="1528"/>
                  <a:pt x="8098" y="1478"/>
                  <a:pt x="8098" y="1415"/>
                </a:cubicBezTo>
                <a:cubicBezTo>
                  <a:pt x="8098" y="1353"/>
                  <a:pt x="8073" y="1302"/>
                  <a:pt x="8044" y="1302"/>
                </a:cubicBezTo>
                <a:cubicBezTo>
                  <a:pt x="8014" y="1302"/>
                  <a:pt x="7990" y="1353"/>
                  <a:pt x="7990" y="1415"/>
                </a:cubicBezTo>
                <a:cubicBezTo>
                  <a:pt x="7990" y="1478"/>
                  <a:pt x="8014" y="1528"/>
                  <a:pt x="8044" y="1528"/>
                </a:cubicBezTo>
                <a:close/>
                <a:moveTo>
                  <a:pt x="8044" y="1202"/>
                </a:moveTo>
                <a:cubicBezTo>
                  <a:pt x="8073" y="1202"/>
                  <a:pt x="8098" y="1151"/>
                  <a:pt x="8098" y="1088"/>
                </a:cubicBezTo>
                <a:cubicBezTo>
                  <a:pt x="8098" y="1026"/>
                  <a:pt x="8073" y="975"/>
                  <a:pt x="8044" y="975"/>
                </a:cubicBezTo>
                <a:cubicBezTo>
                  <a:pt x="8014" y="975"/>
                  <a:pt x="7990" y="1026"/>
                  <a:pt x="7990" y="1088"/>
                </a:cubicBezTo>
                <a:cubicBezTo>
                  <a:pt x="7990" y="1151"/>
                  <a:pt x="8014" y="1202"/>
                  <a:pt x="8044" y="1202"/>
                </a:cubicBezTo>
                <a:close/>
                <a:moveTo>
                  <a:pt x="7888" y="1302"/>
                </a:moveTo>
                <a:cubicBezTo>
                  <a:pt x="7859" y="1302"/>
                  <a:pt x="7835" y="1353"/>
                  <a:pt x="7835" y="1415"/>
                </a:cubicBezTo>
                <a:cubicBezTo>
                  <a:pt x="7835" y="1478"/>
                  <a:pt x="7859" y="1528"/>
                  <a:pt x="7888" y="1528"/>
                </a:cubicBezTo>
                <a:cubicBezTo>
                  <a:pt x="7918" y="1528"/>
                  <a:pt x="7942" y="1478"/>
                  <a:pt x="7942" y="1415"/>
                </a:cubicBezTo>
                <a:cubicBezTo>
                  <a:pt x="7942" y="1353"/>
                  <a:pt x="7918" y="1302"/>
                  <a:pt x="7888" y="1302"/>
                </a:cubicBezTo>
                <a:close/>
                <a:moveTo>
                  <a:pt x="7888" y="975"/>
                </a:moveTo>
                <a:cubicBezTo>
                  <a:pt x="7859" y="975"/>
                  <a:pt x="7835" y="1026"/>
                  <a:pt x="7835" y="1088"/>
                </a:cubicBezTo>
                <a:cubicBezTo>
                  <a:pt x="7835" y="1151"/>
                  <a:pt x="7859" y="1202"/>
                  <a:pt x="7888" y="1202"/>
                </a:cubicBezTo>
                <a:cubicBezTo>
                  <a:pt x="7918" y="1202"/>
                  <a:pt x="7942" y="1151"/>
                  <a:pt x="7942" y="1088"/>
                </a:cubicBezTo>
                <a:cubicBezTo>
                  <a:pt x="7942" y="1026"/>
                  <a:pt x="7918" y="975"/>
                  <a:pt x="7888" y="975"/>
                </a:cubicBezTo>
                <a:close/>
                <a:moveTo>
                  <a:pt x="7734" y="1302"/>
                </a:moveTo>
                <a:cubicBezTo>
                  <a:pt x="7705" y="1302"/>
                  <a:pt x="7681" y="1353"/>
                  <a:pt x="7681" y="1415"/>
                </a:cubicBezTo>
                <a:cubicBezTo>
                  <a:pt x="7681" y="1478"/>
                  <a:pt x="7705" y="1528"/>
                  <a:pt x="7734" y="1528"/>
                </a:cubicBezTo>
                <a:cubicBezTo>
                  <a:pt x="7764" y="1528"/>
                  <a:pt x="7788" y="1478"/>
                  <a:pt x="7788" y="1415"/>
                </a:cubicBezTo>
                <a:cubicBezTo>
                  <a:pt x="7788" y="1353"/>
                  <a:pt x="7764" y="1302"/>
                  <a:pt x="7734" y="1302"/>
                </a:cubicBezTo>
                <a:close/>
                <a:moveTo>
                  <a:pt x="7734" y="975"/>
                </a:moveTo>
                <a:cubicBezTo>
                  <a:pt x="7705" y="975"/>
                  <a:pt x="7681" y="1026"/>
                  <a:pt x="7681" y="1088"/>
                </a:cubicBezTo>
                <a:cubicBezTo>
                  <a:pt x="7681" y="1151"/>
                  <a:pt x="7705" y="1202"/>
                  <a:pt x="7734" y="1202"/>
                </a:cubicBezTo>
                <a:cubicBezTo>
                  <a:pt x="7764" y="1202"/>
                  <a:pt x="7788" y="1151"/>
                  <a:pt x="7788" y="1088"/>
                </a:cubicBezTo>
                <a:cubicBezTo>
                  <a:pt x="7788" y="1026"/>
                  <a:pt x="7764" y="975"/>
                  <a:pt x="7734" y="975"/>
                </a:cubicBezTo>
                <a:close/>
                <a:moveTo>
                  <a:pt x="7582" y="1302"/>
                </a:moveTo>
                <a:cubicBezTo>
                  <a:pt x="7552" y="1302"/>
                  <a:pt x="7528" y="1353"/>
                  <a:pt x="7528" y="1415"/>
                </a:cubicBezTo>
                <a:cubicBezTo>
                  <a:pt x="7528" y="1478"/>
                  <a:pt x="7552" y="1528"/>
                  <a:pt x="7582" y="1528"/>
                </a:cubicBezTo>
                <a:cubicBezTo>
                  <a:pt x="7611" y="1528"/>
                  <a:pt x="7636" y="1478"/>
                  <a:pt x="7636" y="1415"/>
                </a:cubicBezTo>
                <a:cubicBezTo>
                  <a:pt x="7636" y="1353"/>
                  <a:pt x="7611" y="1302"/>
                  <a:pt x="7582" y="1302"/>
                </a:cubicBezTo>
                <a:close/>
                <a:moveTo>
                  <a:pt x="7582" y="975"/>
                </a:moveTo>
                <a:cubicBezTo>
                  <a:pt x="7552" y="975"/>
                  <a:pt x="7528" y="1026"/>
                  <a:pt x="7528" y="1088"/>
                </a:cubicBezTo>
                <a:cubicBezTo>
                  <a:pt x="7528" y="1151"/>
                  <a:pt x="7552" y="1202"/>
                  <a:pt x="7582" y="1202"/>
                </a:cubicBezTo>
                <a:cubicBezTo>
                  <a:pt x="7611" y="1202"/>
                  <a:pt x="7636" y="1151"/>
                  <a:pt x="7636" y="1088"/>
                </a:cubicBezTo>
                <a:cubicBezTo>
                  <a:pt x="7636" y="1026"/>
                  <a:pt x="7611" y="975"/>
                  <a:pt x="7582" y="975"/>
                </a:cubicBezTo>
                <a:close/>
                <a:moveTo>
                  <a:pt x="6668" y="2912"/>
                </a:moveTo>
                <a:cubicBezTo>
                  <a:pt x="6638" y="2912"/>
                  <a:pt x="6614" y="2963"/>
                  <a:pt x="6614" y="3026"/>
                </a:cubicBezTo>
                <a:cubicBezTo>
                  <a:pt x="6614" y="3088"/>
                  <a:pt x="6638" y="3139"/>
                  <a:pt x="6668" y="3139"/>
                </a:cubicBezTo>
                <a:cubicBezTo>
                  <a:pt x="6698" y="3139"/>
                  <a:pt x="6722" y="3088"/>
                  <a:pt x="6722" y="3026"/>
                </a:cubicBezTo>
                <a:cubicBezTo>
                  <a:pt x="6722" y="2963"/>
                  <a:pt x="6698" y="2912"/>
                  <a:pt x="6668" y="2912"/>
                </a:cubicBezTo>
                <a:close/>
                <a:moveTo>
                  <a:pt x="6668" y="2591"/>
                </a:moveTo>
                <a:cubicBezTo>
                  <a:pt x="6638" y="2591"/>
                  <a:pt x="6614" y="2641"/>
                  <a:pt x="6614" y="2704"/>
                </a:cubicBezTo>
                <a:cubicBezTo>
                  <a:pt x="6614" y="2766"/>
                  <a:pt x="6638" y="2817"/>
                  <a:pt x="6668" y="2817"/>
                </a:cubicBezTo>
                <a:cubicBezTo>
                  <a:pt x="6698" y="2817"/>
                  <a:pt x="6722" y="2766"/>
                  <a:pt x="6722" y="2704"/>
                </a:cubicBezTo>
                <a:cubicBezTo>
                  <a:pt x="6722" y="2641"/>
                  <a:pt x="6698" y="2591"/>
                  <a:pt x="6668" y="2591"/>
                </a:cubicBezTo>
                <a:close/>
                <a:moveTo>
                  <a:pt x="6515" y="2591"/>
                </a:moveTo>
                <a:cubicBezTo>
                  <a:pt x="6486" y="2591"/>
                  <a:pt x="6462" y="2641"/>
                  <a:pt x="6462" y="2704"/>
                </a:cubicBezTo>
                <a:cubicBezTo>
                  <a:pt x="6462" y="2766"/>
                  <a:pt x="6486" y="2817"/>
                  <a:pt x="6515" y="2817"/>
                </a:cubicBezTo>
                <a:cubicBezTo>
                  <a:pt x="6545" y="2817"/>
                  <a:pt x="6569" y="2766"/>
                  <a:pt x="6569" y="2704"/>
                </a:cubicBezTo>
                <a:cubicBezTo>
                  <a:pt x="6569" y="2641"/>
                  <a:pt x="6545" y="2591"/>
                  <a:pt x="6515" y="2591"/>
                </a:cubicBezTo>
                <a:close/>
                <a:moveTo>
                  <a:pt x="6822" y="2591"/>
                </a:moveTo>
                <a:cubicBezTo>
                  <a:pt x="6792" y="2591"/>
                  <a:pt x="6768" y="2641"/>
                  <a:pt x="6768" y="2704"/>
                </a:cubicBezTo>
                <a:cubicBezTo>
                  <a:pt x="6768" y="2766"/>
                  <a:pt x="6792" y="2817"/>
                  <a:pt x="6822" y="2817"/>
                </a:cubicBezTo>
                <a:cubicBezTo>
                  <a:pt x="6851" y="2817"/>
                  <a:pt x="6875" y="2766"/>
                  <a:pt x="6875" y="2704"/>
                </a:cubicBezTo>
                <a:cubicBezTo>
                  <a:pt x="6875" y="2641"/>
                  <a:pt x="6851" y="2591"/>
                  <a:pt x="6822" y="2591"/>
                </a:cubicBezTo>
                <a:close/>
                <a:moveTo>
                  <a:pt x="6668" y="2284"/>
                </a:moveTo>
                <a:cubicBezTo>
                  <a:pt x="6638" y="2284"/>
                  <a:pt x="6614" y="2334"/>
                  <a:pt x="6614" y="2397"/>
                </a:cubicBezTo>
                <a:cubicBezTo>
                  <a:pt x="6614" y="2459"/>
                  <a:pt x="6638" y="2510"/>
                  <a:pt x="6668" y="2510"/>
                </a:cubicBezTo>
                <a:cubicBezTo>
                  <a:pt x="6698" y="2510"/>
                  <a:pt x="6722" y="2459"/>
                  <a:pt x="6722" y="2397"/>
                </a:cubicBezTo>
                <a:cubicBezTo>
                  <a:pt x="6722" y="2334"/>
                  <a:pt x="6698" y="2284"/>
                  <a:pt x="6668" y="2284"/>
                </a:cubicBezTo>
                <a:close/>
                <a:moveTo>
                  <a:pt x="6515" y="2284"/>
                </a:moveTo>
                <a:cubicBezTo>
                  <a:pt x="6486" y="2284"/>
                  <a:pt x="6462" y="2334"/>
                  <a:pt x="6462" y="2397"/>
                </a:cubicBezTo>
                <a:cubicBezTo>
                  <a:pt x="6462" y="2459"/>
                  <a:pt x="6486" y="2510"/>
                  <a:pt x="6515" y="2510"/>
                </a:cubicBezTo>
                <a:cubicBezTo>
                  <a:pt x="6545" y="2510"/>
                  <a:pt x="6569" y="2459"/>
                  <a:pt x="6569" y="2397"/>
                </a:cubicBezTo>
                <a:cubicBezTo>
                  <a:pt x="6569" y="2334"/>
                  <a:pt x="6545" y="2284"/>
                  <a:pt x="6515" y="2284"/>
                </a:cubicBezTo>
                <a:close/>
                <a:moveTo>
                  <a:pt x="6974" y="2284"/>
                </a:moveTo>
                <a:cubicBezTo>
                  <a:pt x="6945" y="2284"/>
                  <a:pt x="6921" y="2334"/>
                  <a:pt x="6921" y="2397"/>
                </a:cubicBezTo>
                <a:cubicBezTo>
                  <a:pt x="6921" y="2459"/>
                  <a:pt x="6945" y="2510"/>
                  <a:pt x="6974" y="2510"/>
                </a:cubicBezTo>
                <a:cubicBezTo>
                  <a:pt x="7004" y="2510"/>
                  <a:pt x="7028" y="2459"/>
                  <a:pt x="7028" y="2397"/>
                </a:cubicBezTo>
                <a:cubicBezTo>
                  <a:pt x="7028" y="2334"/>
                  <a:pt x="7004" y="2284"/>
                  <a:pt x="6974" y="2284"/>
                </a:cubicBezTo>
                <a:close/>
                <a:moveTo>
                  <a:pt x="6822" y="2284"/>
                </a:moveTo>
                <a:cubicBezTo>
                  <a:pt x="6792" y="2284"/>
                  <a:pt x="6768" y="2334"/>
                  <a:pt x="6768" y="2397"/>
                </a:cubicBezTo>
                <a:cubicBezTo>
                  <a:pt x="6768" y="2459"/>
                  <a:pt x="6792" y="2510"/>
                  <a:pt x="6822" y="2510"/>
                </a:cubicBezTo>
                <a:cubicBezTo>
                  <a:pt x="6851" y="2510"/>
                  <a:pt x="6875" y="2459"/>
                  <a:pt x="6875" y="2397"/>
                </a:cubicBezTo>
                <a:cubicBezTo>
                  <a:pt x="6875" y="2334"/>
                  <a:pt x="6851" y="2284"/>
                  <a:pt x="6822" y="2284"/>
                </a:cubicBezTo>
                <a:close/>
                <a:moveTo>
                  <a:pt x="6668" y="1947"/>
                </a:moveTo>
                <a:cubicBezTo>
                  <a:pt x="6638" y="1947"/>
                  <a:pt x="6614" y="1998"/>
                  <a:pt x="6614" y="2060"/>
                </a:cubicBezTo>
                <a:cubicBezTo>
                  <a:pt x="6614" y="2123"/>
                  <a:pt x="6638" y="2174"/>
                  <a:pt x="6668" y="2174"/>
                </a:cubicBezTo>
                <a:cubicBezTo>
                  <a:pt x="6698" y="2174"/>
                  <a:pt x="6722" y="2123"/>
                  <a:pt x="6722" y="2060"/>
                </a:cubicBezTo>
                <a:cubicBezTo>
                  <a:pt x="6722" y="1998"/>
                  <a:pt x="6698" y="1947"/>
                  <a:pt x="6668" y="1947"/>
                </a:cubicBezTo>
                <a:close/>
                <a:moveTo>
                  <a:pt x="6515" y="1947"/>
                </a:moveTo>
                <a:cubicBezTo>
                  <a:pt x="6486" y="1947"/>
                  <a:pt x="6462" y="1998"/>
                  <a:pt x="6462" y="2060"/>
                </a:cubicBezTo>
                <a:cubicBezTo>
                  <a:pt x="6462" y="2123"/>
                  <a:pt x="6486" y="2174"/>
                  <a:pt x="6515" y="2174"/>
                </a:cubicBezTo>
                <a:cubicBezTo>
                  <a:pt x="6545" y="2174"/>
                  <a:pt x="6569" y="2123"/>
                  <a:pt x="6569" y="2060"/>
                </a:cubicBezTo>
                <a:cubicBezTo>
                  <a:pt x="6569" y="1998"/>
                  <a:pt x="6545" y="1947"/>
                  <a:pt x="6515" y="1947"/>
                </a:cubicBezTo>
                <a:close/>
                <a:moveTo>
                  <a:pt x="7128" y="1947"/>
                </a:moveTo>
                <a:cubicBezTo>
                  <a:pt x="7099" y="1947"/>
                  <a:pt x="7074" y="1998"/>
                  <a:pt x="7074" y="2060"/>
                </a:cubicBezTo>
                <a:cubicBezTo>
                  <a:pt x="7074" y="2123"/>
                  <a:pt x="7099" y="2174"/>
                  <a:pt x="7128" y="2174"/>
                </a:cubicBezTo>
                <a:cubicBezTo>
                  <a:pt x="7158" y="2174"/>
                  <a:pt x="7182" y="2123"/>
                  <a:pt x="7182" y="2060"/>
                </a:cubicBezTo>
                <a:cubicBezTo>
                  <a:pt x="7182" y="1998"/>
                  <a:pt x="7158" y="1947"/>
                  <a:pt x="7128" y="1947"/>
                </a:cubicBezTo>
                <a:close/>
                <a:moveTo>
                  <a:pt x="6974" y="1947"/>
                </a:moveTo>
                <a:cubicBezTo>
                  <a:pt x="6945" y="1947"/>
                  <a:pt x="6921" y="1998"/>
                  <a:pt x="6921" y="2060"/>
                </a:cubicBezTo>
                <a:cubicBezTo>
                  <a:pt x="6921" y="2123"/>
                  <a:pt x="6945" y="2174"/>
                  <a:pt x="6974" y="2174"/>
                </a:cubicBezTo>
                <a:cubicBezTo>
                  <a:pt x="7004" y="2174"/>
                  <a:pt x="7028" y="2123"/>
                  <a:pt x="7028" y="2060"/>
                </a:cubicBezTo>
                <a:cubicBezTo>
                  <a:pt x="7028" y="1998"/>
                  <a:pt x="7004" y="1947"/>
                  <a:pt x="6974" y="1947"/>
                </a:cubicBezTo>
                <a:close/>
                <a:moveTo>
                  <a:pt x="6822" y="1947"/>
                </a:moveTo>
                <a:cubicBezTo>
                  <a:pt x="6792" y="1947"/>
                  <a:pt x="6768" y="1998"/>
                  <a:pt x="6768" y="2060"/>
                </a:cubicBezTo>
                <a:cubicBezTo>
                  <a:pt x="6768" y="2123"/>
                  <a:pt x="6792" y="2174"/>
                  <a:pt x="6822" y="2174"/>
                </a:cubicBezTo>
                <a:cubicBezTo>
                  <a:pt x="6851" y="2174"/>
                  <a:pt x="6875" y="2123"/>
                  <a:pt x="6875" y="2060"/>
                </a:cubicBezTo>
                <a:cubicBezTo>
                  <a:pt x="6875" y="1998"/>
                  <a:pt x="6851" y="1947"/>
                  <a:pt x="6822" y="1947"/>
                </a:cubicBezTo>
                <a:close/>
                <a:moveTo>
                  <a:pt x="7439" y="1947"/>
                </a:moveTo>
                <a:cubicBezTo>
                  <a:pt x="7410" y="1947"/>
                  <a:pt x="7386" y="1998"/>
                  <a:pt x="7386" y="2060"/>
                </a:cubicBezTo>
                <a:cubicBezTo>
                  <a:pt x="7386" y="2123"/>
                  <a:pt x="7410" y="2174"/>
                  <a:pt x="7439" y="2174"/>
                </a:cubicBezTo>
                <a:cubicBezTo>
                  <a:pt x="7469" y="2174"/>
                  <a:pt x="7493" y="2123"/>
                  <a:pt x="7493" y="2060"/>
                </a:cubicBezTo>
                <a:cubicBezTo>
                  <a:pt x="7493" y="1998"/>
                  <a:pt x="7469" y="1947"/>
                  <a:pt x="7439" y="1947"/>
                </a:cubicBezTo>
                <a:close/>
                <a:moveTo>
                  <a:pt x="7287" y="1947"/>
                </a:moveTo>
                <a:cubicBezTo>
                  <a:pt x="7257" y="1947"/>
                  <a:pt x="7233" y="1998"/>
                  <a:pt x="7233" y="2060"/>
                </a:cubicBezTo>
                <a:cubicBezTo>
                  <a:pt x="7233" y="2123"/>
                  <a:pt x="7257" y="2174"/>
                  <a:pt x="7287" y="2174"/>
                </a:cubicBezTo>
                <a:cubicBezTo>
                  <a:pt x="7316" y="2174"/>
                  <a:pt x="7341" y="2123"/>
                  <a:pt x="7341" y="2060"/>
                </a:cubicBezTo>
                <a:cubicBezTo>
                  <a:pt x="7341" y="1998"/>
                  <a:pt x="7316" y="1947"/>
                  <a:pt x="7287" y="1947"/>
                </a:cubicBezTo>
                <a:close/>
                <a:moveTo>
                  <a:pt x="6963" y="1839"/>
                </a:moveTo>
                <a:cubicBezTo>
                  <a:pt x="6993" y="1839"/>
                  <a:pt x="7017" y="1789"/>
                  <a:pt x="7017" y="1726"/>
                </a:cubicBezTo>
                <a:cubicBezTo>
                  <a:pt x="7017" y="1664"/>
                  <a:pt x="6993" y="1613"/>
                  <a:pt x="6963" y="1613"/>
                </a:cubicBezTo>
                <a:cubicBezTo>
                  <a:pt x="6933" y="1613"/>
                  <a:pt x="6909" y="1664"/>
                  <a:pt x="6909" y="1726"/>
                </a:cubicBezTo>
                <a:cubicBezTo>
                  <a:pt x="6909" y="1789"/>
                  <a:pt x="6933" y="1839"/>
                  <a:pt x="6963" y="1839"/>
                </a:cubicBezTo>
                <a:close/>
                <a:moveTo>
                  <a:pt x="6810" y="1839"/>
                </a:moveTo>
                <a:cubicBezTo>
                  <a:pt x="6840" y="1839"/>
                  <a:pt x="6864" y="1789"/>
                  <a:pt x="6864" y="1726"/>
                </a:cubicBezTo>
                <a:cubicBezTo>
                  <a:pt x="6864" y="1664"/>
                  <a:pt x="6840" y="1613"/>
                  <a:pt x="6810" y="1613"/>
                </a:cubicBezTo>
                <a:cubicBezTo>
                  <a:pt x="6781" y="1613"/>
                  <a:pt x="6757" y="1664"/>
                  <a:pt x="6757" y="1726"/>
                </a:cubicBezTo>
                <a:cubicBezTo>
                  <a:pt x="6757" y="1789"/>
                  <a:pt x="6781" y="1839"/>
                  <a:pt x="6810" y="1839"/>
                </a:cubicBezTo>
                <a:close/>
                <a:moveTo>
                  <a:pt x="6655" y="1839"/>
                </a:moveTo>
                <a:cubicBezTo>
                  <a:pt x="6685" y="1839"/>
                  <a:pt x="6709" y="1789"/>
                  <a:pt x="6709" y="1726"/>
                </a:cubicBezTo>
                <a:cubicBezTo>
                  <a:pt x="6709" y="1664"/>
                  <a:pt x="6685" y="1613"/>
                  <a:pt x="6655" y="1613"/>
                </a:cubicBezTo>
                <a:cubicBezTo>
                  <a:pt x="6625" y="1613"/>
                  <a:pt x="6601" y="1664"/>
                  <a:pt x="6601" y="1726"/>
                </a:cubicBezTo>
                <a:cubicBezTo>
                  <a:pt x="6601" y="1789"/>
                  <a:pt x="6625" y="1839"/>
                  <a:pt x="6655" y="1839"/>
                </a:cubicBezTo>
                <a:close/>
                <a:moveTo>
                  <a:pt x="7477" y="1726"/>
                </a:moveTo>
                <a:cubicBezTo>
                  <a:pt x="7477" y="1664"/>
                  <a:pt x="7453" y="1613"/>
                  <a:pt x="7423" y="1613"/>
                </a:cubicBezTo>
                <a:cubicBezTo>
                  <a:pt x="7394" y="1613"/>
                  <a:pt x="7370" y="1664"/>
                  <a:pt x="7370" y="1726"/>
                </a:cubicBezTo>
                <a:cubicBezTo>
                  <a:pt x="7370" y="1789"/>
                  <a:pt x="7394" y="1839"/>
                  <a:pt x="7423" y="1839"/>
                </a:cubicBezTo>
                <a:cubicBezTo>
                  <a:pt x="7453" y="1839"/>
                  <a:pt x="7477" y="1789"/>
                  <a:pt x="7477" y="1726"/>
                </a:cubicBezTo>
                <a:close/>
                <a:moveTo>
                  <a:pt x="7323" y="1726"/>
                </a:moveTo>
                <a:cubicBezTo>
                  <a:pt x="7323" y="1664"/>
                  <a:pt x="7299" y="1613"/>
                  <a:pt x="7269" y="1613"/>
                </a:cubicBezTo>
                <a:cubicBezTo>
                  <a:pt x="7240" y="1613"/>
                  <a:pt x="7216" y="1664"/>
                  <a:pt x="7216" y="1726"/>
                </a:cubicBezTo>
                <a:cubicBezTo>
                  <a:pt x="7216" y="1789"/>
                  <a:pt x="7240" y="1839"/>
                  <a:pt x="7269" y="1839"/>
                </a:cubicBezTo>
                <a:cubicBezTo>
                  <a:pt x="7299" y="1839"/>
                  <a:pt x="7323" y="1789"/>
                  <a:pt x="7323" y="1726"/>
                </a:cubicBezTo>
                <a:close/>
                <a:moveTo>
                  <a:pt x="7117" y="1839"/>
                </a:moveTo>
                <a:cubicBezTo>
                  <a:pt x="7146" y="1839"/>
                  <a:pt x="7170" y="1789"/>
                  <a:pt x="7170" y="1726"/>
                </a:cubicBezTo>
                <a:cubicBezTo>
                  <a:pt x="7170" y="1664"/>
                  <a:pt x="7146" y="1613"/>
                  <a:pt x="7117" y="1613"/>
                </a:cubicBezTo>
                <a:cubicBezTo>
                  <a:pt x="7087" y="1613"/>
                  <a:pt x="7063" y="1664"/>
                  <a:pt x="7063" y="1726"/>
                </a:cubicBezTo>
                <a:cubicBezTo>
                  <a:pt x="7063" y="1789"/>
                  <a:pt x="7087" y="1839"/>
                  <a:pt x="7117" y="1839"/>
                </a:cubicBezTo>
                <a:close/>
                <a:moveTo>
                  <a:pt x="7888" y="1613"/>
                </a:moveTo>
                <a:cubicBezTo>
                  <a:pt x="7859" y="1613"/>
                  <a:pt x="7835" y="1664"/>
                  <a:pt x="7835" y="1726"/>
                </a:cubicBezTo>
                <a:cubicBezTo>
                  <a:pt x="7835" y="1789"/>
                  <a:pt x="7859" y="1839"/>
                  <a:pt x="7888" y="1839"/>
                </a:cubicBezTo>
                <a:cubicBezTo>
                  <a:pt x="7918" y="1839"/>
                  <a:pt x="7942" y="1789"/>
                  <a:pt x="7942" y="1726"/>
                </a:cubicBezTo>
                <a:cubicBezTo>
                  <a:pt x="7942" y="1664"/>
                  <a:pt x="7918" y="1613"/>
                  <a:pt x="7888" y="1613"/>
                </a:cubicBezTo>
                <a:close/>
                <a:moveTo>
                  <a:pt x="7734" y="1613"/>
                </a:moveTo>
                <a:cubicBezTo>
                  <a:pt x="7705" y="1613"/>
                  <a:pt x="7681" y="1664"/>
                  <a:pt x="7681" y="1726"/>
                </a:cubicBezTo>
                <a:cubicBezTo>
                  <a:pt x="7681" y="1789"/>
                  <a:pt x="7705" y="1839"/>
                  <a:pt x="7734" y="1839"/>
                </a:cubicBezTo>
                <a:cubicBezTo>
                  <a:pt x="7764" y="1839"/>
                  <a:pt x="7788" y="1789"/>
                  <a:pt x="7788" y="1726"/>
                </a:cubicBezTo>
                <a:cubicBezTo>
                  <a:pt x="7788" y="1664"/>
                  <a:pt x="7764" y="1613"/>
                  <a:pt x="7734" y="1613"/>
                </a:cubicBezTo>
                <a:close/>
                <a:moveTo>
                  <a:pt x="7582" y="1613"/>
                </a:moveTo>
                <a:cubicBezTo>
                  <a:pt x="7552" y="1613"/>
                  <a:pt x="7528" y="1664"/>
                  <a:pt x="7528" y="1726"/>
                </a:cubicBezTo>
                <a:cubicBezTo>
                  <a:pt x="7528" y="1789"/>
                  <a:pt x="7552" y="1839"/>
                  <a:pt x="7582" y="1839"/>
                </a:cubicBezTo>
                <a:cubicBezTo>
                  <a:pt x="7611" y="1839"/>
                  <a:pt x="7636" y="1789"/>
                  <a:pt x="7636" y="1726"/>
                </a:cubicBezTo>
                <a:cubicBezTo>
                  <a:pt x="7636" y="1664"/>
                  <a:pt x="7611" y="1613"/>
                  <a:pt x="7582" y="1613"/>
                </a:cubicBezTo>
                <a:close/>
                <a:moveTo>
                  <a:pt x="8811" y="8087"/>
                </a:moveTo>
                <a:cubicBezTo>
                  <a:pt x="8782" y="8087"/>
                  <a:pt x="8758" y="8137"/>
                  <a:pt x="8758" y="8200"/>
                </a:cubicBezTo>
                <a:cubicBezTo>
                  <a:pt x="8758" y="8262"/>
                  <a:pt x="8782" y="8313"/>
                  <a:pt x="8811" y="8313"/>
                </a:cubicBezTo>
                <a:cubicBezTo>
                  <a:pt x="8841" y="8313"/>
                  <a:pt x="8865" y="8262"/>
                  <a:pt x="8865" y="8200"/>
                </a:cubicBezTo>
                <a:cubicBezTo>
                  <a:pt x="8865" y="8137"/>
                  <a:pt x="8841" y="8087"/>
                  <a:pt x="8811" y="8087"/>
                </a:cubicBezTo>
                <a:close/>
                <a:moveTo>
                  <a:pt x="8659" y="8087"/>
                </a:moveTo>
                <a:cubicBezTo>
                  <a:pt x="8629" y="8087"/>
                  <a:pt x="8605" y="8137"/>
                  <a:pt x="8605" y="8200"/>
                </a:cubicBezTo>
                <a:cubicBezTo>
                  <a:pt x="8605" y="8262"/>
                  <a:pt x="8629" y="8313"/>
                  <a:pt x="8659" y="8313"/>
                </a:cubicBezTo>
                <a:cubicBezTo>
                  <a:pt x="8688" y="8313"/>
                  <a:pt x="8712" y="8262"/>
                  <a:pt x="8712" y="8200"/>
                </a:cubicBezTo>
                <a:cubicBezTo>
                  <a:pt x="8712" y="8137"/>
                  <a:pt x="8688" y="8087"/>
                  <a:pt x="8659" y="8087"/>
                </a:cubicBezTo>
                <a:close/>
                <a:moveTo>
                  <a:pt x="8503" y="8087"/>
                </a:moveTo>
                <a:cubicBezTo>
                  <a:pt x="8474" y="8087"/>
                  <a:pt x="8450" y="8137"/>
                  <a:pt x="8450" y="8200"/>
                </a:cubicBezTo>
                <a:cubicBezTo>
                  <a:pt x="8450" y="8262"/>
                  <a:pt x="8474" y="8313"/>
                  <a:pt x="8503" y="8313"/>
                </a:cubicBezTo>
                <a:cubicBezTo>
                  <a:pt x="8533" y="8313"/>
                  <a:pt x="8557" y="8262"/>
                  <a:pt x="8557" y="8200"/>
                </a:cubicBezTo>
                <a:cubicBezTo>
                  <a:pt x="8557" y="8137"/>
                  <a:pt x="8533" y="8087"/>
                  <a:pt x="8503" y="8087"/>
                </a:cubicBezTo>
                <a:close/>
                <a:moveTo>
                  <a:pt x="8349" y="8087"/>
                </a:moveTo>
                <a:cubicBezTo>
                  <a:pt x="8320" y="8087"/>
                  <a:pt x="8296" y="8137"/>
                  <a:pt x="8296" y="8200"/>
                </a:cubicBezTo>
                <a:cubicBezTo>
                  <a:pt x="8296" y="8262"/>
                  <a:pt x="8320" y="8313"/>
                  <a:pt x="8349" y="8313"/>
                </a:cubicBezTo>
                <a:cubicBezTo>
                  <a:pt x="8379" y="8313"/>
                  <a:pt x="8403" y="8262"/>
                  <a:pt x="8403" y="8200"/>
                </a:cubicBezTo>
                <a:cubicBezTo>
                  <a:pt x="8403" y="8137"/>
                  <a:pt x="8379" y="8087"/>
                  <a:pt x="8349" y="8087"/>
                </a:cubicBezTo>
                <a:close/>
                <a:moveTo>
                  <a:pt x="8197" y="8087"/>
                </a:moveTo>
                <a:cubicBezTo>
                  <a:pt x="8167" y="8087"/>
                  <a:pt x="8143" y="8137"/>
                  <a:pt x="8143" y="8200"/>
                </a:cubicBezTo>
                <a:cubicBezTo>
                  <a:pt x="8143" y="8262"/>
                  <a:pt x="8167" y="8313"/>
                  <a:pt x="8197" y="8313"/>
                </a:cubicBezTo>
                <a:cubicBezTo>
                  <a:pt x="8226" y="8313"/>
                  <a:pt x="8250" y="8262"/>
                  <a:pt x="8250" y="8200"/>
                </a:cubicBezTo>
                <a:cubicBezTo>
                  <a:pt x="8250" y="8137"/>
                  <a:pt x="8226" y="8087"/>
                  <a:pt x="8197" y="8087"/>
                </a:cubicBezTo>
                <a:close/>
                <a:moveTo>
                  <a:pt x="9272" y="8087"/>
                </a:moveTo>
                <a:cubicBezTo>
                  <a:pt x="9242" y="8087"/>
                  <a:pt x="9218" y="8137"/>
                  <a:pt x="9218" y="8200"/>
                </a:cubicBezTo>
                <a:cubicBezTo>
                  <a:pt x="9218" y="8262"/>
                  <a:pt x="9242" y="8313"/>
                  <a:pt x="9272" y="8313"/>
                </a:cubicBezTo>
                <a:cubicBezTo>
                  <a:pt x="9301" y="8313"/>
                  <a:pt x="9325" y="8262"/>
                  <a:pt x="9325" y="8200"/>
                </a:cubicBezTo>
                <a:cubicBezTo>
                  <a:pt x="9325" y="8137"/>
                  <a:pt x="9301" y="8087"/>
                  <a:pt x="9272" y="8087"/>
                </a:cubicBezTo>
                <a:close/>
                <a:moveTo>
                  <a:pt x="9118" y="8087"/>
                </a:moveTo>
                <a:cubicBezTo>
                  <a:pt x="9088" y="8087"/>
                  <a:pt x="9064" y="8137"/>
                  <a:pt x="9064" y="8200"/>
                </a:cubicBezTo>
                <a:cubicBezTo>
                  <a:pt x="9064" y="8262"/>
                  <a:pt x="9088" y="8313"/>
                  <a:pt x="9118" y="8313"/>
                </a:cubicBezTo>
                <a:cubicBezTo>
                  <a:pt x="9147" y="8313"/>
                  <a:pt x="9171" y="8262"/>
                  <a:pt x="9171" y="8200"/>
                </a:cubicBezTo>
                <a:cubicBezTo>
                  <a:pt x="9171" y="8137"/>
                  <a:pt x="9147" y="8087"/>
                  <a:pt x="9118" y="8087"/>
                </a:cubicBezTo>
                <a:close/>
                <a:moveTo>
                  <a:pt x="8965" y="8087"/>
                </a:moveTo>
                <a:cubicBezTo>
                  <a:pt x="8935" y="8087"/>
                  <a:pt x="8911" y="8137"/>
                  <a:pt x="8911" y="8200"/>
                </a:cubicBezTo>
                <a:cubicBezTo>
                  <a:pt x="8911" y="8262"/>
                  <a:pt x="8935" y="8313"/>
                  <a:pt x="8965" y="8313"/>
                </a:cubicBezTo>
                <a:cubicBezTo>
                  <a:pt x="8995" y="8313"/>
                  <a:pt x="9019" y="8262"/>
                  <a:pt x="9019" y="8200"/>
                </a:cubicBezTo>
                <a:cubicBezTo>
                  <a:pt x="9019" y="8137"/>
                  <a:pt x="8995" y="8087"/>
                  <a:pt x="8965" y="8087"/>
                </a:cubicBezTo>
                <a:close/>
                <a:moveTo>
                  <a:pt x="10045" y="8087"/>
                </a:moveTo>
                <a:cubicBezTo>
                  <a:pt x="10015" y="8087"/>
                  <a:pt x="9991" y="8137"/>
                  <a:pt x="9991" y="8200"/>
                </a:cubicBezTo>
                <a:cubicBezTo>
                  <a:pt x="9991" y="8262"/>
                  <a:pt x="10015" y="8313"/>
                  <a:pt x="10045" y="8313"/>
                </a:cubicBezTo>
                <a:cubicBezTo>
                  <a:pt x="10074" y="8313"/>
                  <a:pt x="10098" y="8262"/>
                  <a:pt x="10098" y="8200"/>
                </a:cubicBezTo>
                <a:cubicBezTo>
                  <a:pt x="10098" y="8137"/>
                  <a:pt x="10074" y="8087"/>
                  <a:pt x="10045" y="8087"/>
                </a:cubicBezTo>
                <a:close/>
                <a:moveTo>
                  <a:pt x="9892" y="8313"/>
                </a:moveTo>
                <a:cubicBezTo>
                  <a:pt x="9922" y="8313"/>
                  <a:pt x="9946" y="8262"/>
                  <a:pt x="9946" y="8200"/>
                </a:cubicBezTo>
                <a:cubicBezTo>
                  <a:pt x="9946" y="8137"/>
                  <a:pt x="9922" y="8087"/>
                  <a:pt x="9892" y="8087"/>
                </a:cubicBezTo>
                <a:cubicBezTo>
                  <a:pt x="9862" y="8087"/>
                  <a:pt x="9838" y="8137"/>
                  <a:pt x="9838" y="8200"/>
                </a:cubicBezTo>
                <a:cubicBezTo>
                  <a:pt x="9838" y="8262"/>
                  <a:pt x="9862" y="8313"/>
                  <a:pt x="9892" y="8313"/>
                </a:cubicBezTo>
                <a:close/>
                <a:moveTo>
                  <a:pt x="9737" y="8087"/>
                </a:moveTo>
                <a:cubicBezTo>
                  <a:pt x="9707" y="8087"/>
                  <a:pt x="9683" y="8137"/>
                  <a:pt x="9683" y="8200"/>
                </a:cubicBezTo>
                <a:cubicBezTo>
                  <a:pt x="9683" y="8262"/>
                  <a:pt x="9707" y="8313"/>
                  <a:pt x="9737" y="8313"/>
                </a:cubicBezTo>
                <a:cubicBezTo>
                  <a:pt x="9766" y="8313"/>
                  <a:pt x="9791" y="8262"/>
                  <a:pt x="9791" y="8200"/>
                </a:cubicBezTo>
                <a:cubicBezTo>
                  <a:pt x="9791" y="8137"/>
                  <a:pt x="9766" y="8087"/>
                  <a:pt x="9737" y="8087"/>
                </a:cubicBezTo>
                <a:close/>
                <a:moveTo>
                  <a:pt x="9583" y="8087"/>
                </a:moveTo>
                <a:cubicBezTo>
                  <a:pt x="9553" y="8087"/>
                  <a:pt x="9529" y="8137"/>
                  <a:pt x="9529" y="8200"/>
                </a:cubicBezTo>
                <a:cubicBezTo>
                  <a:pt x="9529" y="8262"/>
                  <a:pt x="9553" y="8313"/>
                  <a:pt x="9583" y="8313"/>
                </a:cubicBezTo>
                <a:cubicBezTo>
                  <a:pt x="9612" y="8313"/>
                  <a:pt x="9637" y="8262"/>
                  <a:pt x="9637" y="8200"/>
                </a:cubicBezTo>
                <a:cubicBezTo>
                  <a:pt x="9637" y="8137"/>
                  <a:pt x="9612" y="8087"/>
                  <a:pt x="9583" y="8087"/>
                </a:cubicBezTo>
                <a:close/>
                <a:moveTo>
                  <a:pt x="9430" y="8087"/>
                </a:moveTo>
                <a:cubicBezTo>
                  <a:pt x="9400" y="8087"/>
                  <a:pt x="9376" y="8137"/>
                  <a:pt x="9376" y="8200"/>
                </a:cubicBezTo>
                <a:cubicBezTo>
                  <a:pt x="9376" y="8262"/>
                  <a:pt x="9400" y="8313"/>
                  <a:pt x="9430" y="8313"/>
                </a:cubicBezTo>
                <a:cubicBezTo>
                  <a:pt x="9460" y="8313"/>
                  <a:pt x="9484" y="8262"/>
                  <a:pt x="9484" y="8200"/>
                </a:cubicBezTo>
                <a:cubicBezTo>
                  <a:pt x="9484" y="8137"/>
                  <a:pt x="9460" y="8087"/>
                  <a:pt x="9430" y="8087"/>
                </a:cubicBezTo>
                <a:close/>
                <a:moveTo>
                  <a:pt x="10813" y="8087"/>
                </a:moveTo>
                <a:cubicBezTo>
                  <a:pt x="10783" y="8087"/>
                  <a:pt x="10759" y="8137"/>
                  <a:pt x="10759" y="8200"/>
                </a:cubicBezTo>
                <a:cubicBezTo>
                  <a:pt x="10759" y="8262"/>
                  <a:pt x="10783" y="8313"/>
                  <a:pt x="10813" y="8313"/>
                </a:cubicBezTo>
                <a:cubicBezTo>
                  <a:pt x="10843" y="8313"/>
                  <a:pt x="10867" y="8262"/>
                  <a:pt x="10867" y="8200"/>
                </a:cubicBezTo>
                <a:cubicBezTo>
                  <a:pt x="10867" y="8137"/>
                  <a:pt x="10843" y="8087"/>
                  <a:pt x="10813" y="8087"/>
                </a:cubicBezTo>
                <a:close/>
                <a:moveTo>
                  <a:pt x="10660" y="8087"/>
                </a:moveTo>
                <a:cubicBezTo>
                  <a:pt x="10631" y="8087"/>
                  <a:pt x="10607" y="8137"/>
                  <a:pt x="10607" y="8200"/>
                </a:cubicBezTo>
                <a:cubicBezTo>
                  <a:pt x="10607" y="8262"/>
                  <a:pt x="10631" y="8313"/>
                  <a:pt x="10660" y="8313"/>
                </a:cubicBezTo>
                <a:cubicBezTo>
                  <a:pt x="10690" y="8313"/>
                  <a:pt x="10714" y="8262"/>
                  <a:pt x="10714" y="8200"/>
                </a:cubicBezTo>
                <a:cubicBezTo>
                  <a:pt x="10714" y="8137"/>
                  <a:pt x="10690" y="8087"/>
                  <a:pt x="10660" y="8087"/>
                </a:cubicBezTo>
                <a:close/>
                <a:moveTo>
                  <a:pt x="10505" y="8087"/>
                </a:moveTo>
                <a:cubicBezTo>
                  <a:pt x="10475" y="8087"/>
                  <a:pt x="10451" y="8137"/>
                  <a:pt x="10451" y="8200"/>
                </a:cubicBezTo>
                <a:cubicBezTo>
                  <a:pt x="10451" y="8262"/>
                  <a:pt x="10475" y="8313"/>
                  <a:pt x="10505" y="8313"/>
                </a:cubicBezTo>
                <a:cubicBezTo>
                  <a:pt x="10535" y="8313"/>
                  <a:pt x="10559" y="8262"/>
                  <a:pt x="10559" y="8200"/>
                </a:cubicBezTo>
                <a:cubicBezTo>
                  <a:pt x="10559" y="8137"/>
                  <a:pt x="10535" y="8087"/>
                  <a:pt x="10505" y="8087"/>
                </a:cubicBezTo>
                <a:close/>
                <a:moveTo>
                  <a:pt x="10351" y="8087"/>
                </a:moveTo>
                <a:cubicBezTo>
                  <a:pt x="10321" y="8087"/>
                  <a:pt x="10297" y="8137"/>
                  <a:pt x="10297" y="8200"/>
                </a:cubicBezTo>
                <a:cubicBezTo>
                  <a:pt x="10297" y="8262"/>
                  <a:pt x="10321" y="8313"/>
                  <a:pt x="10351" y="8313"/>
                </a:cubicBezTo>
                <a:cubicBezTo>
                  <a:pt x="10381" y="8313"/>
                  <a:pt x="10405" y="8262"/>
                  <a:pt x="10405" y="8200"/>
                </a:cubicBezTo>
                <a:cubicBezTo>
                  <a:pt x="10405" y="8137"/>
                  <a:pt x="10381" y="8087"/>
                  <a:pt x="10351" y="8087"/>
                </a:cubicBezTo>
                <a:close/>
                <a:moveTo>
                  <a:pt x="10198" y="8087"/>
                </a:moveTo>
                <a:cubicBezTo>
                  <a:pt x="10169" y="8087"/>
                  <a:pt x="10145" y="8137"/>
                  <a:pt x="10145" y="8200"/>
                </a:cubicBezTo>
                <a:cubicBezTo>
                  <a:pt x="10145" y="8262"/>
                  <a:pt x="10169" y="8313"/>
                  <a:pt x="10198" y="8313"/>
                </a:cubicBezTo>
                <a:cubicBezTo>
                  <a:pt x="10228" y="8313"/>
                  <a:pt x="10252" y="8262"/>
                  <a:pt x="10252" y="8200"/>
                </a:cubicBezTo>
                <a:cubicBezTo>
                  <a:pt x="10252" y="8137"/>
                  <a:pt x="10228" y="8087"/>
                  <a:pt x="10198" y="8087"/>
                </a:cubicBezTo>
                <a:close/>
                <a:moveTo>
                  <a:pt x="11428" y="8394"/>
                </a:moveTo>
                <a:cubicBezTo>
                  <a:pt x="11399" y="8394"/>
                  <a:pt x="11375" y="8445"/>
                  <a:pt x="11375" y="8507"/>
                </a:cubicBezTo>
                <a:cubicBezTo>
                  <a:pt x="11375" y="8570"/>
                  <a:pt x="11399" y="8621"/>
                  <a:pt x="11428" y="8621"/>
                </a:cubicBezTo>
                <a:cubicBezTo>
                  <a:pt x="11458" y="8621"/>
                  <a:pt x="11482" y="8570"/>
                  <a:pt x="11482" y="8507"/>
                </a:cubicBezTo>
                <a:cubicBezTo>
                  <a:pt x="11482" y="8445"/>
                  <a:pt x="11458" y="8394"/>
                  <a:pt x="11428" y="8394"/>
                </a:cubicBezTo>
                <a:close/>
                <a:moveTo>
                  <a:pt x="11273" y="8721"/>
                </a:moveTo>
                <a:cubicBezTo>
                  <a:pt x="11243" y="8721"/>
                  <a:pt x="11219" y="8772"/>
                  <a:pt x="11219" y="8834"/>
                </a:cubicBezTo>
                <a:cubicBezTo>
                  <a:pt x="11219" y="8897"/>
                  <a:pt x="11243" y="8947"/>
                  <a:pt x="11273" y="8947"/>
                </a:cubicBezTo>
                <a:cubicBezTo>
                  <a:pt x="11303" y="8947"/>
                  <a:pt x="11327" y="8897"/>
                  <a:pt x="11327" y="8834"/>
                </a:cubicBezTo>
                <a:cubicBezTo>
                  <a:pt x="11327" y="8772"/>
                  <a:pt x="11303" y="8721"/>
                  <a:pt x="11273" y="8721"/>
                </a:cubicBezTo>
                <a:close/>
                <a:moveTo>
                  <a:pt x="11273" y="8394"/>
                </a:moveTo>
                <a:cubicBezTo>
                  <a:pt x="11243" y="8394"/>
                  <a:pt x="11219" y="8445"/>
                  <a:pt x="11219" y="8507"/>
                </a:cubicBezTo>
                <a:cubicBezTo>
                  <a:pt x="11219" y="8570"/>
                  <a:pt x="11243" y="8621"/>
                  <a:pt x="11273" y="8621"/>
                </a:cubicBezTo>
                <a:cubicBezTo>
                  <a:pt x="11303" y="8621"/>
                  <a:pt x="11327" y="8570"/>
                  <a:pt x="11327" y="8507"/>
                </a:cubicBezTo>
                <a:cubicBezTo>
                  <a:pt x="11327" y="8445"/>
                  <a:pt x="11303" y="8394"/>
                  <a:pt x="11273" y="8394"/>
                </a:cubicBezTo>
                <a:close/>
                <a:moveTo>
                  <a:pt x="11119" y="8721"/>
                </a:moveTo>
                <a:cubicBezTo>
                  <a:pt x="11089" y="8721"/>
                  <a:pt x="11065" y="8772"/>
                  <a:pt x="11065" y="8834"/>
                </a:cubicBezTo>
                <a:cubicBezTo>
                  <a:pt x="11065" y="8897"/>
                  <a:pt x="11089" y="8947"/>
                  <a:pt x="11119" y="8947"/>
                </a:cubicBezTo>
                <a:cubicBezTo>
                  <a:pt x="11149" y="8947"/>
                  <a:pt x="11173" y="8897"/>
                  <a:pt x="11173" y="8834"/>
                </a:cubicBezTo>
                <a:cubicBezTo>
                  <a:pt x="11173" y="8772"/>
                  <a:pt x="11149" y="8721"/>
                  <a:pt x="11119" y="8721"/>
                </a:cubicBezTo>
                <a:close/>
                <a:moveTo>
                  <a:pt x="11119" y="8394"/>
                </a:moveTo>
                <a:cubicBezTo>
                  <a:pt x="11089" y="8394"/>
                  <a:pt x="11065" y="8445"/>
                  <a:pt x="11065" y="8507"/>
                </a:cubicBezTo>
                <a:cubicBezTo>
                  <a:pt x="11065" y="8570"/>
                  <a:pt x="11089" y="8621"/>
                  <a:pt x="11119" y="8621"/>
                </a:cubicBezTo>
                <a:cubicBezTo>
                  <a:pt x="11149" y="8621"/>
                  <a:pt x="11173" y="8570"/>
                  <a:pt x="11173" y="8507"/>
                </a:cubicBezTo>
                <a:cubicBezTo>
                  <a:pt x="11173" y="8445"/>
                  <a:pt x="11149" y="8394"/>
                  <a:pt x="11119" y="8394"/>
                </a:cubicBezTo>
                <a:close/>
                <a:moveTo>
                  <a:pt x="10967" y="8721"/>
                </a:moveTo>
                <a:cubicBezTo>
                  <a:pt x="10937" y="8721"/>
                  <a:pt x="10913" y="8772"/>
                  <a:pt x="10913" y="8834"/>
                </a:cubicBezTo>
                <a:cubicBezTo>
                  <a:pt x="10913" y="8897"/>
                  <a:pt x="10937" y="8947"/>
                  <a:pt x="10967" y="8947"/>
                </a:cubicBezTo>
                <a:cubicBezTo>
                  <a:pt x="10996" y="8947"/>
                  <a:pt x="11020" y="8897"/>
                  <a:pt x="11020" y="8834"/>
                </a:cubicBezTo>
                <a:cubicBezTo>
                  <a:pt x="11020" y="8772"/>
                  <a:pt x="10996" y="8721"/>
                  <a:pt x="10967" y="8721"/>
                </a:cubicBezTo>
                <a:close/>
                <a:moveTo>
                  <a:pt x="10967" y="8394"/>
                </a:moveTo>
                <a:cubicBezTo>
                  <a:pt x="10937" y="8394"/>
                  <a:pt x="10913" y="8445"/>
                  <a:pt x="10913" y="8507"/>
                </a:cubicBezTo>
                <a:cubicBezTo>
                  <a:pt x="10913" y="8570"/>
                  <a:pt x="10937" y="8621"/>
                  <a:pt x="10967" y="8621"/>
                </a:cubicBezTo>
                <a:cubicBezTo>
                  <a:pt x="10996" y="8621"/>
                  <a:pt x="11020" y="8570"/>
                  <a:pt x="11020" y="8507"/>
                </a:cubicBezTo>
                <a:cubicBezTo>
                  <a:pt x="11020" y="8445"/>
                  <a:pt x="10996" y="8394"/>
                  <a:pt x="10967" y="8394"/>
                </a:cubicBezTo>
                <a:close/>
                <a:moveTo>
                  <a:pt x="8052" y="8721"/>
                </a:moveTo>
                <a:cubicBezTo>
                  <a:pt x="8022" y="8721"/>
                  <a:pt x="7998" y="8772"/>
                  <a:pt x="7998" y="8834"/>
                </a:cubicBezTo>
                <a:cubicBezTo>
                  <a:pt x="7998" y="8897"/>
                  <a:pt x="8022" y="8947"/>
                  <a:pt x="8052" y="8947"/>
                </a:cubicBezTo>
                <a:cubicBezTo>
                  <a:pt x="8082" y="8947"/>
                  <a:pt x="8106" y="8897"/>
                  <a:pt x="8106" y="8834"/>
                </a:cubicBezTo>
                <a:cubicBezTo>
                  <a:pt x="8106" y="8772"/>
                  <a:pt x="8082" y="8721"/>
                  <a:pt x="8052" y="8721"/>
                </a:cubicBezTo>
                <a:close/>
                <a:moveTo>
                  <a:pt x="8811" y="8721"/>
                </a:moveTo>
                <a:cubicBezTo>
                  <a:pt x="8782" y="8721"/>
                  <a:pt x="8758" y="8772"/>
                  <a:pt x="8758" y="8834"/>
                </a:cubicBezTo>
                <a:cubicBezTo>
                  <a:pt x="8758" y="8897"/>
                  <a:pt x="8782" y="8947"/>
                  <a:pt x="8811" y="8947"/>
                </a:cubicBezTo>
                <a:cubicBezTo>
                  <a:pt x="8841" y="8947"/>
                  <a:pt x="8865" y="8897"/>
                  <a:pt x="8865" y="8834"/>
                </a:cubicBezTo>
                <a:cubicBezTo>
                  <a:pt x="8865" y="8772"/>
                  <a:pt x="8841" y="8721"/>
                  <a:pt x="8811" y="8721"/>
                </a:cubicBezTo>
                <a:close/>
                <a:moveTo>
                  <a:pt x="8811" y="8394"/>
                </a:moveTo>
                <a:cubicBezTo>
                  <a:pt x="8782" y="8394"/>
                  <a:pt x="8758" y="8445"/>
                  <a:pt x="8758" y="8507"/>
                </a:cubicBezTo>
                <a:cubicBezTo>
                  <a:pt x="8758" y="8570"/>
                  <a:pt x="8782" y="8621"/>
                  <a:pt x="8811" y="8621"/>
                </a:cubicBezTo>
                <a:cubicBezTo>
                  <a:pt x="8841" y="8621"/>
                  <a:pt x="8865" y="8570"/>
                  <a:pt x="8865" y="8507"/>
                </a:cubicBezTo>
                <a:cubicBezTo>
                  <a:pt x="8865" y="8445"/>
                  <a:pt x="8841" y="8394"/>
                  <a:pt x="8811" y="8394"/>
                </a:cubicBezTo>
                <a:close/>
                <a:moveTo>
                  <a:pt x="8659" y="8721"/>
                </a:moveTo>
                <a:cubicBezTo>
                  <a:pt x="8629" y="8721"/>
                  <a:pt x="8605" y="8772"/>
                  <a:pt x="8605" y="8834"/>
                </a:cubicBezTo>
                <a:cubicBezTo>
                  <a:pt x="8605" y="8897"/>
                  <a:pt x="8629" y="8947"/>
                  <a:pt x="8659" y="8947"/>
                </a:cubicBezTo>
                <a:cubicBezTo>
                  <a:pt x="8688" y="8947"/>
                  <a:pt x="8712" y="8897"/>
                  <a:pt x="8712" y="8834"/>
                </a:cubicBezTo>
                <a:cubicBezTo>
                  <a:pt x="8712" y="8772"/>
                  <a:pt x="8688" y="8721"/>
                  <a:pt x="8659" y="8721"/>
                </a:cubicBezTo>
                <a:close/>
                <a:moveTo>
                  <a:pt x="8659" y="8394"/>
                </a:moveTo>
                <a:cubicBezTo>
                  <a:pt x="8629" y="8394"/>
                  <a:pt x="8605" y="8445"/>
                  <a:pt x="8605" y="8507"/>
                </a:cubicBezTo>
                <a:cubicBezTo>
                  <a:pt x="8605" y="8570"/>
                  <a:pt x="8629" y="8621"/>
                  <a:pt x="8659" y="8621"/>
                </a:cubicBezTo>
                <a:cubicBezTo>
                  <a:pt x="8688" y="8621"/>
                  <a:pt x="8712" y="8570"/>
                  <a:pt x="8712" y="8507"/>
                </a:cubicBezTo>
                <a:cubicBezTo>
                  <a:pt x="8712" y="8445"/>
                  <a:pt x="8688" y="8394"/>
                  <a:pt x="8659" y="8394"/>
                </a:cubicBezTo>
                <a:close/>
                <a:moveTo>
                  <a:pt x="8503" y="8721"/>
                </a:moveTo>
                <a:cubicBezTo>
                  <a:pt x="8474" y="8721"/>
                  <a:pt x="8450" y="8772"/>
                  <a:pt x="8450" y="8834"/>
                </a:cubicBezTo>
                <a:cubicBezTo>
                  <a:pt x="8450" y="8897"/>
                  <a:pt x="8474" y="8947"/>
                  <a:pt x="8503" y="8947"/>
                </a:cubicBezTo>
                <a:cubicBezTo>
                  <a:pt x="8533" y="8947"/>
                  <a:pt x="8557" y="8897"/>
                  <a:pt x="8557" y="8834"/>
                </a:cubicBezTo>
                <a:cubicBezTo>
                  <a:pt x="8557" y="8772"/>
                  <a:pt x="8533" y="8721"/>
                  <a:pt x="8503" y="8721"/>
                </a:cubicBezTo>
                <a:close/>
                <a:moveTo>
                  <a:pt x="8503" y="8394"/>
                </a:moveTo>
                <a:cubicBezTo>
                  <a:pt x="8474" y="8394"/>
                  <a:pt x="8450" y="8445"/>
                  <a:pt x="8450" y="8507"/>
                </a:cubicBezTo>
                <a:cubicBezTo>
                  <a:pt x="8450" y="8570"/>
                  <a:pt x="8474" y="8621"/>
                  <a:pt x="8503" y="8621"/>
                </a:cubicBezTo>
                <a:cubicBezTo>
                  <a:pt x="8533" y="8621"/>
                  <a:pt x="8557" y="8570"/>
                  <a:pt x="8557" y="8507"/>
                </a:cubicBezTo>
                <a:cubicBezTo>
                  <a:pt x="8557" y="8445"/>
                  <a:pt x="8533" y="8394"/>
                  <a:pt x="8503" y="8394"/>
                </a:cubicBezTo>
                <a:close/>
                <a:moveTo>
                  <a:pt x="8349" y="8721"/>
                </a:moveTo>
                <a:cubicBezTo>
                  <a:pt x="8320" y="8721"/>
                  <a:pt x="8296" y="8772"/>
                  <a:pt x="8296" y="8834"/>
                </a:cubicBezTo>
                <a:cubicBezTo>
                  <a:pt x="8296" y="8897"/>
                  <a:pt x="8320" y="8947"/>
                  <a:pt x="8349" y="8947"/>
                </a:cubicBezTo>
                <a:cubicBezTo>
                  <a:pt x="8379" y="8947"/>
                  <a:pt x="8403" y="8897"/>
                  <a:pt x="8403" y="8834"/>
                </a:cubicBezTo>
                <a:cubicBezTo>
                  <a:pt x="8403" y="8772"/>
                  <a:pt x="8379" y="8721"/>
                  <a:pt x="8349" y="8721"/>
                </a:cubicBezTo>
                <a:close/>
                <a:moveTo>
                  <a:pt x="8349" y="8394"/>
                </a:moveTo>
                <a:cubicBezTo>
                  <a:pt x="8320" y="8394"/>
                  <a:pt x="8296" y="8445"/>
                  <a:pt x="8296" y="8507"/>
                </a:cubicBezTo>
                <a:cubicBezTo>
                  <a:pt x="8296" y="8570"/>
                  <a:pt x="8320" y="8621"/>
                  <a:pt x="8349" y="8621"/>
                </a:cubicBezTo>
                <a:cubicBezTo>
                  <a:pt x="8379" y="8621"/>
                  <a:pt x="8403" y="8570"/>
                  <a:pt x="8403" y="8507"/>
                </a:cubicBezTo>
                <a:cubicBezTo>
                  <a:pt x="8403" y="8445"/>
                  <a:pt x="8379" y="8394"/>
                  <a:pt x="8349" y="8394"/>
                </a:cubicBezTo>
                <a:close/>
                <a:moveTo>
                  <a:pt x="8197" y="8721"/>
                </a:moveTo>
                <a:cubicBezTo>
                  <a:pt x="8167" y="8721"/>
                  <a:pt x="8143" y="8772"/>
                  <a:pt x="8143" y="8834"/>
                </a:cubicBezTo>
                <a:cubicBezTo>
                  <a:pt x="8143" y="8897"/>
                  <a:pt x="8167" y="8947"/>
                  <a:pt x="8197" y="8947"/>
                </a:cubicBezTo>
                <a:cubicBezTo>
                  <a:pt x="8226" y="8947"/>
                  <a:pt x="8250" y="8897"/>
                  <a:pt x="8250" y="8834"/>
                </a:cubicBezTo>
                <a:cubicBezTo>
                  <a:pt x="8250" y="8772"/>
                  <a:pt x="8226" y="8721"/>
                  <a:pt x="8197" y="8721"/>
                </a:cubicBezTo>
                <a:close/>
                <a:moveTo>
                  <a:pt x="8197" y="8394"/>
                </a:moveTo>
                <a:cubicBezTo>
                  <a:pt x="8167" y="8394"/>
                  <a:pt x="8143" y="8445"/>
                  <a:pt x="8143" y="8507"/>
                </a:cubicBezTo>
                <a:cubicBezTo>
                  <a:pt x="8143" y="8570"/>
                  <a:pt x="8167" y="8621"/>
                  <a:pt x="8197" y="8621"/>
                </a:cubicBezTo>
                <a:cubicBezTo>
                  <a:pt x="8226" y="8621"/>
                  <a:pt x="8250" y="8570"/>
                  <a:pt x="8250" y="8507"/>
                </a:cubicBezTo>
                <a:cubicBezTo>
                  <a:pt x="8250" y="8445"/>
                  <a:pt x="8226" y="8394"/>
                  <a:pt x="8197" y="8394"/>
                </a:cubicBezTo>
                <a:close/>
                <a:moveTo>
                  <a:pt x="9272" y="8721"/>
                </a:moveTo>
                <a:cubicBezTo>
                  <a:pt x="9242" y="8721"/>
                  <a:pt x="9218" y="8772"/>
                  <a:pt x="9218" y="8834"/>
                </a:cubicBezTo>
                <a:cubicBezTo>
                  <a:pt x="9218" y="8897"/>
                  <a:pt x="9242" y="8947"/>
                  <a:pt x="9272" y="8947"/>
                </a:cubicBezTo>
                <a:cubicBezTo>
                  <a:pt x="9301" y="8947"/>
                  <a:pt x="9325" y="8897"/>
                  <a:pt x="9325" y="8834"/>
                </a:cubicBezTo>
                <a:cubicBezTo>
                  <a:pt x="9325" y="8772"/>
                  <a:pt x="9301" y="8721"/>
                  <a:pt x="9272" y="8721"/>
                </a:cubicBezTo>
                <a:close/>
                <a:moveTo>
                  <a:pt x="9272" y="8394"/>
                </a:moveTo>
                <a:cubicBezTo>
                  <a:pt x="9242" y="8394"/>
                  <a:pt x="9218" y="8445"/>
                  <a:pt x="9218" y="8507"/>
                </a:cubicBezTo>
                <a:cubicBezTo>
                  <a:pt x="9218" y="8570"/>
                  <a:pt x="9242" y="8621"/>
                  <a:pt x="9272" y="8621"/>
                </a:cubicBezTo>
                <a:cubicBezTo>
                  <a:pt x="9301" y="8621"/>
                  <a:pt x="9325" y="8570"/>
                  <a:pt x="9325" y="8507"/>
                </a:cubicBezTo>
                <a:cubicBezTo>
                  <a:pt x="9325" y="8445"/>
                  <a:pt x="9301" y="8394"/>
                  <a:pt x="9272" y="8394"/>
                </a:cubicBezTo>
                <a:close/>
                <a:moveTo>
                  <a:pt x="9118" y="8721"/>
                </a:moveTo>
                <a:cubicBezTo>
                  <a:pt x="9088" y="8721"/>
                  <a:pt x="9064" y="8772"/>
                  <a:pt x="9064" y="8834"/>
                </a:cubicBezTo>
                <a:cubicBezTo>
                  <a:pt x="9064" y="8897"/>
                  <a:pt x="9088" y="8947"/>
                  <a:pt x="9118" y="8947"/>
                </a:cubicBezTo>
                <a:cubicBezTo>
                  <a:pt x="9147" y="8947"/>
                  <a:pt x="9171" y="8897"/>
                  <a:pt x="9171" y="8834"/>
                </a:cubicBezTo>
                <a:cubicBezTo>
                  <a:pt x="9171" y="8772"/>
                  <a:pt x="9147" y="8721"/>
                  <a:pt x="9118" y="8721"/>
                </a:cubicBezTo>
                <a:close/>
                <a:moveTo>
                  <a:pt x="9118" y="8394"/>
                </a:moveTo>
                <a:cubicBezTo>
                  <a:pt x="9088" y="8394"/>
                  <a:pt x="9064" y="8445"/>
                  <a:pt x="9064" y="8507"/>
                </a:cubicBezTo>
                <a:cubicBezTo>
                  <a:pt x="9064" y="8570"/>
                  <a:pt x="9088" y="8621"/>
                  <a:pt x="9118" y="8621"/>
                </a:cubicBezTo>
                <a:cubicBezTo>
                  <a:pt x="9147" y="8621"/>
                  <a:pt x="9171" y="8570"/>
                  <a:pt x="9171" y="8507"/>
                </a:cubicBezTo>
                <a:cubicBezTo>
                  <a:pt x="9171" y="8445"/>
                  <a:pt x="9147" y="8394"/>
                  <a:pt x="9118" y="8394"/>
                </a:cubicBezTo>
                <a:close/>
                <a:moveTo>
                  <a:pt x="8965" y="8721"/>
                </a:moveTo>
                <a:cubicBezTo>
                  <a:pt x="8935" y="8721"/>
                  <a:pt x="8911" y="8772"/>
                  <a:pt x="8911" y="8834"/>
                </a:cubicBezTo>
                <a:cubicBezTo>
                  <a:pt x="8911" y="8897"/>
                  <a:pt x="8935" y="8947"/>
                  <a:pt x="8965" y="8947"/>
                </a:cubicBezTo>
                <a:cubicBezTo>
                  <a:pt x="8995" y="8947"/>
                  <a:pt x="9019" y="8897"/>
                  <a:pt x="9019" y="8834"/>
                </a:cubicBezTo>
                <a:cubicBezTo>
                  <a:pt x="9019" y="8772"/>
                  <a:pt x="8995" y="8721"/>
                  <a:pt x="8965" y="8721"/>
                </a:cubicBezTo>
                <a:close/>
                <a:moveTo>
                  <a:pt x="8965" y="8394"/>
                </a:moveTo>
                <a:cubicBezTo>
                  <a:pt x="8935" y="8394"/>
                  <a:pt x="8911" y="8445"/>
                  <a:pt x="8911" y="8507"/>
                </a:cubicBezTo>
                <a:cubicBezTo>
                  <a:pt x="8911" y="8570"/>
                  <a:pt x="8935" y="8621"/>
                  <a:pt x="8965" y="8621"/>
                </a:cubicBezTo>
                <a:cubicBezTo>
                  <a:pt x="8995" y="8621"/>
                  <a:pt x="9019" y="8570"/>
                  <a:pt x="9019" y="8507"/>
                </a:cubicBezTo>
                <a:cubicBezTo>
                  <a:pt x="9019" y="8445"/>
                  <a:pt x="8995" y="8394"/>
                  <a:pt x="8965" y="8394"/>
                </a:cubicBezTo>
                <a:close/>
                <a:moveTo>
                  <a:pt x="10045" y="8721"/>
                </a:moveTo>
                <a:cubicBezTo>
                  <a:pt x="10015" y="8721"/>
                  <a:pt x="9991" y="8772"/>
                  <a:pt x="9991" y="8834"/>
                </a:cubicBezTo>
                <a:cubicBezTo>
                  <a:pt x="9991" y="8897"/>
                  <a:pt x="10015" y="8947"/>
                  <a:pt x="10045" y="8947"/>
                </a:cubicBezTo>
                <a:cubicBezTo>
                  <a:pt x="10074" y="8947"/>
                  <a:pt x="10098" y="8897"/>
                  <a:pt x="10098" y="8834"/>
                </a:cubicBezTo>
                <a:cubicBezTo>
                  <a:pt x="10098" y="8772"/>
                  <a:pt x="10074" y="8721"/>
                  <a:pt x="10045" y="8721"/>
                </a:cubicBezTo>
                <a:close/>
                <a:moveTo>
                  <a:pt x="10045" y="8394"/>
                </a:moveTo>
                <a:cubicBezTo>
                  <a:pt x="10015" y="8394"/>
                  <a:pt x="9991" y="8445"/>
                  <a:pt x="9991" y="8507"/>
                </a:cubicBezTo>
                <a:cubicBezTo>
                  <a:pt x="9991" y="8570"/>
                  <a:pt x="10015" y="8621"/>
                  <a:pt x="10045" y="8621"/>
                </a:cubicBezTo>
                <a:cubicBezTo>
                  <a:pt x="10074" y="8621"/>
                  <a:pt x="10098" y="8570"/>
                  <a:pt x="10098" y="8507"/>
                </a:cubicBezTo>
                <a:cubicBezTo>
                  <a:pt x="10098" y="8445"/>
                  <a:pt x="10074" y="8394"/>
                  <a:pt x="10045" y="8394"/>
                </a:cubicBezTo>
                <a:close/>
                <a:moveTo>
                  <a:pt x="9892" y="8947"/>
                </a:moveTo>
                <a:cubicBezTo>
                  <a:pt x="9922" y="8947"/>
                  <a:pt x="9946" y="8897"/>
                  <a:pt x="9946" y="8834"/>
                </a:cubicBezTo>
                <a:cubicBezTo>
                  <a:pt x="9946" y="8772"/>
                  <a:pt x="9922" y="8721"/>
                  <a:pt x="9892" y="8721"/>
                </a:cubicBezTo>
                <a:cubicBezTo>
                  <a:pt x="9862" y="8721"/>
                  <a:pt x="9838" y="8772"/>
                  <a:pt x="9838" y="8834"/>
                </a:cubicBezTo>
                <a:cubicBezTo>
                  <a:pt x="9838" y="8897"/>
                  <a:pt x="9862" y="8947"/>
                  <a:pt x="9892" y="8947"/>
                </a:cubicBezTo>
                <a:close/>
                <a:moveTo>
                  <a:pt x="9892" y="8621"/>
                </a:moveTo>
                <a:cubicBezTo>
                  <a:pt x="9922" y="8621"/>
                  <a:pt x="9946" y="8570"/>
                  <a:pt x="9946" y="8507"/>
                </a:cubicBezTo>
                <a:cubicBezTo>
                  <a:pt x="9946" y="8445"/>
                  <a:pt x="9922" y="8394"/>
                  <a:pt x="9892" y="8394"/>
                </a:cubicBezTo>
                <a:cubicBezTo>
                  <a:pt x="9862" y="8394"/>
                  <a:pt x="9838" y="8445"/>
                  <a:pt x="9838" y="8507"/>
                </a:cubicBezTo>
                <a:cubicBezTo>
                  <a:pt x="9838" y="8570"/>
                  <a:pt x="9862" y="8621"/>
                  <a:pt x="9892" y="8621"/>
                </a:cubicBezTo>
                <a:close/>
                <a:moveTo>
                  <a:pt x="9737" y="8721"/>
                </a:moveTo>
                <a:cubicBezTo>
                  <a:pt x="9707" y="8721"/>
                  <a:pt x="9683" y="8772"/>
                  <a:pt x="9683" y="8834"/>
                </a:cubicBezTo>
                <a:cubicBezTo>
                  <a:pt x="9683" y="8897"/>
                  <a:pt x="9707" y="8947"/>
                  <a:pt x="9737" y="8947"/>
                </a:cubicBezTo>
                <a:cubicBezTo>
                  <a:pt x="9766" y="8947"/>
                  <a:pt x="9791" y="8897"/>
                  <a:pt x="9791" y="8834"/>
                </a:cubicBezTo>
                <a:cubicBezTo>
                  <a:pt x="9791" y="8772"/>
                  <a:pt x="9766" y="8721"/>
                  <a:pt x="9737" y="8721"/>
                </a:cubicBezTo>
                <a:close/>
                <a:moveTo>
                  <a:pt x="9737" y="8394"/>
                </a:moveTo>
                <a:cubicBezTo>
                  <a:pt x="9707" y="8394"/>
                  <a:pt x="9683" y="8445"/>
                  <a:pt x="9683" y="8507"/>
                </a:cubicBezTo>
                <a:cubicBezTo>
                  <a:pt x="9683" y="8570"/>
                  <a:pt x="9707" y="8621"/>
                  <a:pt x="9737" y="8621"/>
                </a:cubicBezTo>
                <a:cubicBezTo>
                  <a:pt x="9766" y="8621"/>
                  <a:pt x="9791" y="8570"/>
                  <a:pt x="9791" y="8507"/>
                </a:cubicBezTo>
                <a:cubicBezTo>
                  <a:pt x="9791" y="8445"/>
                  <a:pt x="9766" y="8394"/>
                  <a:pt x="9737" y="8394"/>
                </a:cubicBezTo>
                <a:close/>
                <a:moveTo>
                  <a:pt x="9583" y="8721"/>
                </a:moveTo>
                <a:cubicBezTo>
                  <a:pt x="9553" y="8721"/>
                  <a:pt x="9529" y="8772"/>
                  <a:pt x="9529" y="8834"/>
                </a:cubicBezTo>
                <a:cubicBezTo>
                  <a:pt x="9529" y="8897"/>
                  <a:pt x="9553" y="8947"/>
                  <a:pt x="9583" y="8947"/>
                </a:cubicBezTo>
                <a:cubicBezTo>
                  <a:pt x="9612" y="8947"/>
                  <a:pt x="9637" y="8897"/>
                  <a:pt x="9637" y="8834"/>
                </a:cubicBezTo>
                <a:cubicBezTo>
                  <a:pt x="9637" y="8772"/>
                  <a:pt x="9612" y="8721"/>
                  <a:pt x="9583" y="8721"/>
                </a:cubicBezTo>
                <a:close/>
                <a:moveTo>
                  <a:pt x="9583" y="8394"/>
                </a:moveTo>
                <a:cubicBezTo>
                  <a:pt x="9553" y="8394"/>
                  <a:pt x="9529" y="8445"/>
                  <a:pt x="9529" y="8507"/>
                </a:cubicBezTo>
                <a:cubicBezTo>
                  <a:pt x="9529" y="8570"/>
                  <a:pt x="9553" y="8621"/>
                  <a:pt x="9583" y="8621"/>
                </a:cubicBezTo>
                <a:cubicBezTo>
                  <a:pt x="9612" y="8621"/>
                  <a:pt x="9637" y="8570"/>
                  <a:pt x="9637" y="8507"/>
                </a:cubicBezTo>
                <a:cubicBezTo>
                  <a:pt x="9637" y="8445"/>
                  <a:pt x="9612" y="8394"/>
                  <a:pt x="9583" y="8394"/>
                </a:cubicBezTo>
                <a:close/>
                <a:moveTo>
                  <a:pt x="9430" y="8721"/>
                </a:moveTo>
                <a:cubicBezTo>
                  <a:pt x="9400" y="8721"/>
                  <a:pt x="9376" y="8772"/>
                  <a:pt x="9376" y="8834"/>
                </a:cubicBezTo>
                <a:cubicBezTo>
                  <a:pt x="9376" y="8897"/>
                  <a:pt x="9400" y="8947"/>
                  <a:pt x="9430" y="8947"/>
                </a:cubicBezTo>
                <a:cubicBezTo>
                  <a:pt x="9460" y="8947"/>
                  <a:pt x="9484" y="8897"/>
                  <a:pt x="9484" y="8834"/>
                </a:cubicBezTo>
                <a:cubicBezTo>
                  <a:pt x="9484" y="8772"/>
                  <a:pt x="9460" y="8721"/>
                  <a:pt x="9430" y="8721"/>
                </a:cubicBezTo>
                <a:close/>
                <a:moveTo>
                  <a:pt x="9430" y="8394"/>
                </a:moveTo>
                <a:cubicBezTo>
                  <a:pt x="9400" y="8394"/>
                  <a:pt x="9376" y="8445"/>
                  <a:pt x="9376" y="8507"/>
                </a:cubicBezTo>
                <a:cubicBezTo>
                  <a:pt x="9376" y="8570"/>
                  <a:pt x="9400" y="8621"/>
                  <a:pt x="9430" y="8621"/>
                </a:cubicBezTo>
                <a:cubicBezTo>
                  <a:pt x="9460" y="8621"/>
                  <a:pt x="9484" y="8570"/>
                  <a:pt x="9484" y="8507"/>
                </a:cubicBezTo>
                <a:cubicBezTo>
                  <a:pt x="9484" y="8445"/>
                  <a:pt x="9460" y="8394"/>
                  <a:pt x="9430" y="8394"/>
                </a:cubicBezTo>
                <a:close/>
                <a:moveTo>
                  <a:pt x="10813" y="8721"/>
                </a:moveTo>
                <a:cubicBezTo>
                  <a:pt x="10783" y="8721"/>
                  <a:pt x="10759" y="8772"/>
                  <a:pt x="10759" y="8834"/>
                </a:cubicBezTo>
                <a:cubicBezTo>
                  <a:pt x="10759" y="8897"/>
                  <a:pt x="10783" y="8947"/>
                  <a:pt x="10813" y="8947"/>
                </a:cubicBezTo>
                <a:cubicBezTo>
                  <a:pt x="10843" y="8947"/>
                  <a:pt x="10867" y="8897"/>
                  <a:pt x="10867" y="8834"/>
                </a:cubicBezTo>
                <a:cubicBezTo>
                  <a:pt x="10867" y="8772"/>
                  <a:pt x="10843" y="8721"/>
                  <a:pt x="10813" y="8721"/>
                </a:cubicBezTo>
                <a:close/>
                <a:moveTo>
                  <a:pt x="10813" y="8394"/>
                </a:moveTo>
                <a:cubicBezTo>
                  <a:pt x="10783" y="8394"/>
                  <a:pt x="10759" y="8445"/>
                  <a:pt x="10759" y="8507"/>
                </a:cubicBezTo>
                <a:cubicBezTo>
                  <a:pt x="10759" y="8570"/>
                  <a:pt x="10783" y="8621"/>
                  <a:pt x="10813" y="8621"/>
                </a:cubicBezTo>
                <a:cubicBezTo>
                  <a:pt x="10843" y="8621"/>
                  <a:pt x="10867" y="8570"/>
                  <a:pt x="10867" y="8507"/>
                </a:cubicBezTo>
                <a:cubicBezTo>
                  <a:pt x="10867" y="8445"/>
                  <a:pt x="10843" y="8394"/>
                  <a:pt x="10813" y="8394"/>
                </a:cubicBezTo>
                <a:close/>
                <a:moveTo>
                  <a:pt x="10660" y="8721"/>
                </a:moveTo>
                <a:cubicBezTo>
                  <a:pt x="10631" y="8721"/>
                  <a:pt x="10607" y="8772"/>
                  <a:pt x="10607" y="8834"/>
                </a:cubicBezTo>
                <a:cubicBezTo>
                  <a:pt x="10607" y="8897"/>
                  <a:pt x="10631" y="8947"/>
                  <a:pt x="10660" y="8947"/>
                </a:cubicBezTo>
                <a:cubicBezTo>
                  <a:pt x="10690" y="8947"/>
                  <a:pt x="10714" y="8897"/>
                  <a:pt x="10714" y="8834"/>
                </a:cubicBezTo>
                <a:cubicBezTo>
                  <a:pt x="10714" y="8772"/>
                  <a:pt x="10690" y="8721"/>
                  <a:pt x="10660" y="8721"/>
                </a:cubicBezTo>
                <a:close/>
                <a:moveTo>
                  <a:pt x="10660" y="8394"/>
                </a:moveTo>
                <a:cubicBezTo>
                  <a:pt x="10631" y="8394"/>
                  <a:pt x="10607" y="8445"/>
                  <a:pt x="10607" y="8507"/>
                </a:cubicBezTo>
                <a:cubicBezTo>
                  <a:pt x="10607" y="8570"/>
                  <a:pt x="10631" y="8621"/>
                  <a:pt x="10660" y="8621"/>
                </a:cubicBezTo>
                <a:cubicBezTo>
                  <a:pt x="10690" y="8621"/>
                  <a:pt x="10714" y="8570"/>
                  <a:pt x="10714" y="8507"/>
                </a:cubicBezTo>
                <a:cubicBezTo>
                  <a:pt x="10714" y="8445"/>
                  <a:pt x="10690" y="8394"/>
                  <a:pt x="10660" y="8394"/>
                </a:cubicBezTo>
                <a:close/>
                <a:moveTo>
                  <a:pt x="10505" y="8721"/>
                </a:moveTo>
                <a:cubicBezTo>
                  <a:pt x="10475" y="8721"/>
                  <a:pt x="10451" y="8772"/>
                  <a:pt x="10451" y="8834"/>
                </a:cubicBezTo>
                <a:cubicBezTo>
                  <a:pt x="10451" y="8897"/>
                  <a:pt x="10475" y="8947"/>
                  <a:pt x="10505" y="8947"/>
                </a:cubicBezTo>
                <a:cubicBezTo>
                  <a:pt x="10535" y="8947"/>
                  <a:pt x="10559" y="8897"/>
                  <a:pt x="10559" y="8834"/>
                </a:cubicBezTo>
                <a:cubicBezTo>
                  <a:pt x="10559" y="8772"/>
                  <a:pt x="10535" y="8721"/>
                  <a:pt x="10505" y="8721"/>
                </a:cubicBezTo>
                <a:close/>
                <a:moveTo>
                  <a:pt x="10505" y="8394"/>
                </a:moveTo>
                <a:cubicBezTo>
                  <a:pt x="10475" y="8394"/>
                  <a:pt x="10451" y="8445"/>
                  <a:pt x="10451" y="8507"/>
                </a:cubicBezTo>
                <a:cubicBezTo>
                  <a:pt x="10451" y="8570"/>
                  <a:pt x="10475" y="8621"/>
                  <a:pt x="10505" y="8621"/>
                </a:cubicBezTo>
                <a:cubicBezTo>
                  <a:pt x="10535" y="8621"/>
                  <a:pt x="10559" y="8570"/>
                  <a:pt x="10559" y="8507"/>
                </a:cubicBezTo>
                <a:cubicBezTo>
                  <a:pt x="10559" y="8445"/>
                  <a:pt x="10535" y="8394"/>
                  <a:pt x="10505" y="8394"/>
                </a:cubicBezTo>
                <a:close/>
                <a:moveTo>
                  <a:pt x="10351" y="8721"/>
                </a:moveTo>
                <a:cubicBezTo>
                  <a:pt x="10321" y="8721"/>
                  <a:pt x="10297" y="8772"/>
                  <a:pt x="10297" y="8834"/>
                </a:cubicBezTo>
                <a:cubicBezTo>
                  <a:pt x="10297" y="8897"/>
                  <a:pt x="10321" y="8947"/>
                  <a:pt x="10351" y="8947"/>
                </a:cubicBezTo>
                <a:cubicBezTo>
                  <a:pt x="10381" y="8947"/>
                  <a:pt x="10405" y="8897"/>
                  <a:pt x="10405" y="8834"/>
                </a:cubicBezTo>
                <a:cubicBezTo>
                  <a:pt x="10405" y="8772"/>
                  <a:pt x="10381" y="8721"/>
                  <a:pt x="10351" y="8721"/>
                </a:cubicBezTo>
                <a:close/>
                <a:moveTo>
                  <a:pt x="10351" y="8394"/>
                </a:moveTo>
                <a:cubicBezTo>
                  <a:pt x="10321" y="8394"/>
                  <a:pt x="10297" y="8445"/>
                  <a:pt x="10297" y="8507"/>
                </a:cubicBezTo>
                <a:cubicBezTo>
                  <a:pt x="10297" y="8570"/>
                  <a:pt x="10321" y="8621"/>
                  <a:pt x="10351" y="8621"/>
                </a:cubicBezTo>
                <a:cubicBezTo>
                  <a:pt x="10381" y="8621"/>
                  <a:pt x="10405" y="8570"/>
                  <a:pt x="10405" y="8507"/>
                </a:cubicBezTo>
                <a:cubicBezTo>
                  <a:pt x="10405" y="8445"/>
                  <a:pt x="10381" y="8394"/>
                  <a:pt x="10351" y="8394"/>
                </a:cubicBezTo>
                <a:close/>
                <a:moveTo>
                  <a:pt x="10198" y="8721"/>
                </a:moveTo>
                <a:cubicBezTo>
                  <a:pt x="10169" y="8721"/>
                  <a:pt x="10145" y="8772"/>
                  <a:pt x="10145" y="8834"/>
                </a:cubicBezTo>
                <a:cubicBezTo>
                  <a:pt x="10145" y="8897"/>
                  <a:pt x="10169" y="8947"/>
                  <a:pt x="10198" y="8947"/>
                </a:cubicBezTo>
                <a:cubicBezTo>
                  <a:pt x="10228" y="8947"/>
                  <a:pt x="10252" y="8897"/>
                  <a:pt x="10252" y="8834"/>
                </a:cubicBezTo>
                <a:cubicBezTo>
                  <a:pt x="10252" y="8772"/>
                  <a:pt x="10228" y="8721"/>
                  <a:pt x="10198" y="8721"/>
                </a:cubicBezTo>
                <a:close/>
                <a:moveTo>
                  <a:pt x="10198" y="8394"/>
                </a:moveTo>
                <a:cubicBezTo>
                  <a:pt x="10169" y="8394"/>
                  <a:pt x="10145" y="8445"/>
                  <a:pt x="10145" y="8507"/>
                </a:cubicBezTo>
                <a:cubicBezTo>
                  <a:pt x="10145" y="8570"/>
                  <a:pt x="10169" y="8621"/>
                  <a:pt x="10198" y="8621"/>
                </a:cubicBezTo>
                <a:cubicBezTo>
                  <a:pt x="10228" y="8621"/>
                  <a:pt x="10252" y="8570"/>
                  <a:pt x="10252" y="8507"/>
                </a:cubicBezTo>
                <a:cubicBezTo>
                  <a:pt x="10252" y="8445"/>
                  <a:pt x="10228" y="8394"/>
                  <a:pt x="10198" y="8394"/>
                </a:cubicBezTo>
                <a:close/>
                <a:moveTo>
                  <a:pt x="11581" y="9389"/>
                </a:moveTo>
                <a:cubicBezTo>
                  <a:pt x="11551" y="9389"/>
                  <a:pt x="11527" y="9439"/>
                  <a:pt x="11527" y="9502"/>
                </a:cubicBezTo>
                <a:cubicBezTo>
                  <a:pt x="11527" y="9564"/>
                  <a:pt x="11551" y="9615"/>
                  <a:pt x="11581" y="9615"/>
                </a:cubicBezTo>
                <a:cubicBezTo>
                  <a:pt x="11611" y="9615"/>
                  <a:pt x="11635" y="9564"/>
                  <a:pt x="11635" y="9502"/>
                </a:cubicBezTo>
                <a:cubicBezTo>
                  <a:pt x="11635" y="9439"/>
                  <a:pt x="11611" y="9389"/>
                  <a:pt x="11581" y="9389"/>
                </a:cubicBezTo>
                <a:close/>
                <a:moveTo>
                  <a:pt x="11581" y="9062"/>
                </a:moveTo>
                <a:cubicBezTo>
                  <a:pt x="11551" y="9062"/>
                  <a:pt x="11527" y="9112"/>
                  <a:pt x="11527" y="9175"/>
                </a:cubicBezTo>
                <a:cubicBezTo>
                  <a:pt x="11527" y="9237"/>
                  <a:pt x="11551" y="9288"/>
                  <a:pt x="11581" y="9288"/>
                </a:cubicBezTo>
                <a:cubicBezTo>
                  <a:pt x="11611" y="9288"/>
                  <a:pt x="11635" y="9237"/>
                  <a:pt x="11635" y="9175"/>
                </a:cubicBezTo>
                <a:cubicBezTo>
                  <a:pt x="11635" y="9112"/>
                  <a:pt x="11611" y="9062"/>
                  <a:pt x="11581" y="9062"/>
                </a:cubicBezTo>
                <a:close/>
                <a:moveTo>
                  <a:pt x="11428" y="9389"/>
                </a:moveTo>
                <a:cubicBezTo>
                  <a:pt x="11399" y="9389"/>
                  <a:pt x="11375" y="9439"/>
                  <a:pt x="11375" y="9502"/>
                </a:cubicBezTo>
                <a:cubicBezTo>
                  <a:pt x="11375" y="9564"/>
                  <a:pt x="11399" y="9615"/>
                  <a:pt x="11428" y="9615"/>
                </a:cubicBezTo>
                <a:cubicBezTo>
                  <a:pt x="11458" y="9615"/>
                  <a:pt x="11482" y="9564"/>
                  <a:pt x="11482" y="9502"/>
                </a:cubicBezTo>
                <a:cubicBezTo>
                  <a:pt x="11482" y="9439"/>
                  <a:pt x="11458" y="9389"/>
                  <a:pt x="11428" y="9389"/>
                </a:cubicBezTo>
                <a:close/>
                <a:moveTo>
                  <a:pt x="11428" y="9062"/>
                </a:moveTo>
                <a:cubicBezTo>
                  <a:pt x="11399" y="9062"/>
                  <a:pt x="11375" y="9112"/>
                  <a:pt x="11375" y="9175"/>
                </a:cubicBezTo>
                <a:cubicBezTo>
                  <a:pt x="11375" y="9237"/>
                  <a:pt x="11399" y="9288"/>
                  <a:pt x="11428" y="9288"/>
                </a:cubicBezTo>
                <a:cubicBezTo>
                  <a:pt x="11458" y="9288"/>
                  <a:pt x="11482" y="9237"/>
                  <a:pt x="11482" y="9175"/>
                </a:cubicBezTo>
                <a:cubicBezTo>
                  <a:pt x="11482" y="9112"/>
                  <a:pt x="11458" y="9062"/>
                  <a:pt x="11428" y="9062"/>
                </a:cubicBezTo>
                <a:close/>
                <a:moveTo>
                  <a:pt x="11273" y="9389"/>
                </a:moveTo>
                <a:cubicBezTo>
                  <a:pt x="11243" y="9389"/>
                  <a:pt x="11219" y="9439"/>
                  <a:pt x="11219" y="9502"/>
                </a:cubicBezTo>
                <a:cubicBezTo>
                  <a:pt x="11219" y="9564"/>
                  <a:pt x="11243" y="9615"/>
                  <a:pt x="11273" y="9615"/>
                </a:cubicBezTo>
                <a:cubicBezTo>
                  <a:pt x="11303" y="9615"/>
                  <a:pt x="11327" y="9564"/>
                  <a:pt x="11327" y="9502"/>
                </a:cubicBezTo>
                <a:cubicBezTo>
                  <a:pt x="11327" y="9439"/>
                  <a:pt x="11303" y="9389"/>
                  <a:pt x="11273" y="9389"/>
                </a:cubicBezTo>
                <a:close/>
                <a:moveTo>
                  <a:pt x="11273" y="9062"/>
                </a:moveTo>
                <a:cubicBezTo>
                  <a:pt x="11243" y="9062"/>
                  <a:pt x="11219" y="9112"/>
                  <a:pt x="11219" y="9175"/>
                </a:cubicBezTo>
                <a:cubicBezTo>
                  <a:pt x="11219" y="9237"/>
                  <a:pt x="11243" y="9288"/>
                  <a:pt x="11273" y="9288"/>
                </a:cubicBezTo>
                <a:cubicBezTo>
                  <a:pt x="11303" y="9288"/>
                  <a:pt x="11327" y="9237"/>
                  <a:pt x="11327" y="9175"/>
                </a:cubicBezTo>
                <a:cubicBezTo>
                  <a:pt x="11327" y="9112"/>
                  <a:pt x="11303" y="9062"/>
                  <a:pt x="11273" y="9062"/>
                </a:cubicBezTo>
                <a:close/>
                <a:moveTo>
                  <a:pt x="11119" y="9389"/>
                </a:moveTo>
                <a:cubicBezTo>
                  <a:pt x="11089" y="9389"/>
                  <a:pt x="11065" y="9439"/>
                  <a:pt x="11065" y="9502"/>
                </a:cubicBezTo>
                <a:cubicBezTo>
                  <a:pt x="11065" y="9564"/>
                  <a:pt x="11089" y="9615"/>
                  <a:pt x="11119" y="9615"/>
                </a:cubicBezTo>
                <a:cubicBezTo>
                  <a:pt x="11149" y="9615"/>
                  <a:pt x="11173" y="9564"/>
                  <a:pt x="11173" y="9502"/>
                </a:cubicBezTo>
                <a:cubicBezTo>
                  <a:pt x="11173" y="9439"/>
                  <a:pt x="11149" y="9389"/>
                  <a:pt x="11119" y="9389"/>
                </a:cubicBezTo>
                <a:close/>
                <a:moveTo>
                  <a:pt x="11119" y="9062"/>
                </a:moveTo>
                <a:cubicBezTo>
                  <a:pt x="11089" y="9062"/>
                  <a:pt x="11065" y="9112"/>
                  <a:pt x="11065" y="9175"/>
                </a:cubicBezTo>
                <a:cubicBezTo>
                  <a:pt x="11065" y="9237"/>
                  <a:pt x="11089" y="9288"/>
                  <a:pt x="11119" y="9288"/>
                </a:cubicBezTo>
                <a:cubicBezTo>
                  <a:pt x="11149" y="9288"/>
                  <a:pt x="11173" y="9237"/>
                  <a:pt x="11173" y="9175"/>
                </a:cubicBezTo>
                <a:cubicBezTo>
                  <a:pt x="11173" y="9112"/>
                  <a:pt x="11149" y="9062"/>
                  <a:pt x="11119" y="9062"/>
                </a:cubicBezTo>
                <a:close/>
                <a:moveTo>
                  <a:pt x="10967" y="9389"/>
                </a:moveTo>
                <a:cubicBezTo>
                  <a:pt x="10937" y="9389"/>
                  <a:pt x="10913" y="9439"/>
                  <a:pt x="10913" y="9502"/>
                </a:cubicBezTo>
                <a:cubicBezTo>
                  <a:pt x="10913" y="9564"/>
                  <a:pt x="10937" y="9615"/>
                  <a:pt x="10967" y="9615"/>
                </a:cubicBezTo>
                <a:cubicBezTo>
                  <a:pt x="10996" y="9615"/>
                  <a:pt x="11020" y="9564"/>
                  <a:pt x="11020" y="9502"/>
                </a:cubicBezTo>
                <a:cubicBezTo>
                  <a:pt x="11020" y="9439"/>
                  <a:pt x="10996" y="9389"/>
                  <a:pt x="10967" y="9389"/>
                </a:cubicBezTo>
                <a:close/>
                <a:moveTo>
                  <a:pt x="10967" y="9062"/>
                </a:moveTo>
                <a:cubicBezTo>
                  <a:pt x="10937" y="9062"/>
                  <a:pt x="10913" y="9112"/>
                  <a:pt x="10913" y="9175"/>
                </a:cubicBezTo>
                <a:cubicBezTo>
                  <a:pt x="10913" y="9237"/>
                  <a:pt x="10937" y="9288"/>
                  <a:pt x="10967" y="9288"/>
                </a:cubicBezTo>
                <a:cubicBezTo>
                  <a:pt x="10996" y="9288"/>
                  <a:pt x="11020" y="9237"/>
                  <a:pt x="11020" y="9175"/>
                </a:cubicBezTo>
                <a:cubicBezTo>
                  <a:pt x="11020" y="9112"/>
                  <a:pt x="10996" y="9062"/>
                  <a:pt x="10967" y="9062"/>
                </a:cubicBezTo>
                <a:close/>
                <a:moveTo>
                  <a:pt x="8052" y="9389"/>
                </a:moveTo>
                <a:cubicBezTo>
                  <a:pt x="8022" y="9389"/>
                  <a:pt x="7998" y="9439"/>
                  <a:pt x="7998" y="9502"/>
                </a:cubicBezTo>
                <a:cubicBezTo>
                  <a:pt x="7998" y="9564"/>
                  <a:pt x="8022" y="9615"/>
                  <a:pt x="8052" y="9615"/>
                </a:cubicBezTo>
                <a:cubicBezTo>
                  <a:pt x="8082" y="9615"/>
                  <a:pt x="8106" y="9564"/>
                  <a:pt x="8106" y="9502"/>
                </a:cubicBezTo>
                <a:cubicBezTo>
                  <a:pt x="8106" y="9439"/>
                  <a:pt x="8082" y="9389"/>
                  <a:pt x="8052" y="9389"/>
                </a:cubicBezTo>
                <a:close/>
                <a:moveTo>
                  <a:pt x="8052" y="9062"/>
                </a:moveTo>
                <a:cubicBezTo>
                  <a:pt x="8022" y="9062"/>
                  <a:pt x="7998" y="9112"/>
                  <a:pt x="7998" y="9175"/>
                </a:cubicBezTo>
                <a:cubicBezTo>
                  <a:pt x="7998" y="9237"/>
                  <a:pt x="8022" y="9288"/>
                  <a:pt x="8052" y="9288"/>
                </a:cubicBezTo>
                <a:cubicBezTo>
                  <a:pt x="8082" y="9288"/>
                  <a:pt x="8106" y="9237"/>
                  <a:pt x="8106" y="9175"/>
                </a:cubicBezTo>
                <a:cubicBezTo>
                  <a:pt x="8106" y="9112"/>
                  <a:pt x="8082" y="9062"/>
                  <a:pt x="8052" y="9062"/>
                </a:cubicBezTo>
                <a:close/>
                <a:moveTo>
                  <a:pt x="8811" y="9389"/>
                </a:moveTo>
                <a:cubicBezTo>
                  <a:pt x="8782" y="9389"/>
                  <a:pt x="8758" y="9439"/>
                  <a:pt x="8758" y="9502"/>
                </a:cubicBezTo>
                <a:cubicBezTo>
                  <a:pt x="8758" y="9564"/>
                  <a:pt x="8782" y="9615"/>
                  <a:pt x="8811" y="9615"/>
                </a:cubicBezTo>
                <a:cubicBezTo>
                  <a:pt x="8841" y="9615"/>
                  <a:pt x="8865" y="9564"/>
                  <a:pt x="8865" y="9502"/>
                </a:cubicBezTo>
                <a:cubicBezTo>
                  <a:pt x="8865" y="9439"/>
                  <a:pt x="8841" y="9389"/>
                  <a:pt x="8811" y="9389"/>
                </a:cubicBezTo>
                <a:close/>
                <a:moveTo>
                  <a:pt x="8811" y="9062"/>
                </a:moveTo>
                <a:cubicBezTo>
                  <a:pt x="8782" y="9062"/>
                  <a:pt x="8758" y="9112"/>
                  <a:pt x="8758" y="9175"/>
                </a:cubicBezTo>
                <a:cubicBezTo>
                  <a:pt x="8758" y="9237"/>
                  <a:pt x="8782" y="9288"/>
                  <a:pt x="8811" y="9288"/>
                </a:cubicBezTo>
                <a:cubicBezTo>
                  <a:pt x="8841" y="9288"/>
                  <a:pt x="8865" y="9237"/>
                  <a:pt x="8865" y="9175"/>
                </a:cubicBezTo>
                <a:cubicBezTo>
                  <a:pt x="8865" y="9112"/>
                  <a:pt x="8841" y="9062"/>
                  <a:pt x="8811" y="9062"/>
                </a:cubicBezTo>
                <a:close/>
                <a:moveTo>
                  <a:pt x="8659" y="9389"/>
                </a:moveTo>
                <a:cubicBezTo>
                  <a:pt x="8629" y="9389"/>
                  <a:pt x="8605" y="9439"/>
                  <a:pt x="8605" y="9502"/>
                </a:cubicBezTo>
                <a:cubicBezTo>
                  <a:pt x="8605" y="9564"/>
                  <a:pt x="8629" y="9615"/>
                  <a:pt x="8659" y="9615"/>
                </a:cubicBezTo>
                <a:cubicBezTo>
                  <a:pt x="8688" y="9615"/>
                  <a:pt x="8712" y="9564"/>
                  <a:pt x="8712" y="9502"/>
                </a:cubicBezTo>
                <a:cubicBezTo>
                  <a:pt x="8712" y="9439"/>
                  <a:pt x="8688" y="9389"/>
                  <a:pt x="8659" y="9389"/>
                </a:cubicBezTo>
                <a:close/>
                <a:moveTo>
                  <a:pt x="8659" y="9062"/>
                </a:moveTo>
                <a:cubicBezTo>
                  <a:pt x="8629" y="9062"/>
                  <a:pt x="8605" y="9112"/>
                  <a:pt x="8605" y="9175"/>
                </a:cubicBezTo>
                <a:cubicBezTo>
                  <a:pt x="8605" y="9237"/>
                  <a:pt x="8629" y="9288"/>
                  <a:pt x="8659" y="9288"/>
                </a:cubicBezTo>
                <a:cubicBezTo>
                  <a:pt x="8688" y="9288"/>
                  <a:pt x="8712" y="9237"/>
                  <a:pt x="8712" y="9175"/>
                </a:cubicBezTo>
                <a:cubicBezTo>
                  <a:pt x="8712" y="9112"/>
                  <a:pt x="8688" y="9062"/>
                  <a:pt x="8659" y="9062"/>
                </a:cubicBezTo>
                <a:close/>
                <a:moveTo>
                  <a:pt x="8503" y="9389"/>
                </a:moveTo>
                <a:cubicBezTo>
                  <a:pt x="8474" y="9389"/>
                  <a:pt x="8450" y="9439"/>
                  <a:pt x="8450" y="9502"/>
                </a:cubicBezTo>
                <a:cubicBezTo>
                  <a:pt x="8450" y="9564"/>
                  <a:pt x="8474" y="9615"/>
                  <a:pt x="8503" y="9615"/>
                </a:cubicBezTo>
                <a:cubicBezTo>
                  <a:pt x="8533" y="9615"/>
                  <a:pt x="8557" y="9564"/>
                  <a:pt x="8557" y="9502"/>
                </a:cubicBezTo>
                <a:cubicBezTo>
                  <a:pt x="8557" y="9439"/>
                  <a:pt x="8533" y="9389"/>
                  <a:pt x="8503" y="9389"/>
                </a:cubicBezTo>
                <a:close/>
                <a:moveTo>
                  <a:pt x="8503" y="9062"/>
                </a:moveTo>
                <a:cubicBezTo>
                  <a:pt x="8474" y="9062"/>
                  <a:pt x="8450" y="9112"/>
                  <a:pt x="8450" y="9175"/>
                </a:cubicBezTo>
                <a:cubicBezTo>
                  <a:pt x="8450" y="9237"/>
                  <a:pt x="8474" y="9288"/>
                  <a:pt x="8503" y="9288"/>
                </a:cubicBezTo>
                <a:cubicBezTo>
                  <a:pt x="8533" y="9288"/>
                  <a:pt x="8557" y="9237"/>
                  <a:pt x="8557" y="9175"/>
                </a:cubicBezTo>
                <a:cubicBezTo>
                  <a:pt x="8557" y="9112"/>
                  <a:pt x="8533" y="9062"/>
                  <a:pt x="8503" y="9062"/>
                </a:cubicBezTo>
                <a:close/>
                <a:moveTo>
                  <a:pt x="8349" y="9389"/>
                </a:moveTo>
                <a:cubicBezTo>
                  <a:pt x="8320" y="9389"/>
                  <a:pt x="8296" y="9439"/>
                  <a:pt x="8296" y="9502"/>
                </a:cubicBezTo>
                <a:cubicBezTo>
                  <a:pt x="8296" y="9564"/>
                  <a:pt x="8320" y="9615"/>
                  <a:pt x="8349" y="9615"/>
                </a:cubicBezTo>
                <a:cubicBezTo>
                  <a:pt x="8379" y="9615"/>
                  <a:pt x="8403" y="9564"/>
                  <a:pt x="8403" y="9502"/>
                </a:cubicBezTo>
                <a:cubicBezTo>
                  <a:pt x="8403" y="9439"/>
                  <a:pt x="8379" y="9389"/>
                  <a:pt x="8349" y="9389"/>
                </a:cubicBezTo>
                <a:close/>
                <a:moveTo>
                  <a:pt x="8349" y="9062"/>
                </a:moveTo>
                <a:cubicBezTo>
                  <a:pt x="8320" y="9062"/>
                  <a:pt x="8296" y="9112"/>
                  <a:pt x="8296" y="9175"/>
                </a:cubicBezTo>
                <a:cubicBezTo>
                  <a:pt x="8296" y="9237"/>
                  <a:pt x="8320" y="9288"/>
                  <a:pt x="8349" y="9288"/>
                </a:cubicBezTo>
                <a:cubicBezTo>
                  <a:pt x="8379" y="9288"/>
                  <a:pt x="8403" y="9237"/>
                  <a:pt x="8403" y="9175"/>
                </a:cubicBezTo>
                <a:cubicBezTo>
                  <a:pt x="8403" y="9112"/>
                  <a:pt x="8379" y="9062"/>
                  <a:pt x="8349" y="9062"/>
                </a:cubicBezTo>
                <a:close/>
                <a:moveTo>
                  <a:pt x="8197" y="9389"/>
                </a:moveTo>
                <a:cubicBezTo>
                  <a:pt x="8167" y="9389"/>
                  <a:pt x="8143" y="9439"/>
                  <a:pt x="8143" y="9502"/>
                </a:cubicBezTo>
                <a:cubicBezTo>
                  <a:pt x="8143" y="9564"/>
                  <a:pt x="8167" y="9615"/>
                  <a:pt x="8197" y="9615"/>
                </a:cubicBezTo>
                <a:cubicBezTo>
                  <a:pt x="8226" y="9615"/>
                  <a:pt x="8250" y="9564"/>
                  <a:pt x="8250" y="9502"/>
                </a:cubicBezTo>
                <a:cubicBezTo>
                  <a:pt x="8250" y="9439"/>
                  <a:pt x="8226" y="9389"/>
                  <a:pt x="8197" y="9389"/>
                </a:cubicBezTo>
                <a:close/>
                <a:moveTo>
                  <a:pt x="8197" y="9062"/>
                </a:moveTo>
                <a:cubicBezTo>
                  <a:pt x="8167" y="9062"/>
                  <a:pt x="8143" y="9112"/>
                  <a:pt x="8143" y="9175"/>
                </a:cubicBezTo>
                <a:cubicBezTo>
                  <a:pt x="8143" y="9237"/>
                  <a:pt x="8167" y="9288"/>
                  <a:pt x="8197" y="9288"/>
                </a:cubicBezTo>
                <a:cubicBezTo>
                  <a:pt x="8226" y="9288"/>
                  <a:pt x="8250" y="9237"/>
                  <a:pt x="8250" y="9175"/>
                </a:cubicBezTo>
                <a:cubicBezTo>
                  <a:pt x="8250" y="9112"/>
                  <a:pt x="8226" y="9062"/>
                  <a:pt x="8197" y="9062"/>
                </a:cubicBezTo>
                <a:close/>
                <a:moveTo>
                  <a:pt x="9272" y="9389"/>
                </a:moveTo>
                <a:cubicBezTo>
                  <a:pt x="9242" y="9389"/>
                  <a:pt x="9218" y="9439"/>
                  <a:pt x="9218" y="9502"/>
                </a:cubicBezTo>
                <a:cubicBezTo>
                  <a:pt x="9218" y="9564"/>
                  <a:pt x="9242" y="9615"/>
                  <a:pt x="9272" y="9615"/>
                </a:cubicBezTo>
                <a:cubicBezTo>
                  <a:pt x="9301" y="9615"/>
                  <a:pt x="9325" y="9564"/>
                  <a:pt x="9325" y="9502"/>
                </a:cubicBezTo>
                <a:cubicBezTo>
                  <a:pt x="9325" y="9439"/>
                  <a:pt x="9301" y="9389"/>
                  <a:pt x="9272" y="9389"/>
                </a:cubicBezTo>
                <a:close/>
                <a:moveTo>
                  <a:pt x="9272" y="9062"/>
                </a:moveTo>
                <a:cubicBezTo>
                  <a:pt x="9242" y="9062"/>
                  <a:pt x="9218" y="9112"/>
                  <a:pt x="9218" y="9175"/>
                </a:cubicBezTo>
                <a:cubicBezTo>
                  <a:pt x="9218" y="9237"/>
                  <a:pt x="9242" y="9288"/>
                  <a:pt x="9272" y="9288"/>
                </a:cubicBezTo>
                <a:cubicBezTo>
                  <a:pt x="9301" y="9288"/>
                  <a:pt x="9325" y="9237"/>
                  <a:pt x="9325" y="9175"/>
                </a:cubicBezTo>
                <a:cubicBezTo>
                  <a:pt x="9325" y="9112"/>
                  <a:pt x="9301" y="9062"/>
                  <a:pt x="9272" y="9062"/>
                </a:cubicBezTo>
                <a:close/>
                <a:moveTo>
                  <a:pt x="9118" y="9389"/>
                </a:moveTo>
                <a:cubicBezTo>
                  <a:pt x="9088" y="9389"/>
                  <a:pt x="9064" y="9439"/>
                  <a:pt x="9064" y="9502"/>
                </a:cubicBezTo>
                <a:cubicBezTo>
                  <a:pt x="9064" y="9564"/>
                  <a:pt x="9088" y="9615"/>
                  <a:pt x="9118" y="9615"/>
                </a:cubicBezTo>
                <a:cubicBezTo>
                  <a:pt x="9147" y="9615"/>
                  <a:pt x="9171" y="9564"/>
                  <a:pt x="9171" y="9502"/>
                </a:cubicBezTo>
                <a:cubicBezTo>
                  <a:pt x="9171" y="9439"/>
                  <a:pt x="9147" y="9389"/>
                  <a:pt x="9118" y="9389"/>
                </a:cubicBezTo>
                <a:close/>
                <a:moveTo>
                  <a:pt x="9118" y="9062"/>
                </a:moveTo>
                <a:cubicBezTo>
                  <a:pt x="9088" y="9062"/>
                  <a:pt x="9064" y="9112"/>
                  <a:pt x="9064" y="9175"/>
                </a:cubicBezTo>
                <a:cubicBezTo>
                  <a:pt x="9064" y="9237"/>
                  <a:pt x="9088" y="9288"/>
                  <a:pt x="9118" y="9288"/>
                </a:cubicBezTo>
                <a:cubicBezTo>
                  <a:pt x="9147" y="9288"/>
                  <a:pt x="9171" y="9237"/>
                  <a:pt x="9171" y="9175"/>
                </a:cubicBezTo>
                <a:cubicBezTo>
                  <a:pt x="9171" y="9112"/>
                  <a:pt x="9147" y="9062"/>
                  <a:pt x="9118" y="9062"/>
                </a:cubicBezTo>
                <a:close/>
                <a:moveTo>
                  <a:pt x="8965" y="9389"/>
                </a:moveTo>
                <a:cubicBezTo>
                  <a:pt x="8935" y="9389"/>
                  <a:pt x="8911" y="9439"/>
                  <a:pt x="8911" y="9502"/>
                </a:cubicBezTo>
                <a:cubicBezTo>
                  <a:pt x="8911" y="9564"/>
                  <a:pt x="8935" y="9615"/>
                  <a:pt x="8965" y="9615"/>
                </a:cubicBezTo>
                <a:cubicBezTo>
                  <a:pt x="8995" y="9615"/>
                  <a:pt x="9019" y="9564"/>
                  <a:pt x="9019" y="9502"/>
                </a:cubicBezTo>
                <a:cubicBezTo>
                  <a:pt x="9019" y="9439"/>
                  <a:pt x="8995" y="9389"/>
                  <a:pt x="8965" y="9389"/>
                </a:cubicBezTo>
                <a:close/>
                <a:moveTo>
                  <a:pt x="8965" y="9062"/>
                </a:moveTo>
                <a:cubicBezTo>
                  <a:pt x="8935" y="9062"/>
                  <a:pt x="8911" y="9112"/>
                  <a:pt x="8911" y="9175"/>
                </a:cubicBezTo>
                <a:cubicBezTo>
                  <a:pt x="8911" y="9237"/>
                  <a:pt x="8935" y="9288"/>
                  <a:pt x="8965" y="9288"/>
                </a:cubicBezTo>
                <a:cubicBezTo>
                  <a:pt x="8995" y="9288"/>
                  <a:pt x="9019" y="9237"/>
                  <a:pt x="9019" y="9175"/>
                </a:cubicBezTo>
                <a:cubicBezTo>
                  <a:pt x="9019" y="9112"/>
                  <a:pt x="8995" y="9062"/>
                  <a:pt x="8965" y="9062"/>
                </a:cubicBezTo>
                <a:close/>
                <a:moveTo>
                  <a:pt x="10045" y="9389"/>
                </a:moveTo>
                <a:cubicBezTo>
                  <a:pt x="10015" y="9389"/>
                  <a:pt x="9991" y="9439"/>
                  <a:pt x="9991" y="9502"/>
                </a:cubicBezTo>
                <a:cubicBezTo>
                  <a:pt x="9991" y="9564"/>
                  <a:pt x="10015" y="9615"/>
                  <a:pt x="10045" y="9615"/>
                </a:cubicBezTo>
                <a:cubicBezTo>
                  <a:pt x="10074" y="9615"/>
                  <a:pt x="10098" y="9564"/>
                  <a:pt x="10098" y="9502"/>
                </a:cubicBezTo>
                <a:cubicBezTo>
                  <a:pt x="10098" y="9439"/>
                  <a:pt x="10074" y="9389"/>
                  <a:pt x="10045" y="9389"/>
                </a:cubicBezTo>
                <a:close/>
                <a:moveTo>
                  <a:pt x="10045" y="9062"/>
                </a:moveTo>
                <a:cubicBezTo>
                  <a:pt x="10015" y="9062"/>
                  <a:pt x="9991" y="9112"/>
                  <a:pt x="9991" y="9175"/>
                </a:cubicBezTo>
                <a:cubicBezTo>
                  <a:pt x="9991" y="9237"/>
                  <a:pt x="10015" y="9288"/>
                  <a:pt x="10045" y="9288"/>
                </a:cubicBezTo>
                <a:cubicBezTo>
                  <a:pt x="10074" y="9288"/>
                  <a:pt x="10098" y="9237"/>
                  <a:pt x="10098" y="9175"/>
                </a:cubicBezTo>
                <a:cubicBezTo>
                  <a:pt x="10098" y="9112"/>
                  <a:pt x="10074" y="9062"/>
                  <a:pt x="10045" y="9062"/>
                </a:cubicBezTo>
                <a:close/>
                <a:moveTo>
                  <a:pt x="9892" y="9615"/>
                </a:moveTo>
                <a:cubicBezTo>
                  <a:pt x="9922" y="9615"/>
                  <a:pt x="9946" y="9564"/>
                  <a:pt x="9946" y="9502"/>
                </a:cubicBezTo>
                <a:cubicBezTo>
                  <a:pt x="9946" y="9439"/>
                  <a:pt x="9922" y="9389"/>
                  <a:pt x="9892" y="9389"/>
                </a:cubicBezTo>
                <a:cubicBezTo>
                  <a:pt x="9862" y="9389"/>
                  <a:pt x="9838" y="9439"/>
                  <a:pt x="9838" y="9502"/>
                </a:cubicBezTo>
                <a:cubicBezTo>
                  <a:pt x="9838" y="9564"/>
                  <a:pt x="9862" y="9615"/>
                  <a:pt x="9892" y="9615"/>
                </a:cubicBezTo>
                <a:close/>
                <a:moveTo>
                  <a:pt x="9892" y="9288"/>
                </a:moveTo>
                <a:cubicBezTo>
                  <a:pt x="9922" y="9288"/>
                  <a:pt x="9946" y="9237"/>
                  <a:pt x="9946" y="9175"/>
                </a:cubicBezTo>
                <a:cubicBezTo>
                  <a:pt x="9946" y="9112"/>
                  <a:pt x="9922" y="9062"/>
                  <a:pt x="9892" y="9062"/>
                </a:cubicBezTo>
                <a:cubicBezTo>
                  <a:pt x="9862" y="9062"/>
                  <a:pt x="9838" y="9112"/>
                  <a:pt x="9838" y="9175"/>
                </a:cubicBezTo>
                <a:cubicBezTo>
                  <a:pt x="9838" y="9237"/>
                  <a:pt x="9862" y="9288"/>
                  <a:pt x="9892" y="9288"/>
                </a:cubicBezTo>
                <a:close/>
                <a:moveTo>
                  <a:pt x="9737" y="9389"/>
                </a:moveTo>
                <a:cubicBezTo>
                  <a:pt x="9707" y="9389"/>
                  <a:pt x="9683" y="9439"/>
                  <a:pt x="9683" y="9502"/>
                </a:cubicBezTo>
                <a:cubicBezTo>
                  <a:pt x="9683" y="9564"/>
                  <a:pt x="9707" y="9615"/>
                  <a:pt x="9737" y="9615"/>
                </a:cubicBezTo>
                <a:cubicBezTo>
                  <a:pt x="9766" y="9615"/>
                  <a:pt x="9791" y="9564"/>
                  <a:pt x="9791" y="9502"/>
                </a:cubicBezTo>
                <a:cubicBezTo>
                  <a:pt x="9791" y="9439"/>
                  <a:pt x="9766" y="9389"/>
                  <a:pt x="9737" y="9389"/>
                </a:cubicBezTo>
                <a:close/>
                <a:moveTo>
                  <a:pt x="9737" y="9062"/>
                </a:moveTo>
                <a:cubicBezTo>
                  <a:pt x="9707" y="9062"/>
                  <a:pt x="9683" y="9112"/>
                  <a:pt x="9683" y="9175"/>
                </a:cubicBezTo>
                <a:cubicBezTo>
                  <a:pt x="9683" y="9237"/>
                  <a:pt x="9707" y="9288"/>
                  <a:pt x="9737" y="9288"/>
                </a:cubicBezTo>
                <a:cubicBezTo>
                  <a:pt x="9766" y="9288"/>
                  <a:pt x="9791" y="9237"/>
                  <a:pt x="9791" y="9175"/>
                </a:cubicBezTo>
                <a:cubicBezTo>
                  <a:pt x="9791" y="9112"/>
                  <a:pt x="9766" y="9062"/>
                  <a:pt x="9737" y="9062"/>
                </a:cubicBezTo>
                <a:close/>
                <a:moveTo>
                  <a:pt x="9583" y="9389"/>
                </a:moveTo>
                <a:cubicBezTo>
                  <a:pt x="9553" y="9389"/>
                  <a:pt x="9529" y="9439"/>
                  <a:pt x="9529" y="9502"/>
                </a:cubicBezTo>
                <a:cubicBezTo>
                  <a:pt x="9529" y="9564"/>
                  <a:pt x="9553" y="9615"/>
                  <a:pt x="9583" y="9615"/>
                </a:cubicBezTo>
                <a:cubicBezTo>
                  <a:pt x="9612" y="9615"/>
                  <a:pt x="9637" y="9564"/>
                  <a:pt x="9637" y="9502"/>
                </a:cubicBezTo>
                <a:cubicBezTo>
                  <a:pt x="9637" y="9439"/>
                  <a:pt x="9612" y="9389"/>
                  <a:pt x="9583" y="9389"/>
                </a:cubicBezTo>
                <a:close/>
                <a:moveTo>
                  <a:pt x="9583" y="9062"/>
                </a:moveTo>
                <a:cubicBezTo>
                  <a:pt x="9553" y="9062"/>
                  <a:pt x="9529" y="9112"/>
                  <a:pt x="9529" y="9175"/>
                </a:cubicBezTo>
                <a:cubicBezTo>
                  <a:pt x="9529" y="9237"/>
                  <a:pt x="9553" y="9288"/>
                  <a:pt x="9583" y="9288"/>
                </a:cubicBezTo>
                <a:cubicBezTo>
                  <a:pt x="9612" y="9288"/>
                  <a:pt x="9637" y="9237"/>
                  <a:pt x="9637" y="9175"/>
                </a:cubicBezTo>
                <a:cubicBezTo>
                  <a:pt x="9637" y="9112"/>
                  <a:pt x="9612" y="9062"/>
                  <a:pt x="9583" y="9062"/>
                </a:cubicBezTo>
                <a:close/>
                <a:moveTo>
                  <a:pt x="9430" y="9389"/>
                </a:moveTo>
                <a:cubicBezTo>
                  <a:pt x="9400" y="9389"/>
                  <a:pt x="9376" y="9439"/>
                  <a:pt x="9376" y="9502"/>
                </a:cubicBezTo>
                <a:cubicBezTo>
                  <a:pt x="9376" y="9564"/>
                  <a:pt x="9400" y="9615"/>
                  <a:pt x="9430" y="9615"/>
                </a:cubicBezTo>
                <a:cubicBezTo>
                  <a:pt x="9460" y="9615"/>
                  <a:pt x="9484" y="9564"/>
                  <a:pt x="9484" y="9502"/>
                </a:cubicBezTo>
                <a:cubicBezTo>
                  <a:pt x="9484" y="9439"/>
                  <a:pt x="9460" y="9389"/>
                  <a:pt x="9430" y="9389"/>
                </a:cubicBezTo>
                <a:close/>
                <a:moveTo>
                  <a:pt x="9430" y="9062"/>
                </a:moveTo>
                <a:cubicBezTo>
                  <a:pt x="9400" y="9062"/>
                  <a:pt x="9376" y="9112"/>
                  <a:pt x="9376" y="9175"/>
                </a:cubicBezTo>
                <a:cubicBezTo>
                  <a:pt x="9376" y="9237"/>
                  <a:pt x="9400" y="9288"/>
                  <a:pt x="9430" y="9288"/>
                </a:cubicBezTo>
                <a:cubicBezTo>
                  <a:pt x="9460" y="9288"/>
                  <a:pt x="9484" y="9237"/>
                  <a:pt x="9484" y="9175"/>
                </a:cubicBezTo>
                <a:cubicBezTo>
                  <a:pt x="9484" y="9112"/>
                  <a:pt x="9460" y="9062"/>
                  <a:pt x="9430" y="9062"/>
                </a:cubicBezTo>
                <a:close/>
                <a:moveTo>
                  <a:pt x="10813" y="9389"/>
                </a:moveTo>
                <a:cubicBezTo>
                  <a:pt x="10783" y="9389"/>
                  <a:pt x="10759" y="9439"/>
                  <a:pt x="10759" y="9502"/>
                </a:cubicBezTo>
                <a:cubicBezTo>
                  <a:pt x="10759" y="9564"/>
                  <a:pt x="10783" y="9615"/>
                  <a:pt x="10813" y="9615"/>
                </a:cubicBezTo>
                <a:cubicBezTo>
                  <a:pt x="10843" y="9615"/>
                  <a:pt x="10867" y="9564"/>
                  <a:pt x="10867" y="9502"/>
                </a:cubicBezTo>
                <a:cubicBezTo>
                  <a:pt x="10867" y="9439"/>
                  <a:pt x="10843" y="9389"/>
                  <a:pt x="10813" y="9389"/>
                </a:cubicBezTo>
                <a:close/>
                <a:moveTo>
                  <a:pt x="10813" y="9062"/>
                </a:moveTo>
                <a:cubicBezTo>
                  <a:pt x="10783" y="9062"/>
                  <a:pt x="10759" y="9112"/>
                  <a:pt x="10759" y="9175"/>
                </a:cubicBezTo>
                <a:cubicBezTo>
                  <a:pt x="10759" y="9237"/>
                  <a:pt x="10783" y="9288"/>
                  <a:pt x="10813" y="9288"/>
                </a:cubicBezTo>
                <a:cubicBezTo>
                  <a:pt x="10843" y="9288"/>
                  <a:pt x="10867" y="9237"/>
                  <a:pt x="10867" y="9175"/>
                </a:cubicBezTo>
                <a:cubicBezTo>
                  <a:pt x="10867" y="9112"/>
                  <a:pt x="10843" y="9062"/>
                  <a:pt x="10813" y="9062"/>
                </a:cubicBezTo>
                <a:close/>
                <a:moveTo>
                  <a:pt x="10660" y="9389"/>
                </a:moveTo>
                <a:cubicBezTo>
                  <a:pt x="10631" y="9389"/>
                  <a:pt x="10607" y="9439"/>
                  <a:pt x="10607" y="9502"/>
                </a:cubicBezTo>
                <a:cubicBezTo>
                  <a:pt x="10607" y="9564"/>
                  <a:pt x="10631" y="9615"/>
                  <a:pt x="10660" y="9615"/>
                </a:cubicBezTo>
                <a:cubicBezTo>
                  <a:pt x="10690" y="9615"/>
                  <a:pt x="10714" y="9564"/>
                  <a:pt x="10714" y="9502"/>
                </a:cubicBezTo>
                <a:cubicBezTo>
                  <a:pt x="10714" y="9439"/>
                  <a:pt x="10690" y="9389"/>
                  <a:pt x="10660" y="9389"/>
                </a:cubicBezTo>
                <a:close/>
                <a:moveTo>
                  <a:pt x="10660" y="9062"/>
                </a:moveTo>
                <a:cubicBezTo>
                  <a:pt x="10631" y="9062"/>
                  <a:pt x="10607" y="9112"/>
                  <a:pt x="10607" y="9175"/>
                </a:cubicBezTo>
                <a:cubicBezTo>
                  <a:pt x="10607" y="9237"/>
                  <a:pt x="10631" y="9288"/>
                  <a:pt x="10660" y="9288"/>
                </a:cubicBezTo>
                <a:cubicBezTo>
                  <a:pt x="10690" y="9288"/>
                  <a:pt x="10714" y="9237"/>
                  <a:pt x="10714" y="9175"/>
                </a:cubicBezTo>
                <a:cubicBezTo>
                  <a:pt x="10714" y="9112"/>
                  <a:pt x="10690" y="9062"/>
                  <a:pt x="10660" y="9062"/>
                </a:cubicBezTo>
                <a:close/>
                <a:moveTo>
                  <a:pt x="10505" y="9389"/>
                </a:moveTo>
                <a:cubicBezTo>
                  <a:pt x="10475" y="9389"/>
                  <a:pt x="10451" y="9439"/>
                  <a:pt x="10451" y="9502"/>
                </a:cubicBezTo>
                <a:cubicBezTo>
                  <a:pt x="10451" y="9564"/>
                  <a:pt x="10475" y="9615"/>
                  <a:pt x="10505" y="9615"/>
                </a:cubicBezTo>
                <a:cubicBezTo>
                  <a:pt x="10535" y="9615"/>
                  <a:pt x="10559" y="9564"/>
                  <a:pt x="10559" y="9502"/>
                </a:cubicBezTo>
                <a:cubicBezTo>
                  <a:pt x="10559" y="9439"/>
                  <a:pt x="10535" y="9389"/>
                  <a:pt x="10505" y="9389"/>
                </a:cubicBezTo>
                <a:close/>
                <a:moveTo>
                  <a:pt x="10505" y="9062"/>
                </a:moveTo>
                <a:cubicBezTo>
                  <a:pt x="10475" y="9062"/>
                  <a:pt x="10451" y="9112"/>
                  <a:pt x="10451" y="9175"/>
                </a:cubicBezTo>
                <a:cubicBezTo>
                  <a:pt x="10451" y="9237"/>
                  <a:pt x="10475" y="9288"/>
                  <a:pt x="10505" y="9288"/>
                </a:cubicBezTo>
                <a:cubicBezTo>
                  <a:pt x="10535" y="9288"/>
                  <a:pt x="10559" y="9237"/>
                  <a:pt x="10559" y="9175"/>
                </a:cubicBezTo>
                <a:cubicBezTo>
                  <a:pt x="10559" y="9112"/>
                  <a:pt x="10535" y="9062"/>
                  <a:pt x="10505" y="9062"/>
                </a:cubicBezTo>
                <a:close/>
                <a:moveTo>
                  <a:pt x="10351" y="9389"/>
                </a:moveTo>
                <a:cubicBezTo>
                  <a:pt x="10321" y="9389"/>
                  <a:pt x="10297" y="9439"/>
                  <a:pt x="10297" y="9502"/>
                </a:cubicBezTo>
                <a:cubicBezTo>
                  <a:pt x="10297" y="9564"/>
                  <a:pt x="10321" y="9615"/>
                  <a:pt x="10351" y="9615"/>
                </a:cubicBezTo>
                <a:cubicBezTo>
                  <a:pt x="10381" y="9615"/>
                  <a:pt x="10405" y="9564"/>
                  <a:pt x="10405" y="9502"/>
                </a:cubicBezTo>
                <a:cubicBezTo>
                  <a:pt x="10405" y="9439"/>
                  <a:pt x="10381" y="9389"/>
                  <a:pt x="10351" y="9389"/>
                </a:cubicBezTo>
                <a:close/>
                <a:moveTo>
                  <a:pt x="10351" y="9062"/>
                </a:moveTo>
                <a:cubicBezTo>
                  <a:pt x="10321" y="9062"/>
                  <a:pt x="10297" y="9112"/>
                  <a:pt x="10297" y="9175"/>
                </a:cubicBezTo>
                <a:cubicBezTo>
                  <a:pt x="10297" y="9237"/>
                  <a:pt x="10321" y="9288"/>
                  <a:pt x="10351" y="9288"/>
                </a:cubicBezTo>
                <a:cubicBezTo>
                  <a:pt x="10381" y="9288"/>
                  <a:pt x="10405" y="9237"/>
                  <a:pt x="10405" y="9175"/>
                </a:cubicBezTo>
                <a:cubicBezTo>
                  <a:pt x="10405" y="9112"/>
                  <a:pt x="10381" y="9062"/>
                  <a:pt x="10351" y="9062"/>
                </a:cubicBezTo>
                <a:close/>
                <a:moveTo>
                  <a:pt x="10198" y="9389"/>
                </a:moveTo>
                <a:cubicBezTo>
                  <a:pt x="10169" y="9389"/>
                  <a:pt x="10145" y="9439"/>
                  <a:pt x="10145" y="9502"/>
                </a:cubicBezTo>
                <a:cubicBezTo>
                  <a:pt x="10145" y="9564"/>
                  <a:pt x="10169" y="9615"/>
                  <a:pt x="10198" y="9615"/>
                </a:cubicBezTo>
                <a:cubicBezTo>
                  <a:pt x="10228" y="9615"/>
                  <a:pt x="10252" y="9564"/>
                  <a:pt x="10252" y="9502"/>
                </a:cubicBezTo>
                <a:cubicBezTo>
                  <a:pt x="10252" y="9439"/>
                  <a:pt x="10228" y="9389"/>
                  <a:pt x="10198" y="9389"/>
                </a:cubicBezTo>
                <a:close/>
                <a:moveTo>
                  <a:pt x="10198" y="9062"/>
                </a:moveTo>
                <a:cubicBezTo>
                  <a:pt x="10169" y="9062"/>
                  <a:pt x="10145" y="9112"/>
                  <a:pt x="10145" y="9175"/>
                </a:cubicBezTo>
                <a:cubicBezTo>
                  <a:pt x="10145" y="9237"/>
                  <a:pt x="10169" y="9288"/>
                  <a:pt x="10198" y="9288"/>
                </a:cubicBezTo>
                <a:cubicBezTo>
                  <a:pt x="10228" y="9288"/>
                  <a:pt x="10252" y="9237"/>
                  <a:pt x="10252" y="9175"/>
                </a:cubicBezTo>
                <a:cubicBezTo>
                  <a:pt x="10252" y="9112"/>
                  <a:pt x="10228" y="9062"/>
                  <a:pt x="10198" y="9062"/>
                </a:cubicBezTo>
                <a:close/>
                <a:moveTo>
                  <a:pt x="11736" y="10026"/>
                </a:moveTo>
                <a:cubicBezTo>
                  <a:pt x="11707" y="10026"/>
                  <a:pt x="11682" y="10077"/>
                  <a:pt x="11682" y="10140"/>
                </a:cubicBezTo>
                <a:cubicBezTo>
                  <a:pt x="11682" y="10202"/>
                  <a:pt x="11707" y="10253"/>
                  <a:pt x="11736" y="10253"/>
                </a:cubicBezTo>
                <a:cubicBezTo>
                  <a:pt x="11766" y="10253"/>
                  <a:pt x="11790" y="10202"/>
                  <a:pt x="11790" y="10140"/>
                </a:cubicBezTo>
                <a:cubicBezTo>
                  <a:pt x="11790" y="10077"/>
                  <a:pt x="11766" y="10026"/>
                  <a:pt x="11736" y="10026"/>
                </a:cubicBezTo>
                <a:close/>
                <a:moveTo>
                  <a:pt x="11736" y="9700"/>
                </a:moveTo>
                <a:cubicBezTo>
                  <a:pt x="11707" y="9700"/>
                  <a:pt x="11682" y="9750"/>
                  <a:pt x="11682" y="9813"/>
                </a:cubicBezTo>
                <a:cubicBezTo>
                  <a:pt x="11682" y="9875"/>
                  <a:pt x="11707" y="9926"/>
                  <a:pt x="11736" y="9926"/>
                </a:cubicBezTo>
                <a:cubicBezTo>
                  <a:pt x="11766" y="9926"/>
                  <a:pt x="11790" y="9875"/>
                  <a:pt x="11790" y="9813"/>
                </a:cubicBezTo>
                <a:cubicBezTo>
                  <a:pt x="11790" y="9750"/>
                  <a:pt x="11766" y="9700"/>
                  <a:pt x="11736" y="9700"/>
                </a:cubicBezTo>
                <a:close/>
                <a:moveTo>
                  <a:pt x="11581" y="15545"/>
                </a:moveTo>
                <a:cubicBezTo>
                  <a:pt x="11551" y="15545"/>
                  <a:pt x="11527" y="15595"/>
                  <a:pt x="11527" y="15658"/>
                </a:cubicBezTo>
                <a:cubicBezTo>
                  <a:pt x="11527" y="15720"/>
                  <a:pt x="11551" y="15771"/>
                  <a:pt x="11581" y="15771"/>
                </a:cubicBezTo>
                <a:cubicBezTo>
                  <a:pt x="11611" y="15771"/>
                  <a:pt x="11635" y="15720"/>
                  <a:pt x="11635" y="15658"/>
                </a:cubicBezTo>
                <a:cubicBezTo>
                  <a:pt x="11635" y="15595"/>
                  <a:pt x="11611" y="15545"/>
                  <a:pt x="11581" y="15545"/>
                </a:cubicBezTo>
                <a:close/>
                <a:moveTo>
                  <a:pt x="11428" y="15871"/>
                </a:moveTo>
                <a:cubicBezTo>
                  <a:pt x="11399" y="15871"/>
                  <a:pt x="11375" y="15922"/>
                  <a:pt x="11375" y="15985"/>
                </a:cubicBezTo>
                <a:cubicBezTo>
                  <a:pt x="11375" y="16047"/>
                  <a:pt x="11399" y="16098"/>
                  <a:pt x="11428" y="16098"/>
                </a:cubicBezTo>
                <a:cubicBezTo>
                  <a:pt x="11458" y="16098"/>
                  <a:pt x="11482" y="16047"/>
                  <a:pt x="11482" y="15985"/>
                </a:cubicBezTo>
                <a:cubicBezTo>
                  <a:pt x="11482" y="15922"/>
                  <a:pt x="11458" y="15871"/>
                  <a:pt x="11428" y="15871"/>
                </a:cubicBezTo>
                <a:close/>
                <a:moveTo>
                  <a:pt x="11428" y="15545"/>
                </a:moveTo>
                <a:cubicBezTo>
                  <a:pt x="11399" y="15545"/>
                  <a:pt x="11375" y="15595"/>
                  <a:pt x="11375" y="15658"/>
                </a:cubicBezTo>
                <a:cubicBezTo>
                  <a:pt x="11375" y="15720"/>
                  <a:pt x="11399" y="15771"/>
                  <a:pt x="11428" y="15771"/>
                </a:cubicBezTo>
                <a:cubicBezTo>
                  <a:pt x="11458" y="15771"/>
                  <a:pt x="11482" y="15720"/>
                  <a:pt x="11482" y="15658"/>
                </a:cubicBezTo>
                <a:cubicBezTo>
                  <a:pt x="11482" y="15595"/>
                  <a:pt x="11458" y="15545"/>
                  <a:pt x="11428" y="15545"/>
                </a:cubicBezTo>
                <a:close/>
                <a:moveTo>
                  <a:pt x="11273" y="15871"/>
                </a:moveTo>
                <a:cubicBezTo>
                  <a:pt x="11243" y="15871"/>
                  <a:pt x="11219" y="15922"/>
                  <a:pt x="11219" y="15985"/>
                </a:cubicBezTo>
                <a:cubicBezTo>
                  <a:pt x="11219" y="16047"/>
                  <a:pt x="11243" y="16098"/>
                  <a:pt x="11273" y="16098"/>
                </a:cubicBezTo>
                <a:cubicBezTo>
                  <a:pt x="11303" y="16098"/>
                  <a:pt x="11327" y="16047"/>
                  <a:pt x="11327" y="15985"/>
                </a:cubicBezTo>
                <a:cubicBezTo>
                  <a:pt x="11327" y="15922"/>
                  <a:pt x="11303" y="15871"/>
                  <a:pt x="11273" y="15871"/>
                </a:cubicBezTo>
                <a:close/>
                <a:moveTo>
                  <a:pt x="11273" y="15545"/>
                </a:moveTo>
                <a:cubicBezTo>
                  <a:pt x="11243" y="15545"/>
                  <a:pt x="11219" y="15595"/>
                  <a:pt x="11219" y="15658"/>
                </a:cubicBezTo>
                <a:cubicBezTo>
                  <a:pt x="11219" y="15720"/>
                  <a:pt x="11243" y="15771"/>
                  <a:pt x="11273" y="15771"/>
                </a:cubicBezTo>
                <a:cubicBezTo>
                  <a:pt x="11303" y="15771"/>
                  <a:pt x="11327" y="15720"/>
                  <a:pt x="11327" y="15658"/>
                </a:cubicBezTo>
                <a:cubicBezTo>
                  <a:pt x="11327" y="15595"/>
                  <a:pt x="11303" y="15545"/>
                  <a:pt x="11273" y="15545"/>
                </a:cubicBezTo>
                <a:close/>
                <a:moveTo>
                  <a:pt x="11119" y="15871"/>
                </a:moveTo>
                <a:cubicBezTo>
                  <a:pt x="11089" y="15871"/>
                  <a:pt x="11065" y="15922"/>
                  <a:pt x="11065" y="15985"/>
                </a:cubicBezTo>
                <a:cubicBezTo>
                  <a:pt x="11065" y="16047"/>
                  <a:pt x="11089" y="16098"/>
                  <a:pt x="11119" y="16098"/>
                </a:cubicBezTo>
                <a:cubicBezTo>
                  <a:pt x="11149" y="16098"/>
                  <a:pt x="11173" y="16047"/>
                  <a:pt x="11173" y="15985"/>
                </a:cubicBezTo>
                <a:cubicBezTo>
                  <a:pt x="11173" y="15922"/>
                  <a:pt x="11149" y="15871"/>
                  <a:pt x="11119" y="15871"/>
                </a:cubicBezTo>
                <a:close/>
                <a:moveTo>
                  <a:pt x="11119" y="15545"/>
                </a:moveTo>
                <a:cubicBezTo>
                  <a:pt x="11089" y="15545"/>
                  <a:pt x="11065" y="15595"/>
                  <a:pt x="11065" y="15658"/>
                </a:cubicBezTo>
                <a:cubicBezTo>
                  <a:pt x="11065" y="15720"/>
                  <a:pt x="11089" y="15771"/>
                  <a:pt x="11119" y="15771"/>
                </a:cubicBezTo>
                <a:cubicBezTo>
                  <a:pt x="11149" y="15771"/>
                  <a:pt x="11173" y="15720"/>
                  <a:pt x="11173" y="15658"/>
                </a:cubicBezTo>
                <a:cubicBezTo>
                  <a:pt x="11173" y="15595"/>
                  <a:pt x="11149" y="15545"/>
                  <a:pt x="11119" y="15545"/>
                </a:cubicBezTo>
                <a:close/>
                <a:moveTo>
                  <a:pt x="10967" y="15871"/>
                </a:moveTo>
                <a:cubicBezTo>
                  <a:pt x="10937" y="15871"/>
                  <a:pt x="10913" y="15922"/>
                  <a:pt x="10913" y="15985"/>
                </a:cubicBezTo>
                <a:cubicBezTo>
                  <a:pt x="10913" y="16047"/>
                  <a:pt x="10937" y="16098"/>
                  <a:pt x="10967" y="16098"/>
                </a:cubicBezTo>
                <a:cubicBezTo>
                  <a:pt x="10996" y="16098"/>
                  <a:pt x="11020" y="16047"/>
                  <a:pt x="11020" y="15985"/>
                </a:cubicBezTo>
                <a:cubicBezTo>
                  <a:pt x="11020" y="15922"/>
                  <a:pt x="10996" y="15871"/>
                  <a:pt x="10967" y="15871"/>
                </a:cubicBezTo>
                <a:close/>
                <a:moveTo>
                  <a:pt x="10967" y="15545"/>
                </a:moveTo>
                <a:cubicBezTo>
                  <a:pt x="10937" y="15545"/>
                  <a:pt x="10913" y="15595"/>
                  <a:pt x="10913" y="15658"/>
                </a:cubicBezTo>
                <a:cubicBezTo>
                  <a:pt x="10913" y="15720"/>
                  <a:pt x="10937" y="15771"/>
                  <a:pt x="10967" y="15771"/>
                </a:cubicBezTo>
                <a:cubicBezTo>
                  <a:pt x="10996" y="15771"/>
                  <a:pt x="11020" y="15720"/>
                  <a:pt x="11020" y="15658"/>
                </a:cubicBezTo>
                <a:cubicBezTo>
                  <a:pt x="11020" y="15595"/>
                  <a:pt x="10996" y="15545"/>
                  <a:pt x="10967" y="15545"/>
                </a:cubicBezTo>
                <a:close/>
                <a:moveTo>
                  <a:pt x="11581" y="15218"/>
                </a:moveTo>
                <a:cubicBezTo>
                  <a:pt x="11551" y="15218"/>
                  <a:pt x="11527" y="15268"/>
                  <a:pt x="11527" y="15331"/>
                </a:cubicBezTo>
                <a:cubicBezTo>
                  <a:pt x="11527" y="15393"/>
                  <a:pt x="11551" y="15444"/>
                  <a:pt x="11581" y="15444"/>
                </a:cubicBezTo>
                <a:cubicBezTo>
                  <a:pt x="11611" y="15444"/>
                  <a:pt x="11635" y="15393"/>
                  <a:pt x="11635" y="15331"/>
                </a:cubicBezTo>
                <a:cubicBezTo>
                  <a:pt x="11635" y="15268"/>
                  <a:pt x="11611" y="15218"/>
                  <a:pt x="11581" y="15218"/>
                </a:cubicBezTo>
                <a:close/>
                <a:moveTo>
                  <a:pt x="11581" y="14891"/>
                </a:moveTo>
                <a:cubicBezTo>
                  <a:pt x="11551" y="14891"/>
                  <a:pt x="11527" y="14941"/>
                  <a:pt x="11527" y="15004"/>
                </a:cubicBezTo>
                <a:cubicBezTo>
                  <a:pt x="11527" y="15066"/>
                  <a:pt x="11551" y="15117"/>
                  <a:pt x="11581" y="15117"/>
                </a:cubicBezTo>
                <a:cubicBezTo>
                  <a:pt x="11611" y="15117"/>
                  <a:pt x="11635" y="15066"/>
                  <a:pt x="11635" y="15004"/>
                </a:cubicBezTo>
                <a:cubicBezTo>
                  <a:pt x="11635" y="14941"/>
                  <a:pt x="11611" y="14891"/>
                  <a:pt x="11581" y="14891"/>
                </a:cubicBezTo>
                <a:close/>
                <a:moveTo>
                  <a:pt x="11428" y="15218"/>
                </a:moveTo>
                <a:cubicBezTo>
                  <a:pt x="11399" y="15218"/>
                  <a:pt x="11375" y="15268"/>
                  <a:pt x="11375" y="15331"/>
                </a:cubicBezTo>
                <a:cubicBezTo>
                  <a:pt x="11375" y="15393"/>
                  <a:pt x="11399" y="15444"/>
                  <a:pt x="11428" y="15444"/>
                </a:cubicBezTo>
                <a:cubicBezTo>
                  <a:pt x="11458" y="15444"/>
                  <a:pt x="11482" y="15393"/>
                  <a:pt x="11482" y="15331"/>
                </a:cubicBezTo>
                <a:cubicBezTo>
                  <a:pt x="11482" y="15268"/>
                  <a:pt x="11458" y="15218"/>
                  <a:pt x="11428" y="15218"/>
                </a:cubicBezTo>
                <a:close/>
                <a:moveTo>
                  <a:pt x="11428" y="14891"/>
                </a:moveTo>
                <a:cubicBezTo>
                  <a:pt x="11399" y="14891"/>
                  <a:pt x="11375" y="14941"/>
                  <a:pt x="11375" y="15004"/>
                </a:cubicBezTo>
                <a:cubicBezTo>
                  <a:pt x="11375" y="15066"/>
                  <a:pt x="11399" y="15117"/>
                  <a:pt x="11428" y="15117"/>
                </a:cubicBezTo>
                <a:cubicBezTo>
                  <a:pt x="11458" y="15117"/>
                  <a:pt x="11482" y="15066"/>
                  <a:pt x="11482" y="15004"/>
                </a:cubicBezTo>
                <a:cubicBezTo>
                  <a:pt x="11482" y="14941"/>
                  <a:pt x="11458" y="14891"/>
                  <a:pt x="11428" y="14891"/>
                </a:cubicBezTo>
                <a:close/>
                <a:moveTo>
                  <a:pt x="11273" y="15218"/>
                </a:moveTo>
                <a:cubicBezTo>
                  <a:pt x="11243" y="15218"/>
                  <a:pt x="11219" y="15268"/>
                  <a:pt x="11219" y="15331"/>
                </a:cubicBezTo>
                <a:cubicBezTo>
                  <a:pt x="11219" y="15393"/>
                  <a:pt x="11243" y="15444"/>
                  <a:pt x="11273" y="15444"/>
                </a:cubicBezTo>
                <a:cubicBezTo>
                  <a:pt x="11303" y="15444"/>
                  <a:pt x="11327" y="15393"/>
                  <a:pt x="11327" y="15331"/>
                </a:cubicBezTo>
                <a:cubicBezTo>
                  <a:pt x="11327" y="15268"/>
                  <a:pt x="11303" y="15218"/>
                  <a:pt x="11273" y="15218"/>
                </a:cubicBezTo>
                <a:close/>
                <a:moveTo>
                  <a:pt x="11273" y="14891"/>
                </a:moveTo>
                <a:cubicBezTo>
                  <a:pt x="11243" y="14891"/>
                  <a:pt x="11219" y="14941"/>
                  <a:pt x="11219" y="15004"/>
                </a:cubicBezTo>
                <a:cubicBezTo>
                  <a:pt x="11219" y="15066"/>
                  <a:pt x="11243" y="15117"/>
                  <a:pt x="11273" y="15117"/>
                </a:cubicBezTo>
                <a:cubicBezTo>
                  <a:pt x="11303" y="15117"/>
                  <a:pt x="11327" y="15066"/>
                  <a:pt x="11327" y="15004"/>
                </a:cubicBezTo>
                <a:cubicBezTo>
                  <a:pt x="11327" y="14941"/>
                  <a:pt x="11303" y="14891"/>
                  <a:pt x="11273" y="14891"/>
                </a:cubicBezTo>
                <a:close/>
                <a:moveTo>
                  <a:pt x="11119" y="15218"/>
                </a:moveTo>
                <a:cubicBezTo>
                  <a:pt x="11089" y="15218"/>
                  <a:pt x="11065" y="15268"/>
                  <a:pt x="11065" y="15331"/>
                </a:cubicBezTo>
                <a:cubicBezTo>
                  <a:pt x="11065" y="15393"/>
                  <a:pt x="11089" y="15444"/>
                  <a:pt x="11119" y="15444"/>
                </a:cubicBezTo>
                <a:cubicBezTo>
                  <a:pt x="11149" y="15444"/>
                  <a:pt x="11173" y="15393"/>
                  <a:pt x="11173" y="15331"/>
                </a:cubicBezTo>
                <a:cubicBezTo>
                  <a:pt x="11173" y="15268"/>
                  <a:pt x="11149" y="15218"/>
                  <a:pt x="11119" y="15218"/>
                </a:cubicBezTo>
                <a:close/>
                <a:moveTo>
                  <a:pt x="11119" y="14891"/>
                </a:moveTo>
                <a:cubicBezTo>
                  <a:pt x="11089" y="14891"/>
                  <a:pt x="11065" y="14941"/>
                  <a:pt x="11065" y="15004"/>
                </a:cubicBezTo>
                <a:cubicBezTo>
                  <a:pt x="11065" y="15066"/>
                  <a:pt x="11089" y="15117"/>
                  <a:pt x="11119" y="15117"/>
                </a:cubicBezTo>
                <a:cubicBezTo>
                  <a:pt x="11149" y="15117"/>
                  <a:pt x="11173" y="15066"/>
                  <a:pt x="11173" y="15004"/>
                </a:cubicBezTo>
                <a:cubicBezTo>
                  <a:pt x="11173" y="14941"/>
                  <a:pt x="11149" y="14891"/>
                  <a:pt x="11119" y="14891"/>
                </a:cubicBezTo>
                <a:close/>
                <a:moveTo>
                  <a:pt x="10967" y="15218"/>
                </a:moveTo>
                <a:cubicBezTo>
                  <a:pt x="10937" y="15218"/>
                  <a:pt x="10913" y="15268"/>
                  <a:pt x="10913" y="15331"/>
                </a:cubicBezTo>
                <a:cubicBezTo>
                  <a:pt x="10913" y="15393"/>
                  <a:pt x="10937" y="15444"/>
                  <a:pt x="10967" y="15444"/>
                </a:cubicBezTo>
                <a:cubicBezTo>
                  <a:pt x="10996" y="15444"/>
                  <a:pt x="11020" y="15393"/>
                  <a:pt x="11020" y="15331"/>
                </a:cubicBezTo>
                <a:cubicBezTo>
                  <a:pt x="11020" y="15268"/>
                  <a:pt x="10996" y="15218"/>
                  <a:pt x="10967" y="15218"/>
                </a:cubicBezTo>
                <a:close/>
                <a:moveTo>
                  <a:pt x="10967" y="14891"/>
                </a:moveTo>
                <a:cubicBezTo>
                  <a:pt x="10937" y="14891"/>
                  <a:pt x="10913" y="14941"/>
                  <a:pt x="10913" y="15004"/>
                </a:cubicBezTo>
                <a:cubicBezTo>
                  <a:pt x="10913" y="15066"/>
                  <a:pt x="10937" y="15117"/>
                  <a:pt x="10967" y="15117"/>
                </a:cubicBezTo>
                <a:cubicBezTo>
                  <a:pt x="10996" y="15117"/>
                  <a:pt x="11020" y="15066"/>
                  <a:pt x="11020" y="15004"/>
                </a:cubicBezTo>
                <a:cubicBezTo>
                  <a:pt x="11020" y="14941"/>
                  <a:pt x="10996" y="14891"/>
                  <a:pt x="10967" y="14891"/>
                </a:cubicBezTo>
                <a:close/>
                <a:moveTo>
                  <a:pt x="11581" y="14581"/>
                </a:moveTo>
                <a:cubicBezTo>
                  <a:pt x="11551" y="14581"/>
                  <a:pt x="11527" y="14632"/>
                  <a:pt x="11527" y="14694"/>
                </a:cubicBezTo>
                <a:cubicBezTo>
                  <a:pt x="11527" y="14757"/>
                  <a:pt x="11551" y="14807"/>
                  <a:pt x="11581" y="14807"/>
                </a:cubicBezTo>
                <a:cubicBezTo>
                  <a:pt x="11611" y="14807"/>
                  <a:pt x="11635" y="14757"/>
                  <a:pt x="11635" y="14694"/>
                </a:cubicBezTo>
                <a:cubicBezTo>
                  <a:pt x="11635" y="14632"/>
                  <a:pt x="11611" y="14581"/>
                  <a:pt x="11581" y="14581"/>
                </a:cubicBezTo>
                <a:close/>
                <a:moveTo>
                  <a:pt x="11581" y="14254"/>
                </a:moveTo>
                <a:cubicBezTo>
                  <a:pt x="11551" y="14254"/>
                  <a:pt x="11527" y="14305"/>
                  <a:pt x="11527" y="14367"/>
                </a:cubicBezTo>
                <a:cubicBezTo>
                  <a:pt x="11527" y="14430"/>
                  <a:pt x="11551" y="14480"/>
                  <a:pt x="11581" y="14480"/>
                </a:cubicBezTo>
                <a:cubicBezTo>
                  <a:pt x="11611" y="14480"/>
                  <a:pt x="11635" y="14430"/>
                  <a:pt x="11635" y="14367"/>
                </a:cubicBezTo>
                <a:cubicBezTo>
                  <a:pt x="11635" y="14305"/>
                  <a:pt x="11611" y="14254"/>
                  <a:pt x="11581" y="14254"/>
                </a:cubicBezTo>
                <a:close/>
                <a:moveTo>
                  <a:pt x="11428" y="14581"/>
                </a:moveTo>
                <a:cubicBezTo>
                  <a:pt x="11399" y="14581"/>
                  <a:pt x="11375" y="14632"/>
                  <a:pt x="11375" y="14694"/>
                </a:cubicBezTo>
                <a:cubicBezTo>
                  <a:pt x="11375" y="14757"/>
                  <a:pt x="11399" y="14807"/>
                  <a:pt x="11428" y="14807"/>
                </a:cubicBezTo>
                <a:cubicBezTo>
                  <a:pt x="11458" y="14807"/>
                  <a:pt x="11482" y="14757"/>
                  <a:pt x="11482" y="14694"/>
                </a:cubicBezTo>
                <a:cubicBezTo>
                  <a:pt x="11482" y="14632"/>
                  <a:pt x="11458" y="14581"/>
                  <a:pt x="11428" y="14581"/>
                </a:cubicBezTo>
                <a:close/>
                <a:moveTo>
                  <a:pt x="11428" y="14254"/>
                </a:moveTo>
                <a:cubicBezTo>
                  <a:pt x="11399" y="14254"/>
                  <a:pt x="11375" y="14305"/>
                  <a:pt x="11375" y="14367"/>
                </a:cubicBezTo>
                <a:cubicBezTo>
                  <a:pt x="11375" y="14430"/>
                  <a:pt x="11399" y="14480"/>
                  <a:pt x="11428" y="14480"/>
                </a:cubicBezTo>
                <a:cubicBezTo>
                  <a:pt x="11458" y="14480"/>
                  <a:pt x="11482" y="14430"/>
                  <a:pt x="11482" y="14367"/>
                </a:cubicBezTo>
                <a:cubicBezTo>
                  <a:pt x="11482" y="14305"/>
                  <a:pt x="11458" y="14254"/>
                  <a:pt x="11428" y="14254"/>
                </a:cubicBezTo>
                <a:close/>
                <a:moveTo>
                  <a:pt x="11273" y="14581"/>
                </a:moveTo>
                <a:cubicBezTo>
                  <a:pt x="11243" y="14581"/>
                  <a:pt x="11219" y="14632"/>
                  <a:pt x="11219" y="14694"/>
                </a:cubicBezTo>
                <a:cubicBezTo>
                  <a:pt x="11219" y="14757"/>
                  <a:pt x="11243" y="14807"/>
                  <a:pt x="11273" y="14807"/>
                </a:cubicBezTo>
                <a:cubicBezTo>
                  <a:pt x="11303" y="14807"/>
                  <a:pt x="11327" y="14757"/>
                  <a:pt x="11327" y="14694"/>
                </a:cubicBezTo>
                <a:cubicBezTo>
                  <a:pt x="11327" y="14632"/>
                  <a:pt x="11303" y="14581"/>
                  <a:pt x="11273" y="14581"/>
                </a:cubicBezTo>
                <a:close/>
                <a:moveTo>
                  <a:pt x="11273" y="14254"/>
                </a:moveTo>
                <a:cubicBezTo>
                  <a:pt x="11243" y="14254"/>
                  <a:pt x="11219" y="14305"/>
                  <a:pt x="11219" y="14367"/>
                </a:cubicBezTo>
                <a:cubicBezTo>
                  <a:pt x="11219" y="14430"/>
                  <a:pt x="11243" y="14480"/>
                  <a:pt x="11273" y="14480"/>
                </a:cubicBezTo>
                <a:cubicBezTo>
                  <a:pt x="11303" y="14480"/>
                  <a:pt x="11327" y="14430"/>
                  <a:pt x="11327" y="14367"/>
                </a:cubicBezTo>
                <a:cubicBezTo>
                  <a:pt x="11327" y="14305"/>
                  <a:pt x="11303" y="14254"/>
                  <a:pt x="11273" y="14254"/>
                </a:cubicBezTo>
                <a:close/>
                <a:moveTo>
                  <a:pt x="11119" y="14581"/>
                </a:moveTo>
                <a:cubicBezTo>
                  <a:pt x="11089" y="14581"/>
                  <a:pt x="11065" y="14632"/>
                  <a:pt x="11065" y="14694"/>
                </a:cubicBezTo>
                <a:cubicBezTo>
                  <a:pt x="11065" y="14757"/>
                  <a:pt x="11089" y="14807"/>
                  <a:pt x="11119" y="14807"/>
                </a:cubicBezTo>
                <a:cubicBezTo>
                  <a:pt x="11149" y="14807"/>
                  <a:pt x="11173" y="14757"/>
                  <a:pt x="11173" y="14694"/>
                </a:cubicBezTo>
                <a:cubicBezTo>
                  <a:pt x="11173" y="14632"/>
                  <a:pt x="11149" y="14581"/>
                  <a:pt x="11119" y="14581"/>
                </a:cubicBezTo>
                <a:close/>
                <a:moveTo>
                  <a:pt x="11119" y="14254"/>
                </a:moveTo>
                <a:cubicBezTo>
                  <a:pt x="11089" y="14254"/>
                  <a:pt x="11065" y="14305"/>
                  <a:pt x="11065" y="14367"/>
                </a:cubicBezTo>
                <a:cubicBezTo>
                  <a:pt x="11065" y="14430"/>
                  <a:pt x="11089" y="14480"/>
                  <a:pt x="11119" y="14480"/>
                </a:cubicBezTo>
                <a:cubicBezTo>
                  <a:pt x="11149" y="14480"/>
                  <a:pt x="11173" y="14430"/>
                  <a:pt x="11173" y="14367"/>
                </a:cubicBezTo>
                <a:cubicBezTo>
                  <a:pt x="11173" y="14305"/>
                  <a:pt x="11149" y="14254"/>
                  <a:pt x="11119" y="14254"/>
                </a:cubicBezTo>
                <a:close/>
                <a:moveTo>
                  <a:pt x="10967" y="14581"/>
                </a:moveTo>
                <a:cubicBezTo>
                  <a:pt x="10937" y="14581"/>
                  <a:pt x="10913" y="14632"/>
                  <a:pt x="10913" y="14694"/>
                </a:cubicBezTo>
                <a:cubicBezTo>
                  <a:pt x="10913" y="14757"/>
                  <a:pt x="10937" y="14807"/>
                  <a:pt x="10967" y="14807"/>
                </a:cubicBezTo>
                <a:cubicBezTo>
                  <a:pt x="10996" y="14807"/>
                  <a:pt x="11020" y="14757"/>
                  <a:pt x="11020" y="14694"/>
                </a:cubicBezTo>
                <a:cubicBezTo>
                  <a:pt x="11020" y="14632"/>
                  <a:pt x="10996" y="14581"/>
                  <a:pt x="10967" y="14581"/>
                </a:cubicBezTo>
                <a:close/>
                <a:moveTo>
                  <a:pt x="10967" y="14254"/>
                </a:moveTo>
                <a:cubicBezTo>
                  <a:pt x="10937" y="14254"/>
                  <a:pt x="10913" y="14305"/>
                  <a:pt x="10913" y="14367"/>
                </a:cubicBezTo>
                <a:cubicBezTo>
                  <a:pt x="10913" y="14430"/>
                  <a:pt x="10937" y="14480"/>
                  <a:pt x="10967" y="14480"/>
                </a:cubicBezTo>
                <a:cubicBezTo>
                  <a:pt x="10996" y="14480"/>
                  <a:pt x="11020" y="14430"/>
                  <a:pt x="11020" y="14367"/>
                </a:cubicBezTo>
                <a:cubicBezTo>
                  <a:pt x="11020" y="14305"/>
                  <a:pt x="10996" y="14254"/>
                  <a:pt x="10967" y="14254"/>
                </a:cubicBezTo>
                <a:close/>
                <a:moveTo>
                  <a:pt x="11581" y="13927"/>
                </a:moveTo>
                <a:cubicBezTo>
                  <a:pt x="11551" y="13927"/>
                  <a:pt x="11527" y="13978"/>
                  <a:pt x="11527" y="14040"/>
                </a:cubicBezTo>
                <a:cubicBezTo>
                  <a:pt x="11527" y="14103"/>
                  <a:pt x="11551" y="14154"/>
                  <a:pt x="11581" y="14154"/>
                </a:cubicBezTo>
                <a:cubicBezTo>
                  <a:pt x="11611" y="14154"/>
                  <a:pt x="11635" y="14103"/>
                  <a:pt x="11635" y="14040"/>
                </a:cubicBezTo>
                <a:cubicBezTo>
                  <a:pt x="11635" y="13978"/>
                  <a:pt x="11611" y="13927"/>
                  <a:pt x="11581" y="13927"/>
                </a:cubicBezTo>
                <a:close/>
                <a:moveTo>
                  <a:pt x="11581" y="13600"/>
                </a:moveTo>
                <a:cubicBezTo>
                  <a:pt x="11551" y="13600"/>
                  <a:pt x="11527" y="13651"/>
                  <a:pt x="11527" y="13714"/>
                </a:cubicBezTo>
                <a:cubicBezTo>
                  <a:pt x="11527" y="13776"/>
                  <a:pt x="11551" y="13827"/>
                  <a:pt x="11581" y="13827"/>
                </a:cubicBezTo>
                <a:cubicBezTo>
                  <a:pt x="11611" y="13827"/>
                  <a:pt x="11635" y="13776"/>
                  <a:pt x="11635" y="13714"/>
                </a:cubicBezTo>
                <a:cubicBezTo>
                  <a:pt x="11635" y="13651"/>
                  <a:pt x="11611" y="13600"/>
                  <a:pt x="11581" y="13600"/>
                </a:cubicBezTo>
                <a:close/>
                <a:moveTo>
                  <a:pt x="11428" y="13927"/>
                </a:moveTo>
                <a:cubicBezTo>
                  <a:pt x="11399" y="13927"/>
                  <a:pt x="11375" y="13978"/>
                  <a:pt x="11375" y="14040"/>
                </a:cubicBezTo>
                <a:cubicBezTo>
                  <a:pt x="11375" y="14103"/>
                  <a:pt x="11399" y="14154"/>
                  <a:pt x="11428" y="14154"/>
                </a:cubicBezTo>
                <a:cubicBezTo>
                  <a:pt x="11458" y="14154"/>
                  <a:pt x="11482" y="14103"/>
                  <a:pt x="11482" y="14040"/>
                </a:cubicBezTo>
                <a:cubicBezTo>
                  <a:pt x="11482" y="13978"/>
                  <a:pt x="11458" y="13927"/>
                  <a:pt x="11428" y="13927"/>
                </a:cubicBezTo>
                <a:close/>
                <a:moveTo>
                  <a:pt x="11428" y="13600"/>
                </a:moveTo>
                <a:cubicBezTo>
                  <a:pt x="11399" y="13600"/>
                  <a:pt x="11375" y="13651"/>
                  <a:pt x="11375" y="13714"/>
                </a:cubicBezTo>
                <a:cubicBezTo>
                  <a:pt x="11375" y="13776"/>
                  <a:pt x="11399" y="13827"/>
                  <a:pt x="11428" y="13827"/>
                </a:cubicBezTo>
                <a:cubicBezTo>
                  <a:pt x="11458" y="13827"/>
                  <a:pt x="11482" y="13776"/>
                  <a:pt x="11482" y="13714"/>
                </a:cubicBezTo>
                <a:cubicBezTo>
                  <a:pt x="11482" y="13651"/>
                  <a:pt x="11458" y="13600"/>
                  <a:pt x="11428" y="13600"/>
                </a:cubicBezTo>
                <a:close/>
                <a:moveTo>
                  <a:pt x="11273" y="13927"/>
                </a:moveTo>
                <a:cubicBezTo>
                  <a:pt x="11243" y="13927"/>
                  <a:pt x="11219" y="13978"/>
                  <a:pt x="11219" y="14040"/>
                </a:cubicBezTo>
                <a:cubicBezTo>
                  <a:pt x="11219" y="14103"/>
                  <a:pt x="11243" y="14154"/>
                  <a:pt x="11273" y="14154"/>
                </a:cubicBezTo>
                <a:cubicBezTo>
                  <a:pt x="11303" y="14154"/>
                  <a:pt x="11327" y="14103"/>
                  <a:pt x="11327" y="14040"/>
                </a:cubicBezTo>
                <a:cubicBezTo>
                  <a:pt x="11327" y="13978"/>
                  <a:pt x="11303" y="13927"/>
                  <a:pt x="11273" y="13927"/>
                </a:cubicBezTo>
                <a:close/>
                <a:moveTo>
                  <a:pt x="11273" y="13600"/>
                </a:moveTo>
                <a:cubicBezTo>
                  <a:pt x="11243" y="13600"/>
                  <a:pt x="11219" y="13651"/>
                  <a:pt x="11219" y="13714"/>
                </a:cubicBezTo>
                <a:cubicBezTo>
                  <a:pt x="11219" y="13776"/>
                  <a:pt x="11243" y="13827"/>
                  <a:pt x="11273" y="13827"/>
                </a:cubicBezTo>
                <a:cubicBezTo>
                  <a:pt x="11303" y="13827"/>
                  <a:pt x="11327" y="13776"/>
                  <a:pt x="11327" y="13714"/>
                </a:cubicBezTo>
                <a:cubicBezTo>
                  <a:pt x="11327" y="13651"/>
                  <a:pt x="11303" y="13600"/>
                  <a:pt x="11273" y="13600"/>
                </a:cubicBezTo>
                <a:close/>
                <a:moveTo>
                  <a:pt x="11119" y="13927"/>
                </a:moveTo>
                <a:cubicBezTo>
                  <a:pt x="11089" y="13927"/>
                  <a:pt x="11065" y="13978"/>
                  <a:pt x="11065" y="14040"/>
                </a:cubicBezTo>
                <a:cubicBezTo>
                  <a:pt x="11065" y="14103"/>
                  <a:pt x="11089" y="14154"/>
                  <a:pt x="11119" y="14154"/>
                </a:cubicBezTo>
                <a:cubicBezTo>
                  <a:pt x="11149" y="14154"/>
                  <a:pt x="11173" y="14103"/>
                  <a:pt x="11173" y="14040"/>
                </a:cubicBezTo>
                <a:cubicBezTo>
                  <a:pt x="11173" y="13978"/>
                  <a:pt x="11149" y="13927"/>
                  <a:pt x="11119" y="13927"/>
                </a:cubicBezTo>
                <a:close/>
                <a:moveTo>
                  <a:pt x="11119" y="13600"/>
                </a:moveTo>
                <a:cubicBezTo>
                  <a:pt x="11089" y="13600"/>
                  <a:pt x="11065" y="13651"/>
                  <a:pt x="11065" y="13714"/>
                </a:cubicBezTo>
                <a:cubicBezTo>
                  <a:pt x="11065" y="13776"/>
                  <a:pt x="11089" y="13827"/>
                  <a:pt x="11119" y="13827"/>
                </a:cubicBezTo>
                <a:cubicBezTo>
                  <a:pt x="11149" y="13827"/>
                  <a:pt x="11173" y="13776"/>
                  <a:pt x="11173" y="13714"/>
                </a:cubicBezTo>
                <a:cubicBezTo>
                  <a:pt x="11173" y="13651"/>
                  <a:pt x="11149" y="13600"/>
                  <a:pt x="11119" y="13600"/>
                </a:cubicBezTo>
                <a:close/>
                <a:moveTo>
                  <a:pt x="10967" y="13927"/>
                </a:moveTo>
                <a:cubicBezTo>
                  <a:pt x="10937" y="13927"/>
                  <a:pt x="10913" y="13978"/>
                  <a:pt x="10913" y="14040"/>
                </a:cubicBezTo>
                <a:cubicBezTo>
                  <a:pt x="10913" y="14103"/>
                  <a:pt x="10937" y="14154"/>
                  <a:pt x="10967" y="14154"/>
                </a:cubicBezTo>
                <a:cubicBezTo>
                  <a:pt x="10996" y="14154"/>
                  <a:pt x="11020" y="14103"/>
                  <a:pt x="11020" y="14040"/>
                </a:cubicBezTo>
                <a:cubicBezTo>
                  <a:pt x="11020" y="13978"/>
                  <a:pt x="10996" y="13927"/>
                  <a:pt x="10967" y="13927"/>
                </a:cubicBezTo>
                <a:close/>
                <a:moveTo>
                  <a:pt x="10967" y="13600"/>
                </a:moveTo>
                <a:cubicBezTo>
                  <a:pt x="10937" y="13600"/>
                  <a:pt x="10913" y="13651"/>
                  <a:pt x="10913" y="13714"/>
                </a:cubicBezTo>
                <a:cubicBezTo>
                  <a:pt x="10913" y="13776"/>
                  <a:pt x="10937" y="13827"/>
                  <a:pt x="10967" y="13827"/>
                </a:cubicBezTo>
                <a:cubicBezTo>
                  <a:pt x="10996" y="13827"/>
                  <a:pt x="11020" y="13776"/>
                  <a:pt x="11020" y="13714"/>
                </a:cubicBezTo>
                <a:cubicBezTo>
                  <a:pt x="11020" y="13651"/>
                  <a:pt x="10996" y="13600"/>
                  <a:pt x="10967" y="13600"/>
                </a:cubicBezTo>
                <a:close/>
                <a:moveTo>
                  <a:pt x="11581" y="13276"/>
                </a:moveTo>
                <a:cubicBezTo>
                  <a:pt x="11551" y="13276"/>
                  <a:pt x="11527" y="13326"/>
                  <a:pt x="11527" y="13389"/>
                </a:cubicBezTo>
                <a:cubicBezTo>
                  <a:pt x="11527" y="13451"/>
                  <a:pt x="11551" y="13502"/>
                  <a:pt x="11581" y="13502"/>
                </a:cubicBezTo>
                <a:cubicBezTo>
                  <a:pt x="11611" y="13502"/>
                  <a:pt x="11635" y="13451"/>
                  <a:pt x="11635" y="13389"/>
                </a:cubicBezTo>
                <a:cubicBezTo>
                  <a:pt x="11635" y="13326"/>
                  <a:pt x="11611" y="13276"/>
                  <a:pt x="11581" y="13276"/>
                </a:cubicBezTo>
                <a:close/>
                <a:moveTo>
                  <a:pt x="11581" y="12949"/>
                </a:moveTo>
                <a:cubicBezTo>
                  <a:pt x="11551" y="12949"/>
                  <a:pt x="11527" y="13000"/>
                  <a:pt x="11527" y="13062"/>
                </a:cubicBezTo>
                <a:cubicBezTo>
                  <a:pt x="11527" y="13125"/>
                  <a:pt x="11551" y="13175"/>
                  <a:pt x="11581" y="13175"/>
                </a:cubicBezTo>
                <a:cubicBezTo>
                  <a:pt x="11611" y="13175"/>
                  <a:pt x="11635" y="13125"/>
                  <a:pt x="11635" y="13062"/>
                </a:cubicBezTo>
                <a:cubicBezTo>
                  <a:pt x="11635" y="13000"/>
                  <a:pt x="11611" y="12949"/>
                  <a:pt x="11581" y="12949"/>
                </a:cubicBezTo>
                <a:close/>
                <a:moveTo>
                  <a:pt x="11428" y="13276"/>
                </a:moveTo>
                <a:cubicBezTo>
                  <a:pt x="11399" y="13276"/>
                  <a:pt x="11375" y="13326"/>
                  <a:pt x="11375" y="13389"/>
                </a:cubicBezTo>
                <a:cubicBezTo>
                  <a:pt x="11375" y="13451"/>
                  <a:pt x="11399" y="13502"/>
                  <a:pt x="11428" y="13502"/>
                </a:cubicBezTo>
                <a:cubicBezTo>
                  <a:pt x="11458" y="13502"/>
                  <a:pt x="11482" y="13451"/>
                  <a:pt x="11482" y="13389"/>
                </a:cubicBezTo>
                <a:cubicBezTo>
                  <a:pt x="11482" y="13326"/>
                  <a:pt x="11458" y="13276"/>
                  <a:pt x="11428" y="13276"/>
                </a:cubicBezTo>
                <a:close/>
                <a:moveTo>
                  <a:pt x="11428" y="12949"/>
                </a:moveTo>
                <a:cubicBezTo>
                  <a:pt x="11399" y="12949"/>
                  <a:pt x="11375" y="13000"/>
                  <a:pt x="11375" y="13062"/>
                </a:cubicBezTo>
                <a:cubicBezTo>
                  <a:pt x="11375" y="13125"/>
                  <a:pt x="11399" y="13175"/>
                  <a:pt x="11428" y="13175"/>
                </a:cubicBezTo>
                <a:cubicBezTo>
                  <a:pt x="11458" y="13175"/>
                  <a:pt x="11482" y="13125"/>
                  <a:pt x="11482" y="13062"/>
                </a:cubicBezTo>
                <a:cubicBezTo>
                  <a:pt x="11482" y="13000"/>
                  <a:pt x="11458" y="12949"/>
                  <a:pt x="11428" y="12949"/>
                </a:cubicBezTo>
                <a:close/>
                <a:moveTo>
                  <a:pt x="11273" y="13276"/>
                </a:moveTo>
                <a:cubicBezTo>
                  <a:pt x="11243" y="13276"/>
                  <a:pt x="11219" y="13326"/>
                  <a:pt x="11219" y="13389"/>
                </a:cubicBezTo>
                <a:cubicBezTo>
                  <a:pt x="11219" y="13451"/>
                  <a:pt x="11243" y="13502"/>
                  <a:pt x="11273" y="13502"/>
                </a:cubicBezTo>
                <a:cubicBezTo>
                  <a:pt x="11303" y="13502"/>
                  <a:pt x="11327" y="13451"/>
                  <a:pt x="11327" y="13389"/>
                </a:cubicBezTo>
                <a:cubicBezTo>
                  <a:pt x="11327" y="13326"/>
                  <a:pt x="11303" y="13276"/>
                  <a:pt x="11273" y="13276"/>
                </a:cubicBezTo>
                <a:close/>
                <a:moveTo>
                  <a:pt x="11273" y="12949"/>
                </a:moveTo>
                <a:cubicBezTo>
                  <a:pt x="11243" y="12949"/>
                  <a:pt x="11219" y="13000"/>
                  <a:pt x="11219" y="13062"/>
                </a:cubicBezTo>
                <a:cubicBezTo>
                  <a:pt x="11219" y="13125"/>
                  <a:pt x="11243" y="13175"/>
                  <a:pt x="11273" y="13175"/>
                </a:cubicBezTo>
                <a:cubicBezTo>
                  <a:pt x="11303" y="13175"/>
                  <a:pt x="11327" y="13125"/>
                  <a:pt x="11327" y="13062"/>
                </a:cubicBezTo>
                <a:cubicBezTo>
                  <a:pt x="11327" y="13000"/>
                  <a:pt x="11303" y="12949"/>
                  <a:pt x="11273" y="12949"/>
                </a:cubicBezTo>
                <a:close/>
                <a:moveTo>
                  <a:pt x="11119" y="13276"/>
                </a:moveTo>
                <a:cubicBezTo>
                  <a:pt x="11089" y="13276"/>
                  <a:pt x="11065" y="13326"/>
                  <a:pt x="11065" y="13389"/>
                </a:cubicBezTo>
                <a:cubicBezTo>
                  <a:pt x="11065" y="13451"/>
                  <a:pt x="11089" y="13502"/>
                  <a:pt x="11119" y="13502"/>
                </a:cubicBezTo>
                <a:cubicBezTo>
                  <a:pt x="11149" y="13502"/>
                  <a:pt x="11173" y="13451"/>
                  <a:pt x="11173" y="13389"/>
                </a:cubicBezTo>
                <a:cubicBezTo>
                  <a:pt x="11173" y="13326"/>
                  <a:pt x="11149" y="13276"/>
                  <a:pt x="11119" y="13276"/>
                </a:cubicBezTo>
                <a:close/>
                <a:moveTo>
                  <a:pt x="11119" y="12949"/>
                </a:moveTo>
                <a:cubicBezTo>
                  <a:pt x="11089" y="12949"/>
                  <a:pt x="11065" y="13000"/>
                  <a:pt x="11065" y="13062"/>
                </a:cubicBezTo>
                <a:cubicBezTo>
                  <a:pt x="11065" y="13125"/>
                  <a:pt x="11089" y="13175"/>
                  <a:pt x="11119" y="13175"/>
                </a:cubicBezTo>
                <a:cubicBezTo>
                  <a:pt x="11149" y="13175"/>
                  <a:pt x="11173" y="13125"/>
                  <a:pt x="11173" y="13062"/>
                </a:cubicBezTo>
                <a:cubicBezTo>
                  <a:pt x="11173" y="13000"/>
                  <a:pt x="11149" y="12949"/>
                  <a:pt x="11119" y="12949"/>
                </a:cubicBezTo>
                <a:close/>
                <a:moveTo>
                  <a:pt x="10967" y="13276"/>
                </a:moveTo>
                <a:cubicBezTo>
                  <a:pt x="10937" y="13276"/>
                  <a:pt x="10913" y="13326"/>
                  <a:pt x="10913" y="13389"/>
                </a:cubicBezTo>
                <a:cubicBezTo>
                  <a:pt x="10913" y="13451"/>
                  <a:pt x="10937" y="13502"/>
                  <a:pt x="10967" y="13502"/>
                </a:cubicBezTo>
                <a:cubicBezTo>
                  <a:pt x="10996" y="13502"/>
                  <a:pt x="11020" y="13451"/>
                  <a:pt x="11020" y="13389"/>
                </a:cubicBezTo>
                <a:cubicBezTo>
                  <a:pt x="11020" y="13326"/>
                  <a:pt x="10996" y="13276"/>
                  <a:pt x="10967" y="13276"/>
                </a:cubicBezTo>
                <a:close/>
                <a:moveTo>
                  <a:pt x="10967" y="12949"/>
                </a:moveTo>
                <a:cubicBezTo>
                  <a:pt x="10937" y="12949"/>
                  <a:pt x="10913" y="13000"/>
                  <a:pt x="10913" y="13062"/>
                </a:cubicBezTo>
                <a:cubicBezTo>
                  <a:pt x="10913" y="13125"/>
                  <a:pt x="10937" y="13175"/>
                  <a:pt x="10967" y="13175"/>
                </a:cubicBezTo>
                <a:cubicBezTo>
                  <a:pt x="10996" y="13175"/>
                  <a:pt x="11020" y="13125"/>
                  <a:pt x="11020" y="13062"/>
                </a:cubicBezTo>
                <a:cubicBezTo>
                  <a:pt x="11020" y="13000"/>
                  <a:pt x="10996" y="12949"/>
                  <a:pt x="10967" y="12949"/>
                </a:cubicBezTo>
                <a:close/>
                <a:moveTo>
                  <a:pt x="11581" y="12622"/>
                </a:moveTo>
                <a:cubicBezTo>
                  <a:pt x="11551" y="12622"/>
                  <a:pt x="11527" y="12673"/>
                  <a:pt x="11527" y="12735"/>
                </a:cubicBezTo>
                <a:cubicBezTo>
                  <a:pt x="11527" y="12798"/>
                  <a:pt x="11551" y="12848"/>
                  <a:pt x="11581" y="12848"/>
                </a:cubicBezTo>
                <a:cubicBezTo>
                  <a:pt x="11611" y="12848"/>
                  <a:pt x="11635" y="12798"/>
                  <a:pt x="11635" y="12735"/>
                </a:cubicBezTo>
                <a:cubicBezTo>
                  <a:pt x="11635" y="12673"/>
                  <a:pt x="11611" y="12622"/>
                  <a:pt x="11581" y="12622"/>
                </a:cubicBezTo>
                <a:close/>
                <a:moveTo>
                  <a:pt x="11581" y="12295"/>
                </a:moveTo>
                <a:cubicBezTo>
                  <a:pt x="11551" y="12295"/>
                  <a:pt x="11527" y="12346"/>
                  <a:pt x="11527" y="12408"/>
                </a:cubicBezTo>
                <a:cubicBezTo>
                  <a:pt x="11527" y="12471"/>
                  <a:pt x="11551" y="12521"/>
                  <a:pt x="11581" y="12521"/>
                </a:cubicBezTo>
                <a:cubicBezTo>
                  <a:pt x="11611" y="12521"/>
                  <a:pt x="11635" y="12471"/>
                  <a:pt x="11635" y="12408"/>
                </a:cubicBezTo>
                <a:cubicBezTo>
                  <a:pt x="11635" y="12346"/>
                  <a:pt x="11611" y="12295"/>
                  <a:pt x="11581" y="12295"/>
                </a:cubicBezTo>
                <a:close/>
                <a:moveTo>
                  <a:pt x="11428" y="12622"/>
                </a:moveTo>
                <a:cubicBezTo>
                  <a:pt x="11399" y="12622"/>
                  <a:pt x="11375" y="12673"/>
                  <a:pt x="11375" y="12735"/>
                </a:cubicBezTo>
                <a:cubicBezTo>
                  <a:pt x="11375" y="12798"/>
                  <a:pt x="11399" y="12848"/>
                  <a:pt x="11428" y="12848"/>
                </a:cubicBezTo>
                <a:cubicBezTo>
                  <a:pt x="11458" y="12848"/>
                  <a:pt x="11482" y="12798"/>
                  <a:pt x="11482" y="12735"/>
                </a:cubicBezTo>
                <a:cubicBezTo>
                  <a:pt x="11482" y="12673"/>
                  <a:pt x="11458" y="12622"/>
                  <a:pt x="11428" y="12622"/>
                </a:cubicBezTo>
                <a:close/>
                <a:moveTo>
                  <a:pt x="11428" y="12295"/>
                </a:moveTo>
                <a:cubicBezTo>
                  <a:pt x="11399" y="12295"/>
                  <a:pt x="11375" y="12346"/>
                  <a:pt x="11375" y="12408"/>
                </a:cubicBezTo>
                <a:cubicBezTo>
                  <a:pt x="11375" y="12471"/>
                  <a:pt x="11399" y="12521"/>
                  <a:pt x="11428" y="12521"/>
                </a:cubicBezTo>
                <a:cubicBezTo>
                  <a:pt x="11458" y="12521"/>
                  <a:pt x="11482" y="12471"/>
                  <a:pt x="11482" y="12408"/>
                </a:cubicBezTo>
                <a:cubicBezTo>
                  <a:pt x="11482" y="12346"/>
                  <a:pt x="11458" y="12295"/>
                  <a:pt x="11428" y="12295"/>
                </a:cubicBezTo>
                <a:close/>
                <a:moveTo>
                  <a:pt x="11273" y="12622"/>
                </a:moveTo>
                <a:cubicBezTo>
                  <a:pt x="11243" y="12622"/>
                  <a:pt x="11219" y="12673"/>
                  <a:pt x="11219" y="12735"/>
                </a:cubicBezTo>
                <a:cubicBezTo>
                  <a:pt x="11219" y="12798"/>
                  <a:pt x="11243" y="12848"/>
                  <a:pt x="11273" y="12848"/>
                </a:cubicBezTo>
                <a:cubicBezTo>
                  <a:pt x="11303" y="12848"/>
                  <a:pt x="11327" y="12798"/>
                  <a:pt x="11327" y="12735"/>
                </a:cubicBezTo>
                <a:cubicBezTo>
                  <a:pt x="11327" y="12673"/>
                  <a:pt x="11303" y="12622"/>
                  <a:pt x="11273" y="12622"/>
                </a:cubicBezTo>
                <a:close/>
                <a:moveTo>
                  <a:pt x="11273" y="12295"/>
                </a:moveTo>
                <a:cubicBezTo>
                  <a:pt x="11243" y="12295"/>
                  <a:pt x="11219" y="12346"/>
                  <a:pt x="11219" y="12408"/>
                </a:cubicBezTo>
                <a:cubicBezTo>
                  <a:pt x="11219" y="12471"/>
                  <a:pt x="11243" y="12521"/>
                  <a:pt x="11273" y="12521"/>
                </a:cubicBezTo>
                <a:cubicBezTo>
                  <a:pt x="11303" y="12521"/>
                  <a:pt x="11327" y="12471"/>
                  <a:pt x="11327" y="12408"/>
                </a:cubicBezTo>
                <a:cubicBezTo>
                  <a:pt x="11327" y="12346"/>
                  <a:pt x="11303" y="12295"/>
                  <a:pt x="11273" y="12295"/>
                </a:cubicBezTo>
                <a:close/>
                <a:moveTo>
                  <a:pt x="11119" y="12622"/>
                </a:moveTo>
                <a:cubicBezTo>
                  <a:pt x="11089" y="12622"/>
                  <a:pt x="11065" y="12673"/>
                  <a:pt x="11065" y="12735"/>
                </a:cubicBezTo>
                <a:cubicBezTo>
                  <a:pt x="11065" y="12798"/>
                  <a:pt x="11089" y="12848"/>
                  <a:pt x="11119" y="12848"/>
                </a:cubicBezTo>
                <a:cubicBezTo>
                  <a:pt x="11149" y="12848"/>
                  <a:pt x="11173" y="12798"/>
                  <a:pt x="11173" y="12735"/>
                </a:cubicBezTo>
                <a:cubicBezTo>
                  <a:pt x="11173" y="12673"/>
                  <a:pt x="11149" y="12622"/>
                  <a:pt x="11119" y="12622"/>
                </a:cubicBezTo>
                <a:close/>
                <a:moveTo>
                  <a:pt x="11119" y="12295"/>
                </a:moveTo>
                <a:cubicBezTo>
                  <a:pt x="11089" y="12295"/>
                  <a:pt x="11065" y="12346"/>
                  <a:pt x="11065" y="12408"/>
                </a:cubicBezTo>
                <a:cubicBezTo>
                  <a:pt x="11065" y="12471"/>
                  <a:pt x="11089" y="12521"/>
                  <a:pt x="11119" y="12521"/>
                </a:cubicBezTo>
                <a:cubicBezTo>
                  <a:pt x="11149" y="12521"/>
                  <a:pt x="11173" y="12471"/>
                  <a:pt x="11173" y="12408"/>
                </a:cubicBezTo>
                <a:cubicBezTo>
                  <a:pt x="11173" y="12346"/>
                  <a:pt x="11149" y="12295"/>
                  <a:pt x="11119" y="12295"/>
                </a:cubicBezTo>
                <a:close/>
                <a:moveTo>
                  <a:pt x="10967" y="12622"/>
                </a:moveTo>
                <a:cubicBezTo>
                  <a:pt x="10937" y="12622"/>
                  <a:pt x="10913" y="12673"/>
                  <a:pt x="10913" y="12735"/>
                </a:cubicBezTo>
                <a:cubicBezTo>
                  <a:pt x="10913" y="12798"/>
                  <a:pt x="10937" y="12848"/>
                  <a:pt x="10967" y="12848"/>
                </a:cubicBezTo>
                <a:cubicBezTo>
                  <a:pt x="10996" y="12848"/>
                  <a:pt x="11020" y="12798"/>
                  <a:pt x="11020" y="12735"/>
                </a:cubicBezTo>
                <a:cubicBezTo>
                  <a:pt x="11020" y="12673"/>
                  <a:pt x="10996" y="12622"/>
                  <a:pt x="10967" y="12622"/>
                </a:cubicBezTo>
                <a:close/>
                <a:moveTo>
                  <a:pt x="10967" y="12295"/>
                </a:moveTo>
                <a:cubicBezTo>
                  <a:pt x="10937" y="12295"/>
                  <a:pt x="10913" y="12346"/>
                  <a:pt x="10913" y="12408"/>
                </a:cubicBezTo>
                <a:cubicBezTo>
                  <a:pt x="10913" y="12471"/>
                  <a:pt x="10937" y="12521"/>
                  <a:pt x="10967" y="12521"/>
                </a:cubicBezTo>
                <a:cubicBezTo>
                  <a:pt x="10996" y="12521"/>
                  <a:pt x="11020" y="12471"/>
                  <a:pt x="11020" y="12408"/>
                </a:cubicBezTo>
                <a:cubicBezTo>
                  <a:pt x="11020" y="12346"/>
                  <a:pt x="10996" y="12295"/>
                  <a:pt x="10967" y="12295"/>
                </a:cubicBezTo>
                <a:close/>
                <a:moveTo>
                  <a:pt x="11581" y="11971"/>
                </a:moveTo>
                <a:cubicBezTo>
                  <a:pt x="11551" y="11971"/>
                  <a:pt x="11527" y="12021"/>
                  <a:pt x="11527" y="12084"/>
                </a:cubicBezTo>
                <a:cubicBezTo>
                  <a:pt x="11527" y="12146"/>
                  <a:pt x="11551" y="12197"/>
                  <a:pt x="11581" y="12197"/>
                </a:cubicBezTo>
                <a:cubicBezTo>
                  <a:pt x="11611" y="12197"/>
                  <a:pt x="11635" y="12146"/>
                  <a:pt x="11635" y="12084"/>
                </a:cubicBezTo>
                <a:cubicBezTo>
                  <a:pt x="11635" y="12021"/>
                  <a:pt x="11611" y="11971"/>
                  <a:pt x="11581" y="11971"/>
                </a:cubicBezTo>
                <a:close/>
                <a:moveTo>
                  <a:pt x="11581" y="11644"/>
                </a:moveTo>
                <a:cubicBezTo>
                  <a:pt x="11551" y="11644"/>
                  <a:pt x="11527" y="11694"/>
                  <a:pt x="11527" y="11757"/>
                </a:cubicBezTo>
                <a:cubicBezTo>
                  <a:pt x="11527" y="11819"/>
                  <a:pt x="11551" y="11870"/>
                  <a:pt x="11581" y="11870"/>
                </a:cubicBezTo>
                <a:cubicBezTo>
                  <a:pt x="11611" y="11870"/>
                  <a:pt x="11635" y="11819"/>
                  <a:pt x="11635" y="11757"/>
                </a:cubicBezTo>
                <a:cubicBezTo>
                  <a:pt x="11635" y="11694"/>
                  <a:pt x="11611" y="11644"/>
                  <a:pt x="11581" y="11644"/>
                </a:cubicBezTo>
                <a:close/>
                <a:moveTo>
                  <a:pt x="11428" y="11971"/>
                </a:moveTo>
                <a:cubicBezTo>
                  <a:pt x="11399" y="11971"/>
                  <a:pt x="11375" y="12021"/>
                  <a:pt x="11375" y="12084"/>
                </a:cubicBezTo>
                <a:cubicBezTo>
                  <a:pt x="11375" y="12146"/>
                  <a:pt x="11399" y="12197"/>
                  <a:pt x="11428" y="12197"/>
                </a:cubicBezTo>
                <a:cubicBezTo>
                  <a:pt x="11458" y="12197"/>
                  <a:pt x="11482" y="12146"/>
                  <a:pt x="11482" y="12084"/>
                </a:cubicBezTo>
                <a:cubicBezTo>
                  <a:pt x="11482" y="12021"/>
                  <a:pt x="11458" y="11971"/>
                  <a:pt x="11428" y="11971"/>
                </a:cubicBezTo>
                <a:close/>
                <a:moveTo>
                  <a:pt x="11428" y="11644"/>
                </a:moveTo>
                <a:cubicBezTo>
                  <a:pt x="11399" y="11644"/>
                  <a:pt x="11375" y="11694"/>
                  <a:pt x="11375" y="11757"/>
                </a:cubicBezTo>
                <a:cubicBezTo>
                  <a:pt x="11375" y="11819"/>
                  <a:pt x="11399" y="11870"/>
                  <a:pt x="11428" y="11870"/>
                </a:cubicBezTo>
                <a:cubicBezTo>
                  <a:pt x="11458" y="11870"/>
                  <a:pt x="11482" y="11819"/>
                  <a:pt x="11482" y="11757"/>
                </a:cubicBezTo>
                <a:cubicBezTo>
                  <a:pt x="11482" y="11694"/>
                  <a:pt x="11458" y="11644"/>
                  <a:pt x="11428" y="11644"/>
                </a:cubicBezTo>
                <a:close/>
                <a:moveTo>
                  <a:pt x="11273" y="11971"/>
                </a:moveTo>
                <a:cubicBezTo>
                  <a:pt x="11243" y="11971"/>
                  <a:pt x="11219" y="12021"/>
                  <a:pt x="11219" y="12084"/>
                </a:cubicBezTo>
                <a:cubicBezTo>
                  <a:pt x="11219" y="12146"/>
                  <a:pt x="11243" y="12197"/>
                  <a:pt x="11273" y="12197"/>
                </a:cubicBezTo>
                <a:cubicBezTo>
                  <a:pt x="11303" y="12197"/>
                  <a:pt x="11327" y="12146"/>
                  <a:pt x="11327" y="12084"/>
                </a:cubicBezTo>
                <a:cubicBezTo>
                  <a:pt x="11327" y="12021"/>
                  <a:pt x="11303" y="11971"/>
                  <a:pt x="11273" y="11971"/>
                </a:cubicBezTo>
                <a:close/>
                <a:moveTo>
                  <a:pt x="11273" y="11644"/>
                </a:moveTo>
                <a:cubicBezTo>
                  <a:pt x="11243" y="11644"/>
                  <a:pt x="11219" y="11694"/>
                  <a:pt x="11219" y="11757"/>
                </a:cubicBezTo>
                <a:cubicBezTo>
                  <a:pt x="11219" y="11819"/>
                  <a:pt x="11243" y="11870"/>
                  <a:pt x="11273" y="11870"/>
                </a:cubicBezTo>
                <a:cubicBezTo>
                  <a:pt x="11303" y="11870"/>
                  <a:pt x="11327" y="11819"/>
                  <a:pt x="11327" y="11757"/>
                </a:cubicBezTo>
                <a:cubicBezTo>
                  <a:pt x="11327" y="11694"/>
                  <a:pt x="11303" y="11644"/>
                  <a:pt x="11273" y="11644"/>
                </a:cubicBezTo>
                <a:close/>
                <a:moveTo>
                  <a:pt x="11119" y="11971"/>
                </a:moveTo>
                <a:cubicBezTo>
                  <a:pt x="11089" y="11971"/>
                  <a:pt x="11065" y="12021"/>
                  <a:pt x="11065" y="12084"/>
                </a:cubicBezTo>
                <a:cubicBezTo>
                  <a:pt x="11065" y="12146"/>
                  <a:pt x="11089" y="12197"/>
                  <a:pt x="11119" y="12197"/>
                </a:cubicBezTo>
                <a:cubicBezTo>
                  <a:pt x="11149" y="12197"/>
                  <a:pt x="11173" y="12146"/>
                  <a:pt x="11173" y="12084"/>
                </a:cubicBezTo>
                <a:cubicBezTo>
                  <a:pt x="11173" y="12021"/>
                  <a:pt x="11149" y="11971"/>
                  <a:pt x="11119" y="11971"/>
                </a:cubicBezTo>
                <a:close/>
                <a:moveTo>
                  <a:pt x="11119" y="11644"/>
                </a:moveTo>
                <a:cubicBezTo>
                  <a:pt x="11089" y="11644"/>
                  <a:pt x="11065" y="11694"/>
                  <a:pt x="11065" y="11757"/>
                </a:cubicBezTo>
                <a:cubicBezTo>
                  <a:pt x="11065" y="11819"/>
                  <a:pt x="11089" y="11870"/>
                  <a:pt x="11119" y="11870"/>
                </a:cubicBezTo>
                <a:cubicBezTo>
                  <a:pt x="11149" y="11870"/>
                  <a:pt x="11173" y="11819"/>
                  <a:pt x="11173" y="11757"/>
                </a:cubicBezTo>
                <a:cubicBezTo>
                  <a:pt x="11173" y="11694"/>
                  <a:pt x="11149" y="11644"/>
                  <a:pt x="11119" y="11644"/>
                </a:cubicBezTo>
                <a:close/>
                <a:moveTo>
                  <a:pt x="10967" y="11971"/>
                </a:moveTo>
                <a:cubicBezTo>
                  <a:pt x="10937" y="11971"/>
                  <a:pt x="10913" y="12021"/>
                  <a:pt x="10913" y="12084"/>
                </a:cubicBezTo>
                <a:cubicBezTo>
                  <a:pt x="10913" y="12146"/>
                  <a:pt x="10937" y="12197"/>
                  <a:pt x="10967" y="12197"/>
                </a:cubicBezTo>
                <a:cubicBezTo>
                  <a:pt x="10996" y="12197"/>
                  <a:pt x="11020" y="12146"/>
                  <a:pt x="11020" y="12084"/>
                </a:cubicBezTo>
                <a:cubicBezTo>
                  <a:pt x="11020" y="12021"/>
                  <a:pt x="10996" y="11971"/>
                  <a:pt x="10967" y="11971"/>
                </a:cubicBezTo>
                <a:close/>
                <a:moveTo>
                  <a:pt x="10967" y="11644"/>
                </a:moveTo>
                <a:cubicBezTo>
                  <a:pt x="10937" y="11644"/>
                  <a:pt x="10913" y="11694"/>
                  <a:pt x="10913" y="11757"/>
                </a:cubicBezTo>
                <a:cubicBezTo>
                  <a:pt x="10913" y="11819"/>
                  <a:pt x="10937" y="11870"/>
                  <a:pt x="10967" y="11870"/>
                </a:cubicBezTo>
                <a:cubicBezTo>
                  <a:pt x="10996" y="11870"/>
                  <a:pt x="11020" y="11819"/>
                  <a:pt x="11020" y="11757"/>
                </a:cubicBezTo>
                <a:cubicBezTo>
                  <a:pt x="11020" y="11694"/>
                  <a:pt x="10996" y="11644"/>
                  <a:pt x="10967" y="11644"/>
                </a:cubicBezTo>
                <a:close/>
                <a:moveTo>
                  <a:pt x="11581" y="11317"/>
                </a:moveTo>
                <a:cubicBezTo>
                  <a:pt x="11551" y="11317"/>
                  <a:pt x="11527" y="11367"/>
                  <a:pt x="11527" y="11430"/>
                </a:cubicBezTo>
                <a:cubicBezTo>
                  <a:pt x="11527" y="11492"/>
                  <a:pt x="11551" y="11543"/>
                  <a:pt x="11581" y="11543"/>
                </a:cubicBezTo>
                <a:cubicBezTo>
                  <a:pt x="11611" y="11543"/>
                  <a:pt x="11635" y="11492"/>
                  <a:pt x="11635" y="11430"/>
                </a:cubicBezTo>
                <a:cubicBezTo>
                  <a:pt x="11635" y="11367"/>
                  <a:pt x="11611" y="11317"/>
                  <a:pt x="11581" y="11317"/>
                </a:cubicBezTo>
                <a:close/>
                <a:moveTo>
                  <a:pt x="11581" y="10990"/>
                </a:moveTo>
                <a:cubicBezTo>
                  <a:pt x="11551" y="10990"/>
                  <a:pt x="11527" y="11041"/>
                  <a:pt x="11527" y="11103"/>
                </a:cubicBezTo>
                <a:cubicBezTo>
                  <a:pt x="11527" y="11166"/>
                  <a:pt x="11551" y="11216"/>
                  <a:pt x="11581" y="11216"/>
                </a:cubicBezTo>
                <a:cubicBezTo>
                  <a:pt x="11611" y="11216"/>
                  <a:pt x="11635" y="11166"/>
                  <a:pt x="11635" y="11103"/>
                </a:cubicBezTo>
                <a:cubicBezTo>
                  <a:pt x="11635" y="11041"/>
                  <a:pt x="11611" y="10990"/>
                  <a:pt x="11581" y="10990"/>
                </a:cubicBezTo>
                <a:close/>
                <a:moveTo>
                  <a:pt x="11428" y="11317"/>
                </a:moveTo>
                <a:cubicBezTo>
                  <a:pt x="11399" y="11317"/>
                  <a:pt x="11375" y="11367"/>
                  <a:pt x="11375" y="11430"/>
                </a:cubicBezTo>
                <a:cubicBezTo>
                  <a:pt x="11375" y="11492"/>
                  <a:pt x="11399" y="11543"/>
                  <a:pt x="11428" y="11543"/>
                </a:cubicBezTo>
                <a:cubicBezTo>
                  <a:pt x="11458" y="11543"/>
                  <a:pt x="11482" y="11492"/>
                  <a:pt x="11482" y="11430"/>
                </a:cubicBezTo>
                <a:cubicBezTo>
                  <a:pt x="11482" y="11367"/>
                  <a:pt x="11458" y="11317"/>
                  <a:pt x="11428" y="11317"/>
                </a:cubicBezTo>
                <a:close/>
                <a:moveTo>
                  <a:pt x="11428" y="10990"/>
                </a:moveTo>
                <a:cubicBezTo>
                  <a:pt x="11399" y="10990"/>
                  <a:pt x="11375" y="11041"/>
                  <a:pt x="11375" y="11103"/>
                </a:cubicBezTo>
                <a:cubicBezTo>
                  <a:pt x="11375" y="11166"/>
                  <a:pt x="11399" y="11216"/>
                  <a:pt x="11428" y="11216"/>
                </a:cubicBezTo>
                <a:cubicBezTo>
                  <a:pt x="11458" y="11216"/>
                  <a:pt x="11482" y="11166"/>
                  <a:pt x="11482" y="11103"/>
                </a:cubicBezTo>
                <a:cubicBezTo>
                  <a:pt x="11482" y="11041"/>
                  <a:pt x="11458" y="10990"/>
                  <a:pt x="11428" y="10990"/>
                </a:cubicBezTo>
                <a:close/>
                <a:moveTo>
                  <a:pt x="11273" y="11317"/>
                </a:moveTo>
                <a:cubicBezTo>
                  <a:pt x="11243" y="11317"/>
                  <a:pt x="11219" y="11367"/>
                  <a:pt x="11219" y="11430"/>
                </a:cubicBezTo>
                <a:cubicBezTo>
                  <a:pt x="11219" y="11492"/>
                  <a:pt x="11243" y="11543"/>
                  <a:pt x="11273" y="11543"/>
                </a:cubicBezTo>
                <a:cubicBezTo>
                  <a:pt x="11303" y="11543"/>
                  <a:pt x="11327" y="11492"/>
                  <a:pt x="11327" y="11430"/>
                </a:cubicBezTo>
                <a:cubicBezTo>
                  <a:pt x="11327" y="11367"/>
                  <a:pt x="11303" y="11317"/>
                  <a:pt x="11273" y="11317"/>
                </a:cubicBezTo>
                <a:close/>
                <a:moveTo>
                  <a:pt x="11273" y="10990"/>
                </a:moveTo>
                <a:cubicBezTo>
                  <a:pt x="11243" y="10990"/>
                  <a:pt x="11219" y="11041"/>
                  <a:pt x="11219" y="11103"/>
                </a:cubicBezTo>
                <a:cubicBezTo>
                  <a:pt x="11219" y="11166"/>
                  <a:pt x="11243" y="11216"/>
                  <a:pt x="11273" y="11216"/>
                </a:cubicBezTo>
                <a:cubicBezTo>
                  <a:pt x="11303" y="11216"/>
                  <a:pt x="11327" y="11166"/>
                  <a:pt x="11327" y="11103"/>
                </a:cubicBezTo>
                <a:cubicBezTo>
                  <a:pt x="11327" y="11041"/>
                  <a:pt x="11303" y="10990"/>
                  <a:pt x="11273" y="10990"/>
                </a:cubicBezTo>
                <a:close/>
                <a:moveTo>
                  <a:pt x="11119" y="11317"/>
                </a:moveTo>
                <a:cubicBezTo>
                  <a:pt x="11089" y="11317"/>
                  <a:pt x="11065" y="11367"/>
                  <a:pt x="11065" y="11430"/>
                </a:cubicBezTo>
                <a:cubicBezTo>
                  <a:pt x="11065" y="11492"/>
                  <a:pt x="11089" y="11543"/>
                  <a:pt x="11119" y="11543"/>
                </a:cubicBezTo>
                <a:cubicBezTo>
                  <a:pt x="11149" y="11543"/>
                  <a:pt x="11173" y="11492"/>
                  <a:pt x="11173" y="11430"/>
                </a:cubicBezTo>
                <a:cubicBezTo>
                  <a:pt x="11173" y="11367"/>
                  <a:pt x="11149" y="11317"/>
                  <a:pt x="11119" y="11317"/>
                </a:cubicBezTo>
                <a:close/>
                <a:moveTo>
                  <a:pt x="11119" y="10990"/>
                </a:moveTo>
                <a:cubicBezTo>
                  <a:pt x="11089" y="10990"/>
                  <a:pt x="11065" y="11041"/>
                  <a:pt x="11065" y="11103"/>
                </a:cubicBezTo>
                <a:cubicBezTo>
                  <a:pt x="11065" y="11166"/>
                  <a:pt x="11089" y="11216"/>
                  <a:pt x="11119" y="11216"/>
                </a:cubicBezTo>
                <a:cubicBezTo>
                  <a:pt x="11149" y="11216"/>
                  <a:pt x="11173" y="11166"/>
                  <a:pt x="11173" y="11103"/>
                </a:cubicBezTo>
                <a:cubicBezTo>
                  <a:pt x="11173" y="11041"/>
                  <a:pt x="11149" y="10990"/>
                  <a:pt x="11119" y="10990"/>
                </a:cubicBezTo>
                <a:close/>
                <a:moveTo>
                  <a:pt x="10967" y="11317"/>
                </a:moveTo>
                <a:cubicBezTo>
                  <a:pt x="10937" y="11317"/>
                  <a:pt x="10913" y="11367"/>
                  <a:pt x="10913" y="11430"/>
                </a:cubicBezTo>
                <a:cubicBezTo>
                  <a:pt x="10913" y="11492"/>
                  <a:pt x="10937" y="11543"/>
                  <a:pt x="10967" y="11543"/>
                </a:cubicBezTo>
                <a:cubicBezTo>
                  <a:pt x="10996" y="11543"/>
                  <a:pt x="11020" y="11492"/>
                  <a:pt x="11020" y="11430"/>
                </a:cubicBezTo>
                <a:cubicBezTo>
                  <a:pt x="11020" y="11367"/>
                  <a:pt x="10996" y="11317"/>
                  <a:pt x="10967" y="11317"/>
                </a:cubicBezTo>
                <a:close/>
                <a:moveTo>
                  <a:pt x="10967" y="10990"/>
                </a:moveTo>
                <a:cubicBezTo>
                  <a:pt x="10937" y="10990"/>
                  <a:pt x="10913" y="11041"/>
                  <a:pt x="10913" y="11103"/>
                </a:cubicBezTo>
                <a:cubicBezTo>
                  <a:pt x="10913" y="11166"/>
                  <a:pt x="10937" y="11216"/>
                  <a:pt x="10967" y="11216"/>
                </a:cubicBezTo>
                <a:cubicBezTo>
                  <a:pt x="10996" y="11216"/>
                  <a:pt x="11020" y="11166"/>
                  <a:pt x="11020" y="11103"/>
                </a:cubicBezTo>
                <a:cubicBezTo>
                  <a:pt x="11020" y="11041"/>
                  <a:pt x="10996" y="10990"/>
                  <a:pt x="10967" y="10990"/>
                </a:cubicBezTo>
                <a:close/>
                <a:moveTo>
                  <a:pt x="11581" y="10680"/>
                </a:moveTo>
                <a:cubicBezTo>
                  <a:pt x="11551" y="10680"/>
                  <a:pt x="11527" y="10731"/>
                  <a:pt x="11527" y="10793"/>
                </a:cubicBezTo>
                <a:cubicBezTo>
                  <a:pt x="11527" y="10856"/>
                  <a:pt x="11551" y="10906"/>
                  <a:pt x="11581" y="10906"/>
                </a:cubicBezTo>
                <a:cubicBezTo>
                  <a:pt x="11611" y="10906"/>
                  <a:pt x="11635" y="10856"/>
                  <a:pt x="11635" y="10793"/>
                </a:cubicBezTo>
                <a:cubicBezTo>
                  <a:pt x="11635" y="10731"/>
                  <a:pt x="11611" y="10680"/>
                  <a:pt x="11581" y="10680"/>
                </a:cubicBezTo>
                <a:close/>
                <a:moveTo>
                  <a:pt x="11581" y="10353"/>
                </a:moveTo>
                <a:cubicBezTo>
                  <a:pt x="11551" y="10353"/>
                  <a:pt x="11527" y="10404"/>
                  <a:pt x="11527" y="10466"/>
                </a:cubicBezTo>
                <a:cubicBezTo>
                  <a:pt x="11527" y="10529"/>
                  <a:pt x="11551" y="10580"/>
                  <a:pt x="11581" y="10580"/>
                </a:cubicBezTo>
                <a:cubicBezTo>
                  <a:pt x="11611" y="10580"/>
                  <a:pt x="11635" y="10529"/>
                  <a:pt x="11635" y="10466"/>
                </a:cubicBezTo>
                <a:cubicBezTo>
                  <a:pt x="11635" y="10404"/>
                  <a:pt x="11611" y="10353"/>
                  <a:pt x="11581" y="10353"/>
                </a:cubicBezTo>
                <a:close/>
                <a:moveTo>
                  <a:pt x="11428" y="10680"/>
                </a:moveTo>
                <a:cubicBezTo>
                  <a:pt x="11399" y="10680"/>
                  <a:pt x="11375" y="10731"/>
                  <a:pt x="11375" y="10793"/>
                </a:cubicBezTo>
                <a:cubicBezTo>
                  <a:pt x="11375" y="10856"/>
                  <a:pt x="11399" y="10906"/>
                  <a:pt x="11428" y="10906"/>
                </a:cubicBezTo>
                <a:cubicBezTo>
                  <a:pt x="11458" y="10906"/>
                  <a:pt x="11482" y="10856"/>
                  <a:pt x="11482" y="10793"/>
                </a:cubicBezTo>
                <a:cubicBezTo>
                  <a:pt x="11482" y="10731"/>
                  <a:pt x="11458" y="10680"/>
                  <a:pt x="11428" y="10680"/>
                </a:cubicBezTo>
                <a:close/>
                <a:moveTo>
                  <a:pt x="11428" y="10353"/>
                </a:moveTo>
                <a:cubicBezTo>
                  <a:pt x="11399" y="10353"/>
                  <a:pt x="11375" y="10404"/>
                  <a:pt x="11375" y="10466"/>
                </a:cubicBezTo>
                <a:cubicBezTo>
                  <a:pt x="11375" y="10529"/>
                  <a:pt x="11399" y="10580"/>
                  <a:pt x="11428" y="10580"/>
                </a:cubicBezTo>
                <a:cubicBezTo>
                  <a:pt x="11458" y="10580"/>
                  <a:pt x="11482" y="10529"/>
                  <a:pt x="11482" y="10466"/>
                </a:cubicBezTo>
                <a:cubicBezTo>
                  <a:pt x="11482" y="10404"/>
                  <a:pt x="11458" y="10353"/>
                  <a:pt x="11428" y="10353"/>
                </a:cubicBezTo>
                <a:close/>
                <a:moveTo>
                  <a:pt x="11273" y="10680"/>
                </a:moveTo>
                <a:cubicBezTo>
                  <a:pt x="11243" y="10680"/>
                  <a:pt x="11219" y="10731"/>
                  <a:pt x="11219" y="10793"/>
                </a:cubicBezTo>
                <a:cubicBezTo>
                  <a:pt x="11219" y="10856"/>
                  <a:pt x="11243" y="10906"/>
                  <a:pt x="11273" y="10906"/>
                </a:cubicBezTo>
                <a:cubicBezTo>
                  <a:pt x="11303" y="10906"/>
                  <a:pt x="11327" y="10856"/>
                  <a:pt x="11327" y="10793"/>
                </a:cubicBezTo>
                <a:cubicBezTo>
                  <a:pt x="11327" y="10731"/>
                  <a:pt x="11303" y="10680"/>
                  <a:pt x="11273" y="10680"/>
                </a:cubicBezTo>
                <a:close/>
                <a:moveTo>
                  <a:pt x="11273" y="10353"/>
                </a:moveTo>
                <a:cubicBezTo>
                  <a:pt x="11243" y="10353"/>
                  <a:pt x="11219" y="10404"/>
                  <a:pt x="11219" y="10466"/>
                </a:cubicBezTo>
                <a:cubicBezTo>
                  <a:pt x="11219" y="10529"/>
                  <a:pt x="11243" y="10580"/>
                  <a:pt x="11273" y="10580"/>
                </a:cubicBezTo>
                <a:cubicBezTo>
                  <a:pt x="11303" y="10580"/>
                  <a:pt x="11327" y="10529"/>
                  <a:pt x="11327" y="10466"/>
                </a:cubicBezTo>
                <a:cubicBezTo>
                  <a:pt x="11327" y="10404"/>
                  <a:pt x="11303" y="10353"/>
                  <a:pt x="11273" y="10353"/>
                </a:cubicBezTo>
                <a:close/>
                <a:moveTo>
                  <a:pt x="11119" y="10680"/>
                </a:moveTo>
                <a:cubicBezTo>
                  <a:pt x="11089" y="10680"/>
                  <a:pt x="11065" y="10731"/>
                  <a:pt x="11065" y="10793"/>
                </a:cubicBezTo>
                <a:cubicBezTo>
                  <a:pt x="11065" y="10856"/>
                  <a:pt x="11089" y="10906"/>
                  <a:pt x="11119" y="10906"/>
                </a:cubicBezTo>
                <a:cubicBezTo>
                  <a:pt x="11149" y="10906"/>
                  <a:pt x="11173" y="10856"/>
                  <a:pt x="11173" y="10793"/>
                </a:cubicBezTo>
                <a:cubicBezTo>
                  <a:pt x="11173" y="10731"/>
                  <a:pt x="11149" y="10680"/>
                  <a:pt x="11119" y="10680"/>
                </a:cubicBezTo>
                <a:close/>
                <a:moveTo>
                  <a:pt x="11119" y="10353"/>
                </a:moveTo>
                <a:cubicBezTo>
                  <a:pt x="11089" y="10353"/>
                  <a:pt x="11065" y="10404"/>
                  <a:pt x="11065" y="10466"/>
                </a:cubicBezTo>
                <a:cubicBezTo>
                  <a:pt x="11065" y="10529"/>
                  <a:pt x="11089" y="10580"/>
                  <a:pt x="11119" y="10580"/>
                </a:cubicBezTo>
                <a:cubicBezTo>
                  <a:pt x="11149" y="10580"/>
                  <a:pt x="11173" y="10529"/>
                  <a:pt x="11173" y="10466"/>
                </a:cubicBezTo>
                <a:cubicBezTo>
                  <a:pt x="11173" y="10404"/>
                  <a:pt x="11149" y="10353"/>
                  <a:pt x="11119" y="10353"/>
                </a:cubicBezTo>
                <a:close/>
                <a:moveTo>
                  <a:pt x="10967" y="10680"/>
                </a:moveTo>
                <a:cubicBezTo>
                  <a:pt x="10937" y="10680"/>
                  <a:pt x="10913" y="10731"/>
                  <a:pt x="10913" y="10793"/>
                </a:cubicBezTo>
                <a:cubicBezTo>
                  <a:pt x="10913" y="10856"/>
                  <a:pt x="10937" y="10906"/>
                  <a:pt x="10967" y="10906"/>
                </a:cubicBezTo>
                <a:cubicBezTo>
                  <a:pt x="10996" y="10906"/>
                  <a:pt x="11020" y="10856"/>
                  <a:pt x="11020" y="10793"/>
                </a:cubicBezTo>
                <a:cubicBezTo>
                  <a:pt x="11020" y="10731"/>
                  <a:pt x="10996" y="10680"/>
                  <a:pt x="10967" y="10680"/>
                </a:cubicBezTo>
                <a:close/>
                <a:moveTo>
                  <a:pt x="10967" y="10353"/>
                </a:moveTo>
                <a:cubicBezTo>
                  <a:pt x="10937" y="10353"/>
                  <a:pt x="10913" y="10404"/>
                  <a:pt x="10913" y="10466"/>
                </a:cubicBezTo>
                <a:cubicBezTo>
                  <a:pt x="10913" y="10529"/>
                  <a:pt x="10937" y="10580"/>
                  <a:pt x="10967" y="10580"/>
                </a:cubicBezTo>
                <a:cubicBezTo>
                  <a:pt x="10996" y="10580"/>
                  <a:pt x="11020" y="10529"/>
                  <a:pt x="11020" y="10466"/>
                </a:cubicBezTo>
                <a:cubicBezTo>
                  <a:pt x="11020" y="10404"/>
                  <a:pt x="10996" y="10353"/>
                  <a:pt x="10967" y="10353"/>
                </a:cubicBezTo>
                <a:close/>
                <a:moveTo>
                  <a:pt x="11581" y="10026"/>
                </a:moveTo>
                <a:cubicBezTo>
                  <a:pt x="11551" y="10026"/>
                  <a:pt x="11527" y="10077"/>
                  <a:pt x="11527" y="10140"/>
                </a:cubicBezTo>
                <a:cubicBezTo>
                  <a:pt x="11527" y="10202"/>
                  <a:pt x="11551" y="10253"/>
                  <a:pt x="11581" y="10253"/>
                </a:cubicBezTo>
                <a:cubicBezTo>
                  <a:pt x="11611" y="10253"/>
                  <a:pt x="11635" y="10202"/>
                  <a:pt x="11635" y="10140"/>
                </a:cubicBezTo>
                <a:cubicBezTo>
                  <a:pt x="11635" y="10077"/>
                  <a:pt x="11611" y="10026"/>
                  <a:pt x="11581" y="10026"/>
                </a:cubicBezTo>
                <a:close/>
                <a:moveTo>
                  <a:pt x="11581" y="9700"/>
                </a:moveTo>
                <a:cubicBezTo>
                  <a:pt x="11551" y="9700"/>
                  <a:pt x="11527" y="9750"/>
                  <a:pt x="11527" y="9813"/>
                </a:cubicBezTo>
                <a:cubicBezTo>
                  <a:pt x="11527" y="9875"/>
                  <a:pt x="11551" y="9926"/>
                  <a:pt x="11581" y="9926"/>
                </a:cubicBezTo>
                <a:cubicBezTo>
                  <a:pt x="11611" y="9926"/>
                  <a:pt x="11635" y="9875"/>
                  <a:pt x="11635" y="9813"/>
                </a:cubicBezTo>
                <a:cubicBezTo>
                  <a:pt x="11635" y="9750"/>
                  <a:pt x="11611" y="9700"/>
                  <a:pt x="11581" y="9700"/>
                </a:cubicBezTo>
                <a:close/>
                <a:moveTo>
                  <a:pt x="11428" y="10026"/>
                </a:moveTo>
                <a:cubicBezTo>
                  <a:pt x="11399" y="10026"/>
                  <a:pt x="11375" y="10077"/>
                  <a:pt x="11375" y="10140"/>
                </a:cubicBezTo>
                <a:cubicBezTo>
                  <a:pt x="11375" y="10202"/>
                  <a:pt x="11399" y="10253"/>
                  <a:pt x="11428" y="10253"/>
                </a:cubicBezTo>
                <a:cubicBezTo>
                  <a:pt x="11458" y="10253"/>
                  <a:pt x="11482" y="10202"/>
                  <a:pt x="11482" y="10140"/>
                </a:cubicBezTo>
                <a:cubicBezTo>
                  <a:pt x="11482" y="10077"/>
                  <a:pt x="11458" y="10026"/>
                  <a:pt x="11428" y="10026"/>
                </a:cubicBezTo>
                <a:close/>
                <a:moveTo>
                  <a:pt x="11428" y="9700"/>
                </a:moveTo>
                <a:cubicBezTo>
                  <a:pt x="11399" y="9700"/>
                  <a:pt x="11375" y="9750"/>
                  <a:pt x="11375" y="9813"/>
                </a:cubicBezTo>
                <a:cubicBezTo>
                  <a:pt x="11375" y="9875"/>
                  <a:pt x="11399" y="9926"/>
                  <a:pt x="11428" y="9926"/>
                </a:cubicBezTo>
                <a:cubicBezTo>
                  <a:pt x="11458" y="9926"/>
                  <a:pt x="11482" y="9875"/>
                  <a:pt x="11482" y="9813"/>
                </a:cubicBezTo>
                <a:cubicBezTo>
                  <a:pt x="11482" y="9750"/>
                  <a:pt x="11458" y="9700"/>
                  <a:pt x="11428" y="9700"/>
                </a:cubicBezTo>
                <a:close/>
                <a:moveTo>
                  <a:pt x="11273" y="10026"/>
                </a:moveTo>
                <a:cubicBezTo>
                  <a:pt x="11243" y="10026"/>
                  <a:pt x="11219" y="10077"/>
                  <a:pt x="11219" y="10140"/>
                </a:cubicBezTo>
                <a:cubicBezTo>
                  <a:pt x="11219" y="10202"/>
                  <a:pt x="11243" y="10253"/>
                  <a:pt x="11273" y="10253"/>
                </a:cubicBezTo>
                <a:cubicBezTo>
                  <a:pt x="11303" y="10253"/>
                  <a:pt x="11327" y="10202"/>
                  <a:pt x="11327" y="10140"/>
                </a:cubicBezTo>
                <a:cubicBezTo>
                  <a:pt x="11327" y="10077"/>
                  <a:pt x="11303" y="10026"/>
                  <a:pt x="11273" y="10026"/>
                </a:cubicBezTo>
                <a:close/>
                <a:moveTo>
                  <a:pt x="11273" y="9700"/>
                </a:moveTo>
                <a:cubicBezTo>
                  <a:pt x="11243" y="9700"/>
                  <a:pt x="11219" y="9750"/>
                  <a:pt x="11219" y="9813"/>
                </a:cubicBezTo>
                <a:cubicBezTo>
                  <a:pt x="11219" y="9875"/>
                  <a:pt x="11243" y="9926"/>
                  <a:pt x="11273" y="9926"/>
                </a:cubicBezTo>
                <a:cubicBezTo>
                  <a:pt x="11303" y="9926"/>
                  <a:pt x="11327" y="9875"/>
                  <a:pt x="11327" y="9813"/>
                </a:cubicBezTo>
                <a:cubicBezTo>
                  <a:pt x="11327" y="9750"/>
                  <a:pt x="11303" y="9700"/>
                  <a:pt x="11273" y="9700"/>
                </a:cubicBezTo>
                <a:close/>
                <a:moveTo>
                  <a:pt x="11119" y="10026"/>
                </a:moveTo>
                <a:cubicBezTo>
                  <a:pt x="11089" y="10026"/>
                  <a:pt x="11065" y="10077"/>
                  <a:pt x="11065" y="10140"/>
                </a:cubicBezTo>
                <a:cubicBezTo>
                  <a:pt x="11065" y="10202"/>
                  <a:pt x="11089" y="10253"/>
                  <a:pt x="11119" y="10253"/>
                </a:cubicBezTo>
                <a:cubicBezTo>
                  <a:pt x="11149" y="10253"/>
                  <a:pt x="11173" y="10202"/>
                  <a:pt x="11173" y="10140"/>
                </a:cubicBezTo>
                <a:cubicBezTo>
                  <a:pt x="11173" y="10077"/>
                  <a:pt x="11149" y="10026"/>
                  <a:pt x="11119" y="10026"/>
                </a:cubicBezTo>
                <a:close/>
                <a:moveTo>
                  <a:pt x="11119" y="9700"/>
                </a:moveTo>
                <a:cubicBezTo>
                  <a:pt x="11089" y="9700"/>
                  <a:pt x="11065" y="9750"/>
                  <a:pt x="11065" y="9813"/>
                </a:cubicBezTo>
                <a:cubicBezTo>
                  <a:pt x="11065" y="9875"/>
                  <a:pt x="11089" y="9926"/>
                  <a:pt x="11119" y="9926"/>
                </a:cubicBezTo>
                <a:cubicBezTo>
                  <a:pt x="11149" y="9926"/>
                  <a:pt x="11173" y="9875"/>
                  <a:pt x="11173" y="9813"/>
                </a:cubicBezTo>
                <a:cubicBezTo>
                  <a:pt x="11173" y="9750"/>
                  <a:pt x="11149" y="9700"/>
                  <a:pt x="11119" y="9700"/>
                </a:cubicBezTo>
                <a:close/>
                <a:moveTo>
                  <a:pt x="10967" y="10026"/>
                </a:moveTo>
                <a:cubicBezTo>
                  <a:pt x="10937" y="10026"/>
                  <a:pt x="10913" y="10077"/>
                  <a:pt x="10913" y="10140"/>
                </a:cubicBezTo>
                <a:cubicBezTo>
                  <a:pt x="10913" y="10202"/>
                  <a:pt x="10937" y="10253"/>
                  <a:pt x="10967" y="10253"/>
                </a:cubicBezTo>
                <a:cubicBezTo>
                  <a:pt x="10996" y="10253"/>
                  <a:pt x="11020" y="10202"/>
                  <a:pt x="11020" y="10140"/>
                </a:cubicBezTo>
                <a:cubicBezTo>
                  <a:pt x="11020" y="10077"/>
                  <a:pt x="10996" y="10026"/>
                  <a:pt x="10967" y="10026"/>
                </a:cubicBezTo>
                <a:close/>
                <a:moveTo>
                  <a:pt x="10967" y="9700"/>
                </a:moveTo>
                <a:cubicBezTo>
                  <a:pt x="10937" y="9700"/>
                  <a:pt x="10913" y="9750"/>
                  <a:pt x="10913" y="9813"/>
                </a:cubicBezTo>
                <a:cubicBezTo>
                  <a:pt x="10913" y="9875"/>
                  <a:pt x="10937" y="9926"/>
                  <a:pt x="10967" y="9926"/>
                </a:cubicBezTo>
                <a:cubicBezTo>
                  <a:pt x="10996" y="9926"/>
                  <a:pt x="11020" y="9875"/>
                  <a:pt x="11020" y="9813"/>
                </a:cubicBezTo>
                <a:cubicBezTo>
                  <a:pt x="11020" y="9750"/>
                  <a:pt x="10996" y="9700"/>
                  <a:pt x="10967" y="9700"/>
                </a:cubicBezTo>
                <a:close/>
                <a:moveTo>
                  <a:pt x="10813" y="13276"/>
                </a:moveTo>
                <a:cubicBezTo>
                  <a:pt x="10783" y="13276"/>
                  <a:pt x="10759" y="13326"/>
                  <a:pt x="10759" y="13389"/>
                </a:cubicBezTo>
                <a:cubicBezTo>
                  <a:pt x="10759" y="13451"/>
                  <a:pt x="10783" y="13502"/>
                  <a:pt x="10813" y="13502"/>
                </a:cubicBezTo>
                <a:cubicBezTo>
                  <a:pt x="10843" y="13502"/>
                  <a:pt x="10867" y="13451"/>
                  <a:pt x="10867" y="13389"/>
                </a:cubicBezTo>
                <a:cubicBezTo>
                  <a:pt x="10867" y="13326"/>
                  <a:pt x="10843" y="13276"/>
                  <a:pt x="10813" y="13276"/>
                </a:cubicBezTo>
                <a:close/>
                <a:moveTo>
                  <a:pt x="10813" y="12949"/>
                </a:moveTo>
                <a:cubicBezTo>
                  <a:pt x="10783" y="12949"/>
                  <a:pt x="10759" y="13000"/>
                  <a:pt x="10759" y="13062"/>
                </a:cubicBezTo>
                <a:cubicBezTo>
                  <a:pt x="10759" y="13125"/>
                  <a:pt x="10783" y="13175"/>
                  <a:pt x="10813" y="13175"/>
                </a:cubicBezTo>
                <a:cubicBezTo>
                  <a:pt x="10843" y="13175"/>
                  <a:pt x="10867" y="13125"/>
                  <a:pt x="10867" y="13062"/>
                </a:cubicBezTo>
                <a:cubicBezTo>
                  <a:pt x="10867" y="13000"/>
                  <a:pt x="10843" y="12949"/>
                  <a:pt x="10813" y="12949"/>
                </a:cubicBezTo>
                <a:close/>
                <a:moveTo>
                  <a:pt x="10047" y="13276"/>
                </a:moveTo>
                <a:cubicBezTo>
                  <a:pt x="10017" y="13276"/>
                  <a:pt x="9993" y="13326"/>
                  <a:pt x="9993" y="13389"/>
                </a:cubicBezTo>
                <a:cubicBezTo>
                  <a:pt x="9993" y="13451"/>
                  <a:pt x="10017" y="13502"/>
                  <a:pt x="10047" y="13502"/>
                </a:cubicBezTo>
                <a:cubicBezTo>
                  <a:pt x="10076" y="13502"/>
                  <a:pt x="10100" y="13451"/>
                  <a:pt x="10100" y="13389"/>
                </a:cubicBezTo>
                <a:cubicBezTo>
                  <a:pt x="10100" y="13326"/>
                  <a:pt x="10076" y="13276"/>
                  <a:pt x="10047" y="13276"/>
                </a:cubicBezTo>
                <a:close/>
                <a:moveTo>
                  <a:pt x="10047" y="12949"/>
                </a:moveTo>
                <a:cubicBezTo>
                  <a:pt x="10017" y="12949"/>
                  <a:pt x="9993" y="13000"/>
                  <a:pt x="9993" y="13062"/>
                </a:cubicBezTo>
                <a:cubicBezTo>
                  <a:pt x="9993" y="13125"/>
                  <a:pt x="10017" y="13175"/>
                  <a:pt x="10047" y="13175"/>
                </a:cubicBezTo>
                <a:cubicBezTo>
                  <a:pt x="10076" y="13175"/>
                  <a:pt x="10100" y="13125"/>
                  <a:pt x="10100" y="13062"/>
                </a:cubicBezTo>
                <a:cubicBezTo>
                  <a:pt x="10100" y="13000"/>
                  <a:pt x="10076" y="12949"/>
                  <a:pt x="10047" y="12949"/>
                </a:cubicBezTo>
                <a:close/>
                <a:moveTo>
                  <a:pt x="9891" y="13502"/>
                </a:moveTo>
                <a:cubicBezTo>
                  <a:pt x="9921" y="13502"/>
                  <a:pt x="9945" y="13451"/>
                  <a:pt x="9945" y="13389"/>
                </a:cubicBezTo>
                <a:cubicBezTo>
                  <a:pt x="9945" y="13326"/>
                  <a:pt x="9921" y="13276"/>
                  <a:pt x="9891" y="13276"/>
                </a:cubicBezTo>
                <a:cubicBezTo>
                  <a:pt x="9862" y="13276"/>
                  <a:pt x="9838" y="13326"/>
                  <a:pt x="9838" y="13389"/>
                </a:cubicBezTo>
                <a:cubicBezTo>
                  <a:pt x="9838" y="13451"/>
                  <a:pt x="9862" y="13502"/>
                  <a:pt x="9891" y="13502"/>
                </a:cubicBezTo>
                <a:close/>
                <a:moveTo>
                  <a:pt x="9891" y="13175"/>
                </a:moveTo>
                <a:cubicBezTo>
                  <a:pt x="9921" y="13175"/>
                  <a:pt x="9945" y="13125"/>
                  <a:pt x="9945" y="13062"/>
                </a:cubicBezTo>
                <a:cubicBezTo>
                  <a:pt x="9945" y="13000"/>
                  <a:pt x="9921" y="12949"/>
                  <a:pt x="9891" y="12949"/>
                </a:cubicBezTo>
                <a:cubicBezTo>
                  <a:pt x="9862" y="12949"/>
                  <a:pt x="9838" y="13000"/>
                  <a:pt x="9838" y="13062"/>
                </a:cubicBezTo>
                <a:cubicBezTo>
                  <a:pt x="9838" y="13125"/>
                  <a:pt x="9862" y="13175"/>
                  <a:pt x="9891" y="13175"/>
                </a:cubicBezTo>
                <a:close/>
                <a:moveTo>
                  <a:pt x="9737" y="12949"/>
                </a:moveTo>
                <a:cubicBezTo>
                  <a:pt x="9708" y="12949"/>
                  <a:pt x="9684" y="13000"/>
                  <a:pt x="9684" y="13062"/>
                </a:cubicBezTo>
                <a:cubicBezTo>
                  <a:pt x="9684" y="13125"/>
                  <a:pt x="9708" y="13175"/>
                  <a:pt x="9737" y="13175"/>
                </a:cubicBezTo>
                <a:cubicBezTo>
                  <a:pt x="9767" y="13175"/>
                  <a:pt x="9791" y="13125"/>
                  <a:pt x="9791" y="13062"/>
                </a:cubicBezTo>
                <a:cubicBezTo>
                  <a:pt x="9791" y="13000"/>
                  <a:pt x="9767" y="12949"/>
                  <a:pt x="9737" y="12949"/>
                </a:cubicBezTo>
                <a:close/>
                <a:moveTo>
                  <a:pt x="10047" y="12622"/>
                </a:moveTo>
                <a:cubicBezTo>
                  <a:pt x="10017" y="12622"/>
                  <a:pt x="9993" y="12673"/>
                  <a:pt x="9993" y="12735"/>
                </a:cubicBezTo>
                <a:cubicBezTo>
                  <a:pt x="9993" y="12798"/>
                  <a:pt x="10017" y="12848"/>
                  <a:pt x="10047" y="12848"/>
                </a:cubicBezTo>
                <a:cubicBezTo>
                  <a:pt x="10076" y="12848"/>
                  <a:pt x="10100" y="12798"/>
                  <a:pt x="10100" y="12735"/>
                </a:cubicBezTo>
                <a:cubicBezTo>
                  <a:pt x="10100" y="12673"/>
                  <a:pt x="10076" y="12622"/>
                  <a:pt x="10047" y="12622"/>
                </a:cubicBezTo>
                <a:close/>
                <a:moveTo>
                  <a:pt x="10047" y="12295"/>
                </a:moveTo>
                <a:cubicBezTo>
                  <a:pt x="10017" y="12295"/>
                  <a:pt x="9993" y="12346"/>
                  <a:pt x="9993" y="12408"/>
                </a:cubicBezTo>
                <a:cubicBezTo>
                  <a:pt x="9993" y="12471"/>
                  <a:pt x="10017" y="12521"/>
                  <a:pt x="10047" y="12521"/>
                </a:cubicBezTo>
                <a:cubicBezTo>
                  <a:pt x="10076" y="12521"/>
                  <a:pt x="10100" y="12471"/>
                  <a:pt x="10100" y="12408"/>
                </a:cubicBezTo>
                <a:cubicBezTo>
                  <a:pt x="10100" y="12346"/>
                  <a:pt x="10076" y="12295"/>
                  <a:pt x="10047" y="12295"/>
                </a:cubicBezTo>
                <a:close/>
                <a:moveTo>
                  <a:pt x="9891" y="12848"/>
                </a:moveTo>
                <a:cubicBezTo>
                  <a:pt x="9921" y="12848"/>
                  <a:pt x="9945" y="12798"/>
                  <a:pt x="9945" y="12735"/>
                </a:cubicBezTo>
                <a:cubicBezTo>
                  <a:pt x="9945" y="12673"/>
                  <a:pt x="9921" y="12622"/>
                  <a:pt x="9891" y="12622"/>
                </a:cubicBezTo>
                <a:cubicBezTo>
                  <a:pt x="9862" y="12622"/>
                  <a:pt x="9838" y="12673"/>
                  <a:pt x="9838" y="12735"/>
                </a:cubicBezTo>
                <a:cubicBezTo>
                  <a:pt x="9838" y="12798"/>
                  <a:pt x="9862" y="12848"/>
                  <a:pt x="9891" y="12848"/>
                </a:cubicBezTo>
                <a:close/>
                <a:moveTo>
                  <a:pt x="9891" y="12521"/>
                </a:moveTo>
                <a:cubicBezTo>
                  <a:pt x="9921" y="12521"/>
                  <a:pt x="9945" y="12471"/>
                  <a:pt x="9945" y="12408"/>
                </a:cubicBezTo>
                <a:cubicBezTo>
                  <a:pt x="9945" y="12346"/>
                  <a:pt x="9921" y="12295"/>
                  <a:pt x="9891" y="12295"/>
                </a:cubicBezTo>
                <a:cubicBezTo>
                  <a:pt x="9862" y="12295"/>
                  <a:pt x="9838" y="12346"/>
                  <a:pt x="9838" y="12408"/>
                </a:cubicBezTo>
                <a:cubicBezTo>
                  <a:pt x="9838" y="12471"/>
                  <a:pt x="9862" y="12521"/>
                  <a:pt x="9891" y="12521"/>
                </a:cubicBezTo>
                <a:close/>
                <a:moveTo>
                  <a:pt x="9737" y="12622"/>
                </a:moveTo>
                <a:cubicBezTo>
                  <a:pt x="9708" y="12622"/>
                  <a:pt x="9684" y="12673"/>
                  <a:pt x="9684" y="12735"/>
                </a:cubicBezTo>
                <a:cubicBezTo>
                  <a:pt x="9684" y="12798"/>
                  <a:pt x="9708" y="12848"/>
                  <a:pt x="9737" y="12848"/>
                </a:cubicBezTo>
                <a:cubicBezTo>
                  <a:pt x="9767" y="12848"/>
                  <a:pt x="9791" y="12798"/>
                  <a:pt x="9791" y="12735"/>
                </a:cubicBezTo>
                <a:cubicBezTo>
                  <a:pt x="9791" y="12673"/>
                  <a:pt x="9767" y="12622"/>
                  <a:pt x="9737" y="12622"/>
                </a:cubicBezTo>
                <a:close/>
                <a:moveTo>
                  <a:pt x="10660" y="13276"/>
                </a:moveTo>
                <a:cubicBezTo>
                  <a:pt x="10631" y="13276"/>
                  <a:pt x="10607" y="13326"/>
                  <a:pt x="10607" y="13389"/>
                </a:cubicBezTo>
                <a:cubicBezTo>
                  <a:pt x="10607" y="13451"/>
                  <a:pt x="10631" y="13502"/>
                  <a:pt x="10660" y="13502"/>
                </a:cubicBezTo>
                <a:cubicBezTo>
                  <a:pt x="10690" y="13502"/>
                  <a:pt x="10714" y="13451"/>
                  <a:pt x="10714" y="13389"/>
                </a:cubicBezTo>
                <a:cubicBezTo>
                  <a:pt x="10714" y="13326"/>
                  <a:pt x="10690" y="13276"/>
                  <a:pt x="10660" y="13276"/>
                </a:cubicBezTo>
                <a:close/>
                <a:moveTo>
                  <a:pt x="10660" y="12949"/>
                </a:moveTo>
                <a:cubicBezTo>
                  <a:pt x="10631" y="12949"/>
                  <a:pt x="10607" y="13000"/>
                  <a:pt x="10607" y="13062"/>
                </a:cubicBezTo>
                <a:cubicBezTo>
                  <a:pt x="10607" y="13125"/>
                  <a:pt x="10631" y="13175"/>
                  <a:pt x="10660" y="13175"/>
                </a:cubicBezTo>
                <a:cubicBezTo>
                  <a:pt x="10690" y="13175"/>
                  <a:pt x="10714" y="13125"/>
                  <a:pt x="10714" y="13062"/>
                </a:cubicBezTo>
                <a:cubicBezTo>
                  <a:pt x="10714" y="13000"/>
                  <a:pt x="10690" y="12949"/>
                  <a:pt x="10660" y="12949"/>
                </a:cubicBezTo>
                <a:close/>
                <a:moveTo>
                  <a:pt x="10505" y="13276"/>
                </a:moveTo>
                <a:cubicBezTo>
                  <a:pt x="10475" y="13276"/>
                  <a:pt x="10451" y="13326"/>
                  <a:pt x="10451" y="13389"/>
                </a:cubicBezTo>
                <a:cubicBezTo>
                  <a:pt x="10451" y="13451"/>
                  <a:pt x="10475" y="13502"/>
                  <a:pt x="10505" y="13502"/>
                </a:cubicBezTo>
                <a:cubicBezTo>
                  <a:pt x="10535" y="13502"/>
                  <a:pt x="10559" y="13451"/>
                  <a:pt x="10559" y="13389"/>
                </a:cubicBezTo>
                <a:cubicBezTo>
                  <a:pt x="10559" y="13326"/>
                  <a:pt x="10535" y="13276"/>
                  <a:pt x="10505" y="13276"/>
                </a:cubicBezTo>
                <a:close/>
                <a:moveTo>
                  <a:pt x="10505" y="12949"/>
                </a:moveTo>
                <a:cubicBezTo>
                  <a:pt x="10475" y="12949"/>
                  <a:pt x="10451" y="13000"/>
                  <a:pt x="10451" y="13062"/>
                </a:cubicBezTo>
                <a:cubicBezTo>
                  <a:pt x="10451" y="13125"/>
                  <a:pt x="10475" y="13175"/>
                  <a:pt x="10505" y="13175"/>
                </a:cubicBezTo>
                <a:cubicBezTo>
                  <a:pt x="10535" y="13175"/>
                  <a:pt x="10559" y="13125"/>
                  <a:pt x="10559" y="13062"/>
                </a:cubicBezTo>
                <a:cubicBezTo>
                  <a:pt x="10559" y="13000"/>
                  <a:pt x="10535" y="12949"/>
                  <a:pt x="10505" y="12949"/>
                </a:cubicBezTo>
                <a:close/>
                <a:moveTo>
                  <a:pt x="10351" y="13276"/>
                </a:moveTo>
                <a:cubicBezTo>
                  <a:pt x="10321" y="13276"/>
                  <a:pt x="10297" y="13326"/>
                  <a:pt x="10297" y="13389"/>
                </a:cubicBezTo>
                <a:cubicBezTo>
                  <a:pt x="10297" y="13451"/>
                  <a:pt x="10321" y="13502"/>
                  <a:pt x="10351" y="13502"/>
                </a:cubicBezTo>
                <a:cubicBezTo>
                  <a:pt x="10381" y="13502"/>
                  <a:pt x="10405" y="13451"/>
                  <a:pt x="10405" y="13389"/>
                </a:cubicBezTo>
                <a:cubicBezTo>
                  <a:pt x="10405" y="13326"/>
                  <a:pt x="10381" y="13276"/>
                  <a:pt x="10351" y="13276"/>
                </a:cubicBezTo>
                <a:close/>
                <a:moveTo>
                  <a:pt x="10351" y="12949"/>
                </a:moveTo>
                <a:cubicBezTo>
                  <a:pt x="10321" y="12949"/>
                  <a:pt x="10297" y="13000"/>
                  <a:pt x="10297" y="13062"/>
                </a:cubicBezTo>
                <a:cubicBezTo>
                  <a:pt x="10297" y="13125"/>
                  <a:pt x="10321" y="13175"/>
                  <a:pt x="10351" y="13175"/>
                </a:cubicBezTo>
                <a:cubicBezTo>
                  <a:pt x="10381" y="13175"/>
                  <a:pt x="10405" y="13125"/>
                  <a:pt x="10405" y="13062"/>
                </a:cubicBezTo>
                <a:cubicBezTo>
                  <a:pt x="10405" y="13000"/>
                  <a:pt x="10381" y="12949"/>
                  <a:pt x="10351" y="12949"/>
                </a:cubicBezTo>
                <a:close/>
                <a:moveTo>
                  <a:pt x="10198" y="13276"/>
                </a:moveTo>
                <a:cubicBezTo>
                  <a:pt x="10169" y="13276"/>
                  <a:pt x="10145" y="13326"/>
                  <a:pt x="10145" y="13389"/>
                </a:cubicBezTo>
                <a:cubicBezTo>
                  <a:pt x="10145" y="13451"/>
                  <a:pt x="10169" y="13502"/>
                  <a:pt x="10198" y="13502"/>
                </a:cubicBezTo>
                <a:cubicBezTo>
                  <a:pt x="10228" y="13502"/>
                  <a:pt x="10252" y="13451"/>
                  <a:pt x="10252" y="13389"/>
                </a:cubicBezTo>
                <a:cubicBezTo>
                  <a:pt x="10252" y="13326"/>
                  <a:pt x="10228" y="13276"/>
                  <a:pt x="10198" y="13276"/>
                </a:cubicBezTo>
                <a:close/>
                <a:moveTo>
                  <a:pt x="10198" y="12949"/>
                </a:moveTo>
                <a:cubicBezTo>
                  <a:pt x="10169" y="12949"/>
                  <a:pt x="10145" y="13000"/>
                  <a:pt x="10145" y="13062"/>
                </a:cubicBezTo>
                <a:cubicBezTo>
                  <a:pt x="10145" y="13125"/>
                  <a:pt x="10169" y="13175"/>
                  <a:pt x="10198" y="13175"/>
                </a:cubicBezTo>
                <a:cubicBezTo>
                  <a:pt x="10228" y="13175"/>
                  <a:pt x="10252" y="13125"/>
                  <a:pt x="10252" y="13062"/>
                </a:cubicBezTo>
                <a:cubicBezTo>
                  <a:pt x="10252" y="13000"/>
                  <a:pt x="10228" y="12949"/>
                  <a:pt x="10198" y="12949"/>
                </a:cubicBezTo>
                <a:close/>
                <a:moveTo>
                  <a:pt x="10813" y="12622"/>
                </a:moveTo>
                <a:cubicBezTo>
                  <a:pt x="10783" y="12622"/>
                  <a:pt x="10759" y="12673"/>
                  <a:pt x="10759" y="12735"/>
                </a:cubicBezTo>
                <a:cubicBezTo>
                  <a:pt x="10759" y="12798"/>
                  <a:pt x="10783" y="12848"/>
                  <a:pt x="10813" y="12848"/>
                </a:cubicBezTo>
                <a:cubicBezTo>
                  <a:pt x="10843" y="12848"/>
                  <a:pt x="10867" y="12798"/>
                  <a:pt x="10867" y="12735"/>
                </a:cubicBezTo>
                <a:cubicBezTo>
                  <a:pt x="10867" y="12673"/>
                  <a:pt x="10843" y="12622"/>
                  <a:pt x="10813" y="12622"/>
                </a:cubicBezTo>
                <a:close/>
                <a:moveTo>
                  <a:pt x="10813" y="12295"/>
                </a:moveTo>
                <a:cubicBezTo>
                  <a:pt x="10783" y="12295"/>
                  <a:pt x="10759" y="12346"/>
                  <a:pt x="10759" y="12408"/>
                </a:cubicBezTo>
                <a:cubicBezTo>
                  <a:pt x="10759" y="12471"/>
                  <a:pt x="10783" y="12521"/>
                  <a:pt x="10813" y="12521"/>
                </a:cubicBezTo>
                <a:cubicBezTo>
                  <a:pt x="10843" y="12521"/>
                  <a:pt x="10867" y="12471"/>
                  <a:pt x="10867" y="12408"/>
                </a:cubicBezTo>
                <a:cubicBezTo>
                  <a:pt x="10867" y="12346"/>
                  <a:pt x="10843" y="12295"/>
                  <a:pt x="10813" y="12295"/>
                </a:cubicBezTo>
                <a:close/>
                <a:moveTo>
                  <a:pt x="10660" y="12622"/>
                </a:moveTo>
                <a:cubicBezTo>
                  <a:pt x="10631" y="12622"/>
                  <a:pt x="10607" y="12673"/>
                  <a:pt x="10607" y="12735"/>
                </a:cubicBezTo>
                <a:cubicBezTo>
                  <a:pt x="10607" y="12798"/>
                  <a:pt x="10631" y="12848"/>
                  <a:pt x="10660" y="12848"/>
                </a:cubicBezTo>
                <a:cubicBezTo>
                  <a:pt x="10690" y="12848"/>
                  <a:pt x="10714" y="12798"/>
                  <a:pt x="10714" y="12735"/>
                </a:cubicBezTo>
                <a:cubicBezTo>
                  <a:pt x="10714" y="12673"/>
                  <a:pt x="10690" y="12622"/>
                  <a:pt x="10660" y="12622"/>
                </a:cubicBezTo>
                <a:close/>
                <a:moveTo>
                  <a:pt x="10660" y="12295"/>
                </a:moveTo>
                <a:cubicBezTo>
                  <a:pt x="10631" y="12295"/>
                  <a:pt x="10607" y="12346"/>
                  <a:pt x="10607" y="12408"/>
                </a:cubicBezTo>
                <a:cubicBezTo>
                  <a:pt x="10607" y="12471"/>
                  <a:pt x="10631" y="12521"/>
                  <a:pt x="10660" y="12521"/>
                </a:cubicBezTo>
                <a:cubicBezTo>
                  <a:pt x="10690" y="12521"/>
                  <a:pt x="10714" y="12471"/>
                  <a:pt x="10714" y="12408"/>
                </a:cubicBezTo>
                <a:cubicBezTo>
                  <a:pt x="10714" y="12346"/>
                  <a:pt x="10690" y="12295"/>
                  <a:pt x="10660" y="12295"/>
                </a:cubicBezTo>
                <a:close/>
                <a:moveTo>
                  <a:pt x="10505" y="12622"/>
                </a:moveTo>
                <a:cubicBezTo>
                  <a:pt x="10475" y="12622"/>
                  <a:pt x="10451" y="12673"/>
                  <a:pt x="10451" y="12735"/>
                </a:cubicBezTo>
                <a:cubicBezTo>
                  <a:pt x="10451" y="12798"/>
                  <a:pt x="10475" y="12848"/>
                  <a:pt x="10505" y="12848"/>
                </a:cubicBezTo>
                <a:cubicBezTo>
                  <a:pt x="10535" y="12848"/>
                  <a:pt x="10559" y="12798"/>
                  <a:pt x="10559" y="12735"/>
                </a:cubicBezTo>
                <a:cubicBezTo>
                  <a:pt x="10559" y="12673"/>
                  <a:pt x="10535" y="12622"/>
                  <a:pt x="10505" y="12622"/>
                </a:cubicBezTo>
                <a:close/>
                <a:moveTo>
                  <a:pt x="10505" y="12295"/>
                </a:moveTo>
                <a:cubicBezTo>
                  <a:pt x="10475" y="12295"/>
                  <a:pt x="10451" y="12346"/>
                  <a:pt x="10451" y="12408"/>
                </a:cubicBezTo>
                <a:cubicBezTo>
                  <a:pt x="10451" y="12471"/>
                  <a:pt x="10475" y="12521"/>
                  <a:pt x="10505" y="12521"/>
                </a:cubicBezTo>
                <a:cubicBezTo>
                  <a:pt x="10535" y="12521"/>
                  <a:pt x="10559" y="12471"/>
                  <a:pt x="10559" y="12408"/>
                </a:cubicBezTo>
                <a:cubicBezTo>
                  <a:pt x="10559" y="12346"/>
                  <a:pt x="10535" y="12295"/>
                  <a:pt x="10505" y="12295"/>
                </a:cubicBezTo>
                <a:close/>
                <a:moveTo>
                  <a:pt x="10351" y="12622"/>
                </a:moveTo>
                <a:cubicBezTo>
                  <a:pt x="10321" y="12622"/>
                  <a:pt x="10297" y="12673"/>
                  <a:pt x="10297" y="12735"/>
                </a:cubicBezTo>
                <a:cubicBezTo>
                  <a:pt x="10297" y="12798"/>
                  <a:pt x="10321" y="12848"/>
                  <a:pt x="10351" y="12848"/>
                </a:cubicBezTo>
                <a:cubicBezTo>
                  <a:pt x="10381" y="12848"/>
                  <a:pt x="10405" y="12798"/>
                  <a:pt x="10405" y="12735"/>
                </a:cubicBezTo>
                <a:cubicBezTo>
                  <a:pt x="10405" y="12673"/>
                  <a:pt x="10381" y="12622"/>
                  <a:pt x="10351" y="12622"/>
                </a:cubicBezTo>
                <a:close/>
                <a:moveTo>
                  <a:pt x="10351" y="12295"/>
                </a:moveTo>
                <a:cubicBezTo>
                  <a:pt x="10321" y="12295"/>
                  <a:pt x="10297" y="12346"/>
                  <a:pt x="10297" y="12408"/>
                </a:cubicBezTo>
                <a:cubicBezTo>
                  <a:pt x="10297" y="12471"/>
                  <a:pt x="10321" y="12521"/>
                  <a:pt x="10351" y="12521"/>
                </a:cubicBezTo>
                <a:cubicBezTo>
                  <a:pt x="10381" y="12521"/>
                  <a:pt x="10405" y="12471"/>
                  <a:pt x="10405" y="12408"/>
                </a:cubicBezTo>
                <a:cubicBezTo>
                  <a:pt x="10405" y="12346"/>
                  <a:pt x="10381" y="12295"/>
                  <a:pt x="10351" y="12295"/>
                </a:cubicBezTo>
                <a:close/>
                <a:moveTo>
                  <a:pt x="10198" y="12622"/>
                </a:moveTo>
                <a:cubicBezTo>
                  <a:pt x="10169" y="12622"/>
                  <a:pt x="10145" y="12673"/>
                  <a:pt x="10145" y="12735"/>
                </a:cubicBezTo>
                <a:cubicBezTo>
                  <a:pt x="10145" y="12798"/>
                  <a:pt x="10169" y="12848"/>
                  <a:pt x="10198" y="12848"/>
                </a:cubicBezTo>
                <a:cubicBezTo>
                  <a:pt x="10228" y="12848"/>
                  <a:pt x="10252" y="12798"/>
                  <a:pt x="10252" y="12735"/>
                </a:cubicBezTo>
                <a:cubicBezTo>
                  <a:pt x="10252" y="12673"/>
                  <a:pt x="10228" y="12622"/>
                  <a:pt x="10198" y="12622"/>
                </a:cubicBezTo>
                <a:close/>
                <a:moveTo>
                  <a:pt x="10198" y="12295"/>
                </a:moveTo>
                <a:cubicBezTo>
                  <a:pt x="10169" y="12295"/>
                  <a:pt x="10145" y="12346"/>
                  <a:pt x="10145" y="12408"/>
                </a:cubicBezTo>
                <a:cubicBezTo>
                  <a:pt x="10145" y="12471"/>
                  <a:pt x="10169" y="12521"/>
                  <a:pt x="10198" y="12521"/>
                </a:cubicBezTo>
                <a:cubicBezTo>
                  <a:pt x="10228" y="12521"/>
                  <a:pt x="10252" y="12471"/>
                  <a:pt x="10252" y="12408"/>
                </a:cubicBezTo>
                <a:cubicBezTo>
                  <a:pt x="10252" y="12346"/>
                  <a:pt x="10228" y="12295"/>
                  <a:pt x="10198" y="12295"/>
                </a:cubicBezTo>
                <a:close/>
                <a:moveTo>
                  <a:pt x="10045" y="11971"/>
                </a:moveTo>
                <a:cubicBezTo>
                  <a:pt x="10015" y="11971"/>
                  <a:pt x="9991" y="12021"/>
                  <a:pt x="9991" y="12084"/>
                </a:cubicBezTo>
                <a:cubicBezTo>
                  <a:pt x="9991" y="12146"/>
                  <a:pt x="10015" y="12197"/>
                  <a:pt x="10045" y="12197"/>
                </a:cubicBezTo>
                <a:cubicBezTo>
                  <a:pt x="10074" y="12197"/>
                  <a:pt x="10098" y="12146"/>
                  <a:pt x="10098" y="12084"/>
                </a:cubicBezTo>
                <a:cubicBezTo>
                  <a:pt x="10098" y="12021"/>
                  <a:pt x="10074" y="11971"/>
                  <a:pt x="10045" y="11971"/>
                </a:cubicBezTo>
                <a:close/>
                <a:moveTo>
                  <a:pt x="10045" y="11644"/>
                </a:moveTo>
                <a:cubicBezTo>
                  <a:pt x="10015" y="11644"/>
                  <a:pt x="9991" y="11694"/>
                  <a:pt x="9991" y="11757"/>
                </a:cubicBezTo>
                <a:cubicBezTo>
                  <a:pt x="9991" y="11819"/>
                  <a:pt x="10015" y="11870"/>
                  <a:pt x="10045" y="11870"/>
                </a:cubicBezTo>
                <a:cubicBezTo>
                  <a:pt x="10074" y="11870"/>
                  <a:pt x="10098" y="11819"/>
                  <a:pt x="10098" y="11757"/>
                </a:cubicBezTo>
                <a:cubicBezTo>
                  <a:pt x="10098" y="11694"/>
                  <a:pt x="10074" y="11644"/>
                  <a:pt x="10045" y="11644"/>
                </a:cubicBezTo>
                <a:close/>
                <a:moveTo>
                  <a:pt x="9892" y="12197"/>
                </a:moveTo>
                <a:cubicBezTo>
                  <a:pt x="9922" y="12197"/>
                  <a:pt x="9946" y="12146"/>
                  <a:pt x="9946" y="12084"/>
                </a:cubicBezTo>
                <a:cubicBezTo>
                  <a:pt x="9946" y="12021"/>
                  <a:pt x="9922" y="11971"/>
                  <a:pt x="9892" y="11971"/>
                </a:cubicBezTo>
                <a:cubicBezTo>
                  <a:pt x="9862" y="11971"/>
                  <a:pt x="9838" y="12021"/>
                  <a:pt x="9838" y="12084"/>
                </a:cubicBezTo>
                <a:cubicBezTo>
                  <a:pt x="9838" y="12146"/>
                  <a:pt x="9862" y="12197"/>
                  <a:pt x="9892" y="12197"/>
                </a:cubicBezTo>
                <a:close/>
                <a:moveTo>
                  <a:pt x="9892" y="11870"/>
                </a:moveTo>
                <a:cubicBezTo>
                  <a:pt x="9922" y="11870"/>
                  <a:pt x="9946" y="11819"/>
                  <a:pt x="9946" y="11757"/>
                </a:cubicBezTo>
                <a:cubicBezTo>
                  <a:pt x="9946" y="11694"/>
                  <a:pt x="9922" y="11644"/>
                  <a:pt x="9892" y="11644"/>
                </a:cubicBezTo>
                <a:cubicBezTo>
                  <a:pt x="9862" y="11644"/>
                  <a:pt x="9838" y="11694"/>
                  <a:pt x="9838" y="11757"/>
                </a:cubicBezTo>
                <a:cubicBezTo>
                  <a:pt x="9838" y="11819"/>
                  <a:pt x="9862" y="11870"/>
                  <a:pt x="9892" y="11870"/>
                </a:cubicBezTo>
                <a:close/>
                <a:moveTo>
                  <a:pt x="9737" y="12197"/>
                </a:moveTo>
                <a:cubicBezTo>
                  <a:pt x="9766" y="12197"/>
                  <a:pt x="9791" y="12146"/>
                  <a:pt x="9791" y="12084"/>
                </a:cubicBezTo>
                <a:cubicBezTo>
                  <a:pt x="9791" y="12021"/>
                  <a:pt x="9766" y="11971"/>
                  <a:pt x="9737" y="11971"/>
                </a:cubicBezTo>
                <a:cubicBezTo>
                  <a:pt x="9707" y="11971"/>
                  <a:pt x="9683" y="12021"/>
                  <a:pt x="9683" y="12084"/>
                </a:cubicBezTo>
                <a:cubicBezTo>
                  <a:pt x="9683" y="12146"/>
                  <a:pt x="9707" y="12197"/>
                  <a:pt x="9737" y="12197"/>
                </a:cubicBezTo>
                <a:close/>
                <a:moveTo>
                  <a:pt x="9737" y="11644"/>
                </a:moveTo>
                <a:cubicBezTo>
                  <a:pt x="9707" y="11644"/>
                  <a:pt x="9683" y="11694"/>
                  <a:pt x="9683" y="11757"/>
                </a:cubicBezTo>
                <a:cubicBezTo>
                  <a:pt x="9683" y="11819"/>
                  <a:pt x="9707" y="11870"/>
                  <a:pt x="9737" y="11870"/>
                </a:cubicBezTo>
                <a:cubicBezTo>
                  <a:pt x="9766" y="11870"/>
                  <a:pt x="9791" y="11819"/>
                  <a:pt x="9791" y="11757"/>
                </a:cubicBezTo>
                <a:cubicBezTo>
                  <a:pt x="9791" y="11694"/>
                  <a:pt x="9766" y="11644"/>
                  <a:pt x="9737" y="11644"/>
                </a:cubicBezTo>
                <a:close/>
                <a:moveTo>
                  <a:pt x="9583" y="11644"/>
                </a:moveTo>
                <a:cubicBezTo>
                  <a:pt x="9553" y="11644"/>
                  <a:pt x="9529" y="11694"/>
                  <a:pt x="9529" y="11757"/>
                </a:cubicBezTo>
                <a:cubicBezTo>
                  <a:pt x="9529" y="11819"/>
                  <a:pt x="9553" y="11870"/>
                  <a:pt x="9583" y="11870"/>
                </a:cubicBezTo>
                <a:cubicBezTo>
                  <a:pt x="9612" y="11870"/>
                  <a:pt x="9637" y="11819"/>
                  <a:pt x="9637" y="11757"/>
                </a:cubicBezTo>
                <a:cubicBezTo>
                  <a:pt x="9637" y="11694"/>
                  <a:pt x="9612" y="11644"/>
                  <a:pt x="9583" y="11644"/>
                </a:cubicBezTo>
                <a:close/>
                <a:moveTo>
                  <a:pt x="9430" y="11644"/>
                </a:moveTo>
                <a:cubicBezTo>
                  <a:pt x="9400" y="11644"/>
                  <a:pt x="9376" y="11694"/>
                  <a:pt x="9376" y="11757"/>
                </a:cubicBezTo>
                <a:cubicBezTo>
                  <a:pt x="9376" y="11819"/>
                  <a:pt x="9400" y="11870"/>
                  <a:pt x="9430" y="11870"/>
                </a:cubicBezTo>
                <a:cubicBezTo>
                  <a:pt x="9460" y="11870"/>
                  <a:pt x="9484" y="11819"/>
                  <a:pt x="9484" y="11757"/>
                </a:cubicBezTo>
                <a:cubicBezTo>
                  <a:pt x="9484" y="11694"/>
                  <a:pt x="9460" y="11644"/>
                  <a:pt x="9430" y="11644"/>
                </a:cubicBezTo>
                <a:close/>
                <a:moveTo>
                  <a:pt x="8811" y="11643"/>
                </a:moveTo>
                <a:cubicBezTo>
                  <a:pt x="8782" y="11643"/>
                  <a:pt x="8758" y="11694"/>
                  <a:pt x="8758" y="11756"/>
                </a:cubicBezTo>
                <a:cubicBezTo>
                  <a:pt x="8758" y="11819"/>
                  <a:pt x="8782" y="11869"/>
                  <a:pt x="8811" y="11869"/>
                </a:cubicBezTo>
                <a:cubicBezTo>
                  <a:pt x="8841" y="11869"/>
                  <a:pt x="8865" y="11819"/>
                  <a:pt x="8865" y="11756"/>
                </a:cubicBezTo>
                <a:cubicBezTo>
                  <a:pt x="8865" y="11694"/>
                  <a:pt x="8841" y="11643"/>
                  <a:pt x="8811" y="11643"/>
                </a:cubicBezTo>
                <a:close/>
                <a:moveTo>
                  <a:pt x="8659" y="11643"/>
                </a:moveTo>
                <a:cubicBezTo>
                  <a:pt x="8629" y="11643"/>
                  <a:pt x="8605" y="11694"/>
                  <a:pt x="8605" y="11756"/>
                </a:cubicBezTo>
                <a:cubicBezTo>
                  <a:pt x="8605" y="11819"/>
                  <a:pt x="8629" y="11869"/>
                  <a:pt x="8659" y="11869"/>
                </a:cubicBezTo>
                <a:cubicBezTo>
                  <a:pt x="8688" y="11869"/>
                  <a:pt x="8712" y="11819"/>
                  <a:pt x="8712" y="11756"/>
                </a:cubicBezTo>
                <a:cubicBezTo>
                  <a:pt x="8712" y="11694"/>
                  <a:pt x="8688" y="11643"/>
                  <a:pt x="8659" y="11643"/>
                </a:cubicBezTo>
                <a:close/>
                <a:moveTo>
                  <a:pt x="8503" y="11643"/>
                </a:moveTo>
                <a:cubicBezTo>
                  <a:pt x="8474" y="11643"/>
                  <a:pt x="8450" y="11694"/>
                  <a:pt x="8450" y="11756"/>
                </a:cubicBezTo>
                <a:cubicBezTo>
                  <a:pt x="8450" y="11819"/>
                  <a:pt x="8474" y="11869"/>
                  <a:pt x="8503" y="11869"/>
                </a:cubicBezTo>
                <a:cubicBezTo>
                  <a:pt x="8533" y="11869"/>
                  <a:pt x="8557" y="11819"/>
                  <a:pt x="8557" y="11756"/>
                </a:cubicBezTo>
                <a:cubicBezTo>
                  <a:pt x="8557" y="11694"/>
                  <a:pt x="8533" y="11643"/>
                  <a:pt x="8503" y="11643"/>
                </a:cubicBezTo>
                <a:close/>
                <a:moveTo>
                  <a:pt x="8349" y="11643"/>
                </a:moveTo>
                <a:cubicBezTo>
                  <a:pt x="8320" y="11643"/>
                  <a:pt x="8296" y="11694"/>
                  <a:pt x="8296" y="11756"/>
                </a:cubicBezTo>
                <a:cubicBezTo>
                  <a:pt x="8296" y="11819"/>
                  <a:pt x="8320" y="11869"/>
                  <a:pt x="8349" y="11869"/>
                </a:cubicBezTo>
                <a:cubicBezTo>
                  <a:pt x="8379" y="11869"/>
                  <a:pt x="8403" y="11819"/>
                  <a:pt x="8403" y="11756"/>
                </a:cubicBezTo>
                <a:cubicBezTo>
                  <a:pt x="8403" y="11694"/>
                  <a:pt x="8379" y="11643"/>
                  <a:pt x="8349" y="11643"/>
                </a:cubicBezTo>
                <a:close/>
                <a:moveTo>
                  <a:pt x="8965" y="11643"/>
                </a:moveTo>
                <a:cubicBezTo>
                  <a:pt x="8935" y="11643"/>
                  <a:pt x="8911" y="11694"/>
                  <a:pt x="8911" y="11756"/>
                </a:cubicBezTo>
                <a:cubicBezTo>
                  <a:pt x="8911" y="11819"/>
                  <a:pt x="8935" y="11869"/>
                  <a:pt x="8965" y="11869"/>
                </a:cubicBezTo>
                <a:cubicBezTo>
                  <a:pt x="8995" y="11869"/>
                  <a:pt x="9019" y="11819"/>
                  <a:pt x="9019" y="11756"/>
                </a:cubicBezTo>
                <a:cubicBezTo>
                  <a:pt x="9019" y="11694"/>
                  <a:pt x="8995" y="11643"/>
                  <a:pt x="8965" y="11643"/>
                </a:cubicBezTo>
                <a:close/>
                <a:moveTo>
                  <a:pt x="8811" y="11317"/>
                </a:moveTo>
                <a:cubicBezTo>
                  <a:pt x="8782" y="11317"/>
                  <a:pt x="8758" y="11367"/>
                  <a:pt x="8758" y="11430"/>
                </a:cubicBezTo>
                <a:cubicBezTo>
                  <a:pt x="8758" y="11492"/>
                  <a:pt x="8782" y="11543"/>
                  <a:pt x="8811" y="11543"/>
                </a:cubicBezTo>
                <a:cubicBezTo>
                  <a:pt x="8841" y="11543"/>
                  <a:pt x="8865" y="11492"/>
                  <a:pt x="8865" y="11430"/>
                </a:cubicBezTo>
                <a:cubicBezTo>
                  <a:pt x="8865" y="11367"/>
                  <a:pt x="8841" y="11317"/>
                  <a:pt x="8811" y="11317"/>
                </a:cubicBezTo>
                <a:close/>
                <a:moveTo>
                  <a:pt x="8811" y="10990"/>
                </a:moveTo>
                <a:cubicBezTo>
                  <a:pt x="8782" y="10990"/>
                  <a:pt x="8758" y="11041"/>
                  <a:pt x="8758" y="11103"/>
                </a:cubicBezTo>
                <a:cubicBezTo>
                  <a:pt x="8758" y="11166"/>
                  <a:pt x="8782" y="11216"/>
                  <a:pt x="8811" y="11216"/>
                </a:cubicBezTo>
                <a:cubicBezTo>
                  <a:pt x="8841" y="11216"/>
                  <a:pt x="8865" y="11166"/>
                  <a:pt x="8865" y="11103"/>
                </a:cubicBezTo>
                <a:cubicBezTo>
                  <a:pt x="8865" y="11041"/>
                  <a:pt x="8841" y="10990"/>
                  <a:pt x="8811" y="10990"/>
                </a:cubicBezTo>
                <a:close/>
                <a:moveTo>
                  <a:pt x="8659" y="11317"/>
                </a:moveTo>
                <a:cubicBezTo>
                  <a:pt x="8629" y="11317"/>
                  <a:pt x="8605" y="11367"/>
                  <a:pt x="8605" y="11430"/>
                </a:cubicBezTo>
                <a:cubicBezTo>
                  <a:pt x="8605" y="11492"/>
                  <a:pt x="8629" y="11543"/>
                  <a:pt x="8659" y="11543"/>
                </a:cubicBezTo>
                <a:cubicBezTo>
                  <a:pt x="8688" y="11543"/>
                  <a:pt x="8712" y="11492"/>
                  <a:pt x="8712" y="11430"/>
                </a:cubicBezTo>
                <a:cubicBezTo>
                  <a:pt x="8712" y="11367"/>
                  <a:pt x="8688" y="11317"/>
                  <a:pt x="8659" y="11317"/>
                </a:cubicBezTo>
                <a:close/>
                <a:moveTo>
                  <a:pt x="8659" y="10990"/>
                </a:moveTo>
                <a:cubicBezTo>
                  <a:pt x="8629" y="10990"/>
                  <a:pt x="8605" y="11041"/>
                  <a:pt x="8605" y="11103"/>
                </a:cubicBezTo>
                <a:cubicBezTo>
                  <a:pt x="8605" y="11166"/>
                  <a:pt x="8629" y="11216"/>
                  <a:pt x="8659" y="11216"/>
                </a:cubicBezTo>
                <a:cubicBezTo>
                  <a:pt x="8688" y="11216"/>
                  <a:pt x="8712" y="11166"/>
                  <a:pt x="8712" y="11103"/>
                </a:cubicBezTo>
                <a:cubicBezTo>
                  <a:pt x="8712" y="11041"/>
                  <a:pt x="8688" y="10990"/>
                  <a:pt x="8659" y="10990"/>
                </a:cubicBezTo>
                <a:close/>
                <a:moveTo>
                  <a:pt x="8503" y="11317"/>
                </a:moveTo>
                <a:cubicBezTo>
                  <a:pt x="8474" y="11317"/>
                  <a:pt x="8450" y="11367"/>
                  <a:pt x="8450" y="11430"/>
                </a:cubicBezTo>
                <a:cubicBezTo>
                  <a:pt x="8450" y="11492"/>
                  <a:pt x="8474" y="11543"/>
                  <a:pt x="8503" y="11543"/>
                </a:cubicBezTo>
                <a:cubicBezTo>
                  <a:pt x="8533" y="11543"/>
                  <a:pt x="8557" y="11492"/>
                  <a:pt x="8557" y="11430"/>
                </a:cubicBezTo>
                <a:cubicBezTo>
                  <a:pt x="8557" y="11367"/>
                  <a:pt x="8533" y="11317"/>
                  <a:pt x="8503" y="11317"/>
                </a:cubicBezTo>
                <a:close/>
                <a:moveTo>
                  <a:pt x="8503" y="10990"/>
                </a:moveTo>
                <a:cubicBezTo>
                  <a:pt x="8474" y="10990"/>
                  <a:pt x="8450" y="11041"/>
                  <a:pt x="8450" y="11103"/>
                </a:cubicBezTo>
                <a:cubicBezTo>
                  <a:pt x="8450" y="11166"/>
                  <a:pt x="8474" y="11216"/>
                  <a:pt x="8503" y="11216"/>
                </a:cubicBezTo>
                <a:cubicBezTo>
                  <a:pt x="8533" y="11216"/>
                  <a:pt x="8557" y="11166"/>
                  <a:pt x="8557" y="11103"/>
                </a:cubicBezTo>
                <a:cubicBezTo>
                  <a:pt x="8557" y="11041"/>
                  <a:pt x="8533" y="10990"/>
                  <a:pt x="8503" y="10990"/>
                </a:cubicBezTo>
                <a:close/>
                <a:moveTo>
                  <a:pt x="8349" y="11317"/>
                </a:moveTo>
                <a:cubicBezTo>
                  <a:pt x="8320" y="11317"/>
                  <a:pt x="8296" y="11367"/>
                  <a:pt x="8296" y="11430"/>
                </a:cubicBezTo>
                <a:cubicBezTo>
                  <a:pt x="8296" y="11492"/>
                  <a:pt x="8320" y="11543"/>
                  <a:pt x="8349" y="11543"/>
                </a:cubicBezTo>
                <a:cubicBezTo>
                  <a:pt x="8379" y="11543"/>
                  <a:pt x="8403" y="11492"/>
                  <a:pt x="8403" y="11430"/>
                </a:cubicBezTo>
                <a:cubicBezTo>
                  <a:pt x="8403" y="11367"/>
                  <a:pt x="8379" y="11317"/>
                  <a:pt x="8349" y="11317"/>
                </a:cubicBezTo>
                <a:close/>
                <a:moveTo>
                  <a:pt x="8349" y="10990"/>
                </a:moveTo>
                <a:cubicBezTo>
                  <a:pt x="8320" y="10990"/>
                  <a:pt x="8296" y="11041"/>
                  <a:pt x="8296" y="11103"/>
                </a:cubicBezTo>
                <a:cubicBezTo>
                  <a:pt x="8296" y="11166"/>
                  <a:pt x="8320" y="11216"/>
                  <a:pt x="8349" y="11216"/>
                </a:cubicBezTo>
                <a:cubicBezTo>
                  <a:pt x="8379" y="11216"/>
                  <a:pt x="8403" y="11166"/>
                  <a:pt x="8403" y="11103"/>
                </a:cubicBezTo>
                <a:cubicBezTo>
                  <a:pt x="8403" y="11041"/>
                  <a:pt x="8379" y="10990"/>
                  <a:pt x="8349" y="10990"/>
                </a:cubicBezTo>
                <a:close/>
                <a:moveTo>
                  <a:pt x="8197" y="11317"/>
                </a:moveTo>
                <a:cubicBezTo>
                  <a:pt x="8167" y="11317"/>
                  <a:pt x="8143" y="11367"/>
                  <a:pt x="8143" y="11430"/>
                </a:cubicBezTo>
                <a:cubicBezTo>
                  <a:pt x="8143" y="11492"/>
                  <a:pt x="8167" y="11543"/>
                  <a:pt x="8197" y="11543"/>
                </a:cubicBezTo>
                <a:cubicBezTo>
                  <a:pt x="8226" y="11543"/>
                  <a:pt x="8250" y="11492"/>
                  <a:pt x="8250" y="11430"/>
                </a:cubicBezTo>
                <a:cubicBezTo>
                  <a:pt x="8250" y="11367"/>
                  <a:pt x="8226" y="11317"/>
                  <a:pt x="8197" y="11317"/>
                </a:cubicBezTo>
                <a:close/>
                <a:moveTo>
                  <a:pt x="8197" y="10990"/>
                </a:moveTo>
                <a:cubicBezTo>
                  <a:pt x="8167" y="10990"/>
                  <a:pt x="8143" y="11041"/>
                  <a:pt x="8143" y="11103"/>
                </a:cubicBezTo>
                <a:cubicBezTo>
                  <a:pt x="8143" y="11166"/>
                  <a:pt x="8167" y="11216"/>
                  <a:pt x="8197" y="11216"/>
                </a:cubicBezTo>
                <a:cubicBezTo>
                  <a:pt x="8226" y="11216"/>
                  <a:pt x="8250" y="11166"/>
                  <a:pt x="8250" y="11103"/>
                </a:cubicBezTo>
                <a:cubicBezTo>
                  <a:pt x="8250" y="11041"/>
                  <a:pt x="8226" y="10990"/>
                  <a:pt x="8197" y="10990"/>
                </a:cubicBezTo>
                <a:close/>
                <a:moveTo>
                  <a:pt x="8811" y="10680"/>
                </a:moveTo>
                <a:cubicBezTo>
                  <a:pt x="8782" y="10680"/>
                  <a:pt x="8758" y="10731"/>
                  <a:pt x="8758" y="10793"/>
                </a:cubicBezTo>
                <a:cubicBezTo>
                  <a:pt x="8758" y="10856"/>
                  <a:pt x="8782" y="10906"/>
                  <a:pt x="8811" y="10906"/>
                </a:cubicBezTo>
                <a:cubicBezTo>
                  <a:pt x="8841" y="10906"/>
                  <a:pt x="8865" y="10856"/>
                  <a:pt x="8865" y="10793"/>
                </a:cubicBezTo>
                <a:cubicBezTo>
                  <a:pt x="8865" y="10731"/>
                  <a:pt x="8841" y="10680"/>
                  <a:pt x="8811" y="10680"/>
                </a:cubicBezTo>
                <a:close/>
                <a:moveTo>
                  <a:pt x="8811" y="10353"/>
                </a:moveTo>
                <a:cubicBezTo>
                  <a:pt x="8782" y="10353"/>
                  <a:pt x="8758" y="10404"/>
                  <a:pt x="8758" y="10466"/>
                </a:cubicBezTo>
                <a:cubicBezTo>
                  <a:pt x="8758" y="10529"/>
                  <a:pt x="8782" y="10580"/>
                  <a:pt x="8811" y="10580"/>
                </a:cubicBezTo>
                <a:cubicBezTo>
                  <a:pt x="8841" y="10580"/>
                  <a:pt x="8865" y="10529"/>
                  <a:pt x="8865" y="10466"/>
                </a:cubicBezTo>
                <a:cubicBezTo>
                  <a:pt x="8865" y="10404"/>
                  <a:pt x="8841" y="10353"/>
                  <a:pt x="8811" y="10353"/>
                </a:cubicBezTo>
                <a:close/>
                <a:moveTo>
                  <a:pt x="8659" y="10680"/>
                </a:moveTo>
                <a:cubicBezTo>
                  <a:pt x="8629" y="10680"/>
                  <a:pt x="8605" y="10731"/>
                  <a:pt x="8605" y="10793"/>
                </a:cubicBezTo>
                <a:cubicBezTo>
                  <a:pt x="8605" y="10856"/>
                  <a:pt x="8629" y="10906"/>
                  <a:pt x="8659" y="10906"/>
                </a:cubicBezTo>
                <a:cubicBezTo>
                  <a:pt x="8688" y="10906"/>
                  <a:pt x="8712" y="10856"/>
                  <a:pt x="8712" y="10793"/>
                </a:cubicBezTo>
                <a:cubicBezTo>
                  <a:pt x="8712" y="10731"/>
                  <a:pt x="8688" y="10680"/>
                  <a:pt x="8659" y="10680"/>
                </a:cubicBezTo>
                <a:close/>
                <a:moveTo>
                  <a:pt x="8659" y="10353"/>
                </a:moveTo>
                <a:cubicBezTo>
                  <a:pt x="8629" y="10353"/>
                  <a:pt x="8605" y="10404"/>
                  <a:pt x="8605" y="10466"/>
                </a:cubicBezTo>
                <a:cubicBezTo>
                  <a:pt x="8605" y="10529"/>
                  <a:pt x="8629" y="10580"/>
                  <a:pt x="8659" y="10580"/>
                </a:cubicBezTo>
                <a:cubicBezTo>
                  <a:pt x="8688" y="10580"/>
                  <a:pt x="8712" y="10529"/>
                  <a:pt x="8712" y="10466"/>
                </a:cubicBezTo>
                <a:cubicBezTo>
                  <a:pt x="8712" y="10404"/>
                  <a:pt x="8688" y="10353"/>
                  <a:pt x="8659" y="10353"/>
                </a:cubicBezTo>
                <a:close/>
                <a:moveTo>
                  <a:pt x="8503" y="10680"/>
                </a:moveTo>
                <a:cubicBezTo>
                  <a:pt x="8474" y="10680"/>
                  <a:pt x="8450" y="10731"/>
                  <a:pt x="8450" y="10793"/>
                </a:cubicBezTo>
                <a:cubicBezTo>
                  <a:pt x="8450" y="10856"/>
                  <a:pt x="8474" y="10906"/>
                  <a:pt x="8503" y="10906"/>
                </a:cubicBezTo>
                <a:cubicBezTo>
                  <a:pt x="8533" y="10906"/>
                  <a:pt x="8557" y="10856"/>
                  <a:pt x="8557" y="10793"/>
                </a:cubicBezTo>
                <a:cubicBezTo>
                  <a:pt x="8557" y="10731"/>
                  <a:pt x="8533" y="10680"/>
                  <a:pt x="8503" y="10680"/>
                </a:cubicBezTo>
                <a:close/>
                <a:moveTo>
                  <a:pt x="8503" y="10353"/>
                </a:moveTo>
                <a:cubicBezTo>
                  <a:pt x="8474" y="10353"/>
                  <a:pt x="8450" y="10404"/>
                  <a:pt x="8450" y="10466"/>
                </a:cubicBezTo>
                <a:cubicBezTo>
                  <a:pt x="8450" y="10529"/>
                  <a:pt x="8474" y="10580"/>
                  <a:pt x="8503" y="10580"/>
                </a:cubicBezTo>
                <a:cubicBezTo>
                  <a:pt x="8533" y="10580"/>
                  <a:pt x="8557" y="10529"/>
                  <a:pt x="8557" y="10466"/>
                </a:cubicBezTo>
                <a:cubicBezTo>
                  <a:pt x="8557" y="10404"/>
                  <a:pt x="8533" y="10353"/>
                  <a:pt x="8503" y="10353"/>
                </a:cubicBezTo>
                <a:close/>
                <a:moveTo>
                  <a:pt x="8349" y="10680"/>
                </a:moveTo>
                <a:cubicBezTo>
                  <a:pt x="8320" y="10680"/>
                  <a:pt x="8296" y="10731"/>
                  <a:pt x="8296" y="10793"/>
                </a:cubicBezTo>
                <a:cubicBezTo>
                  <a:pt x="8296" y="10856"/>
                  <a:pt x="8320" y="10906"/>
                  <a:pt x="8349" y="10906"/>
                </a:cubicBezTo>
                <a:cubicBezTo>
                  <a:pt x="8379" y="10906"/>
                  <a:pt x="8403" y="10856"/>
                  <a:pt x="8403" y="10793"/>
                </a:cubicBezTo>
                <a:cubicBezTo>
                  <a:pt x="8403" y="10731"/>
                  <a:pt x="8379" y="10680"/>
                  <a:pt x="8349" y="10680"/>
                </a:cubicBezTo>
                <a:close/>
                <a:moveTo>
                  <a:pt x="8349" y="10353"/>
                </a:moveTo>
                <a:cubicBezTo>
                  <a:pt x="8320" y="10353"/>
                  <a:pt x="8296" y="10404"/>
                  <a:pt x="8296" y="10466"/>
                </a:cubicBezTo>
                <a:cubicBezTo>
                  <a:pt x="8296" y="10529"/>
                  <a:pt x="8320" y="10580"/>
                  <a:pt x="8349" y="10580"/>
                </a:cubicBezTo>
                <a:cubicBezTo>
                  <a:pt x="8379" y="10580"/>
                  <a:pt x="8403" y="10529"/>
                  <a:pt x="8403" y="10466"/>
                </a:cubicBezTo>
                <a:cubicBezTo>
                  <a:pt x="8403" y="10404"/>
                  <a:pt x="8379" y="10353"/>
                  <a:pt x="8349" y="10353"/>
                </a:cubicBezTo>
                <a:close/>
                <a:moveTo>
                  <a:pt x="8052" y="10680"/>
                </a:moveTo>
                <a:cubicBezTo>
                  <a:pt x="8022" y="10680"/>
                  <a:pt x="7998" y="10731"/>
                  <a:pt x="7998" y="10793"/>
                </a:cubicBezTo>
                <a:cubicBezTo>
                  <a:pt x="7998" y="10856"/>
                  <a:pt x="8022" y="10906"/>
                  <a:pt x="8052" y="10906"/>
                </a:cubicBezTo>
                <a:cubicBezTo>
                  <a:pt x="8082" y="10906"/>
                  <a:pt x="8106" y="10856"/>
                  <a:pt x="8106" y="10793"/>
                </a:cubicBezTo>
                <a:cubicBezTo>
                  <a:pt x="8106" y="10731"/>
                  <a:pt x="8082" y="10680"/>
                  <a:pt x="8052" y="10680"/>
                </a:cubicBezTo>
                <a:close/>
                <a:moveTo>
                  <a:pt x="8052" y="10353"/>
                </a:moveTo>
                <a:cubicBezTo>
                  <a:pt x="8022" y="10353"/>
                  <a:pt x="7998" y="10404"/>
                  <a:pt x="7998" y="10466"/>
                </a:cubicBezTo>
                <a:cubicBezTo>
                  <a:pt x="7998" y="10529"/>
                  <a:pt x="8022" y="10580"/>
                  <a:pt x="8052" y="10580"/>
                </a:cubicBezTo>
                <a:cubicBezTo>
                  <a:pt x="8082" y="10580"/>
                  <a:pt x="8106" y="10529"/>
                  <a:pt x="8106" y="10466"/>
                </a:cubicBezTo>
                <a:cubicBezTo>
                  <a:pt x="8106" y="10404"/>
                  <a:pt x="8082" y="10353"/>
                  <a:pt x="8052" y="10353"/>
                </a:cubicBezTo>
                <a:close/>
                <a:moveTo>
                  <a:pt x="7876" y="10026"/>
                </a:moveTo>
                <a:cubicBezTo>
                  <a:pt x="7846" y="10026"/>
                  <a:pt x="7822" y="10077"/>
                  <a:pt x="7822" y="10140"/>
                </a:cubicBezTo>
                <a:cubicBezTo>
                  <a:pt x="7822" y="10202"/>
                  <a:pt x="7846" y="10253"/>
                  <a:pt x="7876" y="10253"/>
                </a:cubicBezTo>
                <a:cubicBezTo>
                  <a:pt x="7906" y="10253"/>
                  <a:pt x="7930" y="10202"/>
                  <a:pt x="7930" y="10140"/>
                </a:cubicBezTo>
                <a:cubicBezTo>
                  <a:pt x="7930" y="10077"/>
                  <a:pt x="7906" y="10026"/>
                  <a:pt x="7876" y="10026"/>
                </a:cubicBezTo>
                <a:close/>
                <a:moveTo>
                  <a:pt x="8052" y="10026"/>
                </a:moveTo>
                <a:cubicBezTo>
                  <a:pt x="8022" y="10026"/>
                  <a:pt x="7998" y="10077"/>
                  <a:pt x="7998" y="10140"/>
                </a:cubicBezTo>
                <a:cubicBezTo>
                  <a:pt x="7998" y="10202"/>
                  <a:pt x="8022" y="10253"/>
                  <a:pt x="8052" y="10253"/>
                </a:cubicBezTo>
                <a:cubicBezTo>
                  <a:pt x="8082" y="10253"/>
                  <a:pt x="8106" y="10202"/>
                  <a:pt x="8106" y="10140"/>
                </a:cubicBezTo>
                <a:cubicBezTo>
                  <a:pt x="8106" y="10077"/>
                  <a:pt x="8082" y="10026"/>
                  <a:pt x="8052" y="10026"/>
                </a:cubicBezTo>
                <a:close/>
                <a:moveTo>
                  <a:pt x="8052" y="9700"/>
                </a:moveTo>
                <a:cubicBezTo>
                  <a:pt x="8022" y="9700"/>
                  <a:pt x="7998" y="9750"/>
                  <a:pt x="7998" y="9813"/>
                </a:cubicBezTo>
                <a:cubicBezTo>
                  <a:pt x="7998" y="9875"/>
                  <a:pt x="8022" y="9926"/>
                  <a:pt x="8052" y="9926"/>
                </a:cubicBezTo>
                <a:cubicBezTo>
                  <a:pt x="8082" y="9926"/>
                  <a:pt x="8106" y="9875"/>
                  <a:pt x="8106" y="9813"/>
                </a:cubicBezTo>
                <a:cubicBezTo>
                  <a:pt x="8106" y="9750"/>
                  <a:pt x="8082" y="9700"/>
                  <a:pt x="8052" y="9700"/>
                </a:cubicBezTo>
                <a:close/>
                <a:moveTo>
                  <a:pt x="8197" y="10680"/>
                </a:moveTo>
                <a:cubicBezTo>
                  <a:pt x="8167" y="10680"/>
                  <a:pt x="8143" y="10731"/>
                  <a:pt x="8143" y="10793"/>
                </a:cubicBezTo>
                <a:cubicBezTo>
                  <a:pt x="8143" y="10856"/>
                  <a:pt x="8167" y="10906"/>
                  <a:pt x="8197" y="10906"/>
                </a:cubicBezTo>
                <a:cubicBezTo>
                  <a:pt x="8226" y="10906"/>
                  <a:pt x="8250" y="10856"/>
                  <a:pt x="8250" y="10793"/>
                </a:cubicBezTo>
                <a:cubicBezTo>
                  <a:pt x="8250" y="10731"/>
                  <a:pt x="8226" y="10680"/>
                  <a:pt x="8197" y="10680"/>
                </a:cubicBezTo>
                <a:close/>
                <a:moveTo>
                  <a:pt x="8197" y="10353"/>
                </a:moveTo>
                <a:cubicBezTo>
                  <a:pt x="8167" y="10353"/>
                  <a:pt x="8143" y="10404"/>
                  <a:pt x="8143" y="10466"/>
                </a:cubicBezTo>
                <a:cubicBezTo>
                  <a:pt x="8143" y="10529"/>
                  <a:pt x="8167" y="10580"/>
                  <a:pt x="8197" y="10580"/>
                </a:cubicBezTo>
                <a:cubicBezTo>
                  <a:pt x="8226" y="10580"/>
                  <a:pt x="8250" y="10529"/>
                  <a:pt x="8250" y="10466"/>
                </a:cubicBezTo>
                <a:cubicBezTo>
                  <a:pt x="8250" y="10404"/>
                  <a:pt x="8226" y="10353"/>
                  <a:pt x="8197" y="10353"/>
                </a:cubicBezTo>
                <a:close/>
                <a:moveTo>
                  <a:pt x="8811" y="10026"/>
                </a:moveTo>
                <a:cubicBezTo>
                  <a:pt x="8782" y="10026"/>
                  <a:pt x="8758" y="10077"/>
                  <a:pt x="8758" y="10140"/>
                </a:cubicBezTo>
                <a:cubicBezTo>
                  <a:pt x="8758" y="10202"/>
                  <a:pt x="8782" y="10253"/>
                  <a:pt x="8811" y="10253"/>
                </a:cubicBezTo>
                <a:cubicBezTo>
                  <a:pt x="8841" y="10253"/>
                  <a:pt x="8865" y="10202"/>
                  <a:pt x="8865" y="10140"/>
                </a:cubicBezTo>
                <a:cubicBezTo>
                  <a:pt x="8865" y="10077"/>
                  <a:pt x="8841" y="10026"/>
                  <a:pt x="8811" y="10026"/>
                </a:cubicBezTo>
                <a:close/>
                <a:moveTo>
                  <a:pt x="8811" y="9700"/>
                </a:moveTo>
                <a:cubicBezTo>
                  <a:pt x="8782" y="9700"/>
                  <a:pt x="8758" y="9750"/>
                  <a:pt x="8758" y="9813"/>
                </a:cubicBezTo>
                <a:cubicBezTo>
                  <a:pt x="8758" y="9875"/>
                  <a:pt x="8782" y="9926"/>
                  <a:pt x="8811" y="9926"/>
                </a:cubicBezTo>
                <a:cubicBezTo>
                  <a:pt x="8841" y="9926"/>
                  <a:pt x="8865" y="9875"/>
                  <a:pt x="8865" y="9813"/>
                </a:cubicBezTo>
                <a:cubicBezTo>
                  <a:pt x="8865" y="9750"/>
                  <a:pt x="8841" y="9700"/>
                  <a:pt x="8811" y="9700"/>
                </a:cubicBezTo>
                <a:close/>
                <a:moveTo>
                  <a:pt x="8659" y="10026"/>
                </a:moveTo>
                <a:cubicBezTo>
                  <a:pt x="8629" y="10026"/>
                  <a:pt x="8605" y="10077"/>
                  <a:pt x="8605" y="10140"/>
                </a:cubicBezTo>
                <a:cubicBezTo>
                  <a:pt x="8605" y="10202"/>
                  <a:pt x="8629" y="10253"/>
                  <a:pt x="8659" y="10253"/>
                </a:cubicBezTo>
                <a:cubicBezTo>
                  <a:pt x="8688" y="10253"/>
                  <a:pt x="8712" y="10202"/>
                  <a:pt x="8712" y="10140"/>
                </a:cubicBezTo>
                <a:cubicBezTo>
                  <a:pt x="8712" y="10077"/>
                  <a:pt x="8688" y="10026"/>
                  <a:pt x="8659" y="10026"/>
                </a:cubicBezTo>
                <a:close/>
                <a:moveTo>
                  <a:pt x="8659" y="9700"/>
                </a:moveTo>
                <a:cubicBezTo>
                  <a:pt x="8629" y="9700"/>
                  <a:pt x="8605" y="9750"/>
                  <a:pt x="8605" y="9813"/>
                </a:cubicBezTo>
                <a:cubicBezTo>
                  <a:pt x="8605" y="9875"/>
                  <a:pt x="8629" y="9926"/>
                  <a:pt x="8659" y="9926"/>
                </a:cubicBezTo>
                <a:cubicBezTo>
                  <a:pt x="8688" y="9926"/>
                  <a:pt x="8712" y="9875"/>
                  <a:pt x="8712" y="9813"/>
                </a:cubicBezTo>
                <a:cubicBezTo>
                  <a:pt x="8712" y="9750"/>
                  <a:pt x="8688" y="9700"/>
                  <a:pt x="8659" y="9700"/>
                </a:cubicBezTo>
                <a:close/>
                <a:moveTo>
                  <a:pt x="8503" y="10026"/>
                </a:moveTo>
                <a:cubicBezTo>
                  <a:pt x="8474" y="10026"/>
                  <a:pt x="8450" y="10077"/>
                  <a:pt x="8450" y="10140"/>
                </a:cubicBezTo>
                <a:cubicBezTo>
                  <a:pt x="8450" y="10202"/>
                  <a:pt x="8474" y="10253"/>
                  <a:pt x="8503" y="10253"/>
                </a:cubicBezTo>
                <a:cubicBezTo>
                  <a:pt x="8533" y="10253"/>
                  <a:pt x="8557" y="10202"/>
                  <a:pt x="8557" y="10140"/>
                </a:cubicBezTo>
                <a:cubicBezTo>
                  <a:pt x="8557" y="10077"/>
                  <a:pt x="8533" y="10026"/>
                  <a:pt x="8503" y="10026"/>
                </a:cubicBezTo>
                <a:close/>
                <a:moveTo>
                  <a:pt x="8503" y="9700"/>
                </a:moveTo>
                <a:cubicBezTo>
                  <a:pt x="8474" y="9700"/>
                  <a:pt x="8450" y="9750"/>
                  <a:pt x="8450" y="9813"/>
                </a:cubicBezTo>
                <a:cubicBezTo>
                  <a:pt x="8450" y="9875"/>
                  <a:pt x="8474" y="9926"/>
                  <a:pt x="8503" y="9926"/>
                </a:cubicBezTo>
                <a:cubicBezTo>
                  <a:pt x="8533" y="9926"/>
                  <a:pt x="8557" y="9875"/>
                  <a:pt x="8557" y="9813"/>
                </a:cubicBezTo>
                <a:cubicBezTo>
                  <a:pt x="8557" y="9750"/>
                  <a:pt x="8533" y="9700"/>
                  <a:pt x="8503" y="9700"/>
                </a:cubicBezTo>
                <a:close/>
                <a:moveTo>
                  <a:pt x="8349" y="10026"/>
                </a:moveTo>
                <a:cubicBezTo>
                  <a:pt x="8320" y="10026"/>
                  <a:pt x="8296" y="10077"/>
                  <a:pt x="8296" y="10140"/>
                </a:cubicBezTo>
                <a:cubicBezTo>
                  <a:pt x="8296" y="10202"/>
                  <a:pt x="8320" y="10253"/>
                  <a:pt x="8349" y="10253"/>
                </a:cubicBezTo>
                <a:cubicBezTo>
                  <a:pt x="8379" y="10253"/>
                  <a:pt x="8403" y="10202"/>
                  <a:pt x="8403" y="10140"/>
                </a:cubicBezTo>
                <a:cubicBezTo>
                  <a:pt x="8403" y="10077"/>
                  <a:pt x="8379" y="10026"/>
                  <a:pt x="8349" y="10026"/>
                </a:cubicBezTo>
                <a:close/>
                <a:moveTo>
                  <a:pt x="8349" y="9700"/>
                </a:moveTo>
                <a:cubicBezTo>
                  <a:pt x="8320" y="9700"/>
                  <a:pt x="8296" y="9750"/>
                  <a:pt x="8296" y="9813"/>
                </a:cubicBezTo>
                <a:cubicBezTo>
                  <a:pt x="8296" y="9875"/>
                  <a:pt x="8320" y="9926"/>
                  <a:pt x="8349" y="9926"/>
                </a:cubicBezTo>
                <a:cubicBezTo>
                  <a:pt x="8379" y="9926"/>
                  <a:pt x="8403" y="9875"/>
                  <a:pt x="8403" y="9813"/>
                </a:cubicBezTo>
                <a:cubicBezTo>
                  <a:pt x="8403" y="9750"/>
                  <a:pt x="8379" y="9700"/>
                  <a:pt x="8349" y="9700"/>
                </a:cubicBezTo>
                <a:close/>
                <a:moveTo>
                  <a:pt x="8197" y="10026"/>
                </a:moveTo>
                <a:cubicBezTo>
                  <a:pt x="8167" y="10026"/>
                  <a:pt x="8143" y="10077"/>
                  <a:pt x="8143" y="10140"/>
                </a:cubicBezTo>
                <a:cubicBezTo>
                  <a:pt x="8143" y="10202"/>
                  <a:pt x="8167" y="10253"/>
                  <a:pt x="8197" y="10253"/>
                </a:cubicBezTo>
                <a:cubicBezTo>
                  <a:pt x="8226" y="10253"/>
                  <a:pt x="8250" y="10202"/>
                  <a:pt x="8250" y="10140"/>
                </a:cubicBezTo>
                <a:cubicBezTo>
                  <a:pt x="8250" y="10077"/>
                  <a:pt x="8226" y="10026"/>
                  <a:pt x="8197" y="10026"/>
                </a:cubicBezTo>
                <a:close/>
                <a:moveTo>
                  <a:pt x="8197" y="9700"/>
                </a:moveTo>
                <a:cubicBezTo>
                  <a:pt x="8167" y="9700"/>
                  <a:pt x="8143" y="9750"/>
                  <a:pt x="8143" y="9813"/>
                </a:cubicBezTo>
                <a:cubicBezTo>
                  <a:pt x="8143" y="9875"/>
                  <a:pt x="8167" y="9926"/>
                  <a:pt x="8197" y="9926"/>
                </a:cubicBezTo>
                <a:cubicBezTo>
                  <a:pt x="8226" y="9926"/>
                  <a:pt x="8250" y="9875"/>
                  <a:pt x="8250" y="9813"/>
                </a:cubicBezTo>
                <a:cubicBezTo>
                  <a:pt x="8250" y="9750"/>
                  <a:pt x="8226" y="9700"/>
                  <a:pt x="8197" y="9700"/>
                </a:cubicBezTo>
                <a:close/>
                <a:moveTo>
                  <a:pt x="9272" y="11317"/>
                </a:moveTo>
                <a:cubicBezTo>
                  <a:pt x="9242" y="11317"/>
                  <a:pt x="9218" y="11367"/>
                  <a:pt x="9218" y="11430"/>
                </a:cubicBezTo>
                <a:cubicBezTo>
                  <a:pt x="9218" y="11492"/>
                  <a:pt x="9242" y="11543"/>
                  <a:pt x="9272" y="11543"/>
                </a:cubicBezTo>
                <a:cubicBezTo>
                  <a:pt x="9301" y="11543"/>
                  <a:pt x="9325" y="11492"/>
                  <a:pt x="9325" y="11430"/>
                </a:cubicBezTo>
                <a:cubicBezTo>
                  <a:pt x="9325" y="11367"/>
                  <a:pt x="9301" y="11317"/>
                  <a:pt x="9272" y="11317"/>
                </a:cubicBezTo>
                <a:close/>
                <a:moveTo>
                  <a:pt x="9272" y="10990"/>
                </a:moveTo>
                <a:cubicBezTo>
                  <a:pt x="9242" y="10990"/>
                  <a:pt x="9218" y="11041"/>
                  <a:pt x="9218" y="11103"/>
                </a:cubicBezTo>
                <a:cubicBezTo>
                  <a:pt x="9218" y="11166"/>
                  <a:pt x="9242" y="11216"/>
                  <a:pt x="9272" y="11216"/>
                </a:cubicBezTo>
                <a:cubicBezTo>
                  <a:pt x="9301" y="11216"/>
                  <a:pt x="9325" y="11166"/>
                  <a:pt x="9325" y="11103"/>
                </a:cubicBezTo>
                <a:cubicBezTo>
                  <a:pt x="9325" y="11041"/>
                  <a:pt x="9301" y="10990"/>
                  <a:pt x="9272" y="10990"/>
                </a:cubicBezTo>
                <a:close/>
                <a:moveTo>
                  <a:pt x="9118" y="11317"/>
                </a:moveTo>
                <a:cubicBezTo>
                  <a:pt x="9088" y="11317"/>
                  <a:pt x="9064" y="11367"/>
                  <a:pt x="9064" y="11430"/>
                </a:cubicBezTo>
                <a:cubicBezTo>
                  <a:pt x="9064" y="11492"/>
                  <a:pt x="9088" y="11543"/>
                  <a:pt x="9118" y="11543"/>
                </a:cubicBezTo>
                <a:cubicBezTo>
                  <a:pt x="9147" y="11543"/>
                  <a:pt x="9171" y="11492"/>
                  <a:pt x="9171" y="11430"/>
                </a:cubicBezTo>
                <a:cubicBezTo>
                  <a:pt x="9171" y="11367"/>
                  <a:pt x="9147" y="11317"/>
                  <a:pt x="9118" y="11317"/>
                </a:cubicBezTo>
                <a:close/>
                <a:moveTo>
                  <a:pt x="9118" y="10990"/>
                </a:moveTo>
                <a:cubicBezTo>
                  <a:pt x="9088" y="10990"/>
                  <a:pt x="9064" y="11041"/>
                  <a:pt x="9064" y="11103"/>
                </a:cubicBezTo>
                <a:cubicBezTo>
                  <a:pt x="9064" y="11166"/>
                  <a:pt x="9088" y="11216"/>
                  <a:pt x="9118" y="11216"/>
                </a:cubicBezTo>
                <a:cubicBezTo>
                  <a:pt x="9147" y="11216"/>
                  <a:pt x="9171" y="11166"/>
                  <a:pt x="9171" y="11103"/>
                </a:cubicBezTo>
                <a:cubicBezTo>
                  <a:pt x="9171" y="11041"/>
                  <a:pt x="9147" y="10990"/>
                  <a:pt x="9118" y="10990"/>
                </a:cubicBezTo>
                <a:close/>
                <a:moveTo>
                  <a:pt x="8965" y="11317"/>
                </a:moveTo>
                <a:cubicBezTo>
                  <a:pt x="8935" y="11317"/>
                  <a:pt x="8911" y="11367"/>
                  <a:pt x="8911" y="11430"/>
                </a:cubicBezTo>
                <a:cubicBezTo>
                  <a:pt x="8911" y="11492"/>
                  <a:pt x="8935" y="11543"/>
                  <a:pt x="8965" y="11543"/>
                </a:cubicBezTo>
                <a:cubicBezTo>
                  <a:pt x="8995" y="11543"/>
                  <a:pt x="9019" y="11492"/>
                  <a:pt x="9019" y="11430"/>
                </a:cubicBezTo>
                <a:cubicBezTo>
                  <a:pt x="9019" y="11367"/>
                  <a:pt x="8995" y="11317"/>
                  <a:pt x="8965" y="11317"/>
                </a:cubicBezTo>
                <a:close/>
                <a:moveTo>
                  <a:pt x="8965" y="10990"/>
                </a:moveTo>
                <a:cubicBezTo>
                  <a:pt x="8935" y="10990"/>
                  <a:pt x="8911" y="11041"/>
                  <a:pt x="8911" y="11103"/>
                </a:cubicBezTo>
                <a:cubicBezTo>
                  <a:pt x="8911" y="11166"/>
                  <a:pt x="8935" y="11216"/>
                  <a:pt x="8965" y="11216"/>
                </a:cubicBezTo>
                <a:cubicBezTo>
                  <a:pt x="8995" y="11216"/>
                  <a:pt x="9019" y="11166"/>
                  <a:pt x="9019" y="11103"/>
                </a:cubicBezTo>
                <a:cubicBezTo>
                  <a:pt x="9019" y="11041"/>
                  <a:pt x="8995" y="10990"/>
                  <a:pt x="8965" y="10990"/>
                </a:cubicBezTo>
                <a:close/>
                <a:moveTo>
                  <a:pt x="9272" y="10680"/>
                </a:moveTo>
                <a:cubicBezTo>
                  <a:pt x="9242" y="10680"/>
                  <a:pt x="9218" y="10731"/>
                  <a:pt x="9218" y="10793"/>
                </a:cubicBezTo>
                <a:cubicBezTo>
                  <a:pt x="9218" y="10856"/>
                  <a:pt x="9242" y="10906"/>
                  <a:pt x="9272" y="10906"/>
                </a:cubicBezTo>
                <a:cubicBezTo>
                  <a:pt x="9301" y="10906"/>
                  <a:pt x="9325" y="10856"/>
                  <a:pt x="9325" y="10793"/>
                </a:cubicBezTo>
                <a:cubicBezTo>
                  <a:pt x="9325" y="10731"/>
                  <a:pt x="9301" y="10680"/>
                  <a:pt x="9272" y="10680"/>
                </a:cubicBezTo>
                <a:close/>
                <a:moveTo>
                  <a:pt x="9272" y="10353"/>
                </a:moveTo>
                <a:cubicBezTo>
                  <a:pt x="9242" y="10353"/>
                  <a:pt x="9218" y="10404"/>
                  <a:pt x="9218" y="10466"/>
                </a:cubicBezTo>
                <a:cubicBezTo>
                  <a:pt x="9218" y="10529"/>
                  <a:pt x="9242" y="10580"/>
                  <a:pt x="9272" y="10580"/>
                </a:cubicBezTo>
                <a:cubicBezTo>
                  <a:pt x="9301" y="10580"/>
                  <a:pt x="9325" y="10529"/>
                  <a:pt x="9325" y="10466"/>
                </a:cubicBezTo>
                <a:cubicBezTo>
                  <a:pt x="9325" y="10404"/>
                  <a:pt x="9301" y="10353"/>
                  <a:pt x="9272" y="10353"/>
                </a:cubicBezTo>
                <a:close/>
                <a:moveTo>
                  <a:pt x="9118" y="10680"/>
                </a:moveTo>
                <a:cubicBezTo>
                  <a:pt x="9088" y="10680"/>
                  <a:pt x="9064" y="10731"/>
                  <a:pt x="9064" y="10793"/>
                </a:cubicBezTo>
                <a:cubicBezTo>
                  <a:pt x="9064" y="10856"/>
                  <a:pt x="9088" y="10906"/>
                  <a:pt x="9118" y="10906"/>
                </a:cubicBezTo>
                <a:cubicBezTo>
                  <a:pt x="9147" y="10906"/>
                  <a:pt x="9171" y="10856"/>
                  <a:pt x="9171" y="10793"/>
                </a:cubicBezTo>
                <a:cubicBezTo>
                  <a:pt x="9171" y="10731"/>
                  <a:pt x="9147" y="10680"/>
                  <a:pt x="9118" y="10680"/>
                </a:cubicBezTo>
                <a:close/>
                <a:moveTo>
                  <a:pt x="9118" y="10353"/>
                </a:moveTo>
                <a:cubicBezTo>
                  <a:pt x="9088" y="10353"/>
                  <a:pt x="9064" y="10404"/>
                  <a:pt x="9064" y="10466"/>
                </a:cubicBezTo>
                <a:cubicBezTo>
                  <a:pt x="9064" y="10529"/>
                  <a:pt x="9088" y="10580"/>
                  <a:pt x="9118" y="10580"/>
                </a:cubicBezTo>
                <a:cubicBezTo>
                  <a:pt x="9147" y="10580"/>
                  <a:pt x="9171" y="10529"/>
                  <a:pt x="9171" y="10466"/>
                </a:cubicBezTo>
                <a:cubicBezTo>
                  <a:pt x="9171" y="10404"/>
                  <a:pt x="9147" y="10353"/>
                  <a:pt x="9118" y="10353"/>
                </a:cubicBezTo>
                <a:close/>
                <a:moveTo>
                  <a:pt x="8965" y="10680"/>
                </a:moveTo>
                <a:cubicBezTo>
                  <a:pt x="8935" y="10680"/>
                  <a:pt x="8911" y="10731"/>
                  <a:pt x="8911" y="10793"/>
                </a:cubicBezTo>
                <a:cubicBezTo>
                  <a:pt x="8911" y="10856"/>
                  <a:pt x="8935" y="10906"/>
                  <a:pt x="8965" y="10906"/>
                </a:cubicBezTo>
                <a:cubicBezTo>
                  <a:pt x="8995" y="10906"/>
                  <a:pt x="9019" y="10856"/>
                  <a:pt x="9019" y="10793"/>
                </a:cubicBezTo>
                <a:cubicBezTo>
                  <a:pt x="9019" y="10731"/>
                  <a:pt x="8995" y="10680"/>
                  <a:pt x="8965" y="10680"/>
                </a:cubicBezTo>
                <a:close/>
                <a:moveTo>
                  <a:pt x="8965" y="10353"/>
                </a:moveTo>
                <a:cubicBezTo>
                  <a:pt x="8935" y="10353"/>
                  <a:pt x="8911" y="10404"/>
                  <a:pt x="8911" y="10466"/>
                </a:cubicBezTo>
                <a:cubicBezTo>
                  <a:pt x="8911" y="10529"/>
                  <a:pt x="8935" y="10580"/>
                  <a:pt x="8965" y="10580"/>
                </a:cubicBezTo>
                <a:cubicBezTo>
                  <a:pt x="8995" y="10580"/>
                  <a:pt x="9019" y="10529"/>
                  <a:pt x="9019" y="10466"/>
                </a:cubicBezTo>
                <a:cubicBezTo>
                  <a:pt x="9019" y="10404"/>
                  <a:pt x="8995" y="10353"/>
                  <a:pt x="8965" y="10353"/>
                </a:cubicBezTo>
                <a:close/>
                <a:moveTo>
                  <a:pt x="9272" y="10026"/>
                </a:moveTo>
                <a:cubicBezTo>
                  <a:pt x="9242" y="10026"/>
                  <a:pt x="9218" y="10077"/>
                  <a:pt x="9218" y="10140"/>
                </a:cubicBezTo>
                <a:cubicBezTo>
                  <a:pt x="9218" y="10202"/>
                  <a:pt x="9242" y="10253"/>
                  <a:pt x="9272" y="10253"/>
                </a:cubicBezTo>
                <a:cubicBezTo>
                  <a:pt x="9301" y="10253"/>
                  <a:pt x="9325" y="10202"/>
                  <a:pt x="9325" y="10140"/>
                </a:cubicBezTo>
                <a:cubicBezTo>
                  <a:pt x="9325" y="10077"/>
                  <a:pt x="9301" y="10026"/>
                  <a:pt x="9272" y="10026"/>
                </a:cubicBezTo>
                <a:close/>
                <a:moveTo>
                  <a:pt x="9272" y="9700"/>
                </a:moveTo>
                <a:cubicBezTo>
                  <a:pt x="9242" y="9700"/>
                  <a:pt x="9218" y="9750"/>
                  <a:pt x="9218" y="9813"/>
                </a:cubicBezTo>
                <a:cubicBezTo>
                  <a:pt x="9218" y="9875"/>
                  <a:pt x="9242" y="9926"/>
                  <a:pt x="9272" y="9926"/>
                </a:cubicBezTo>
                <a:cubicBezTo>
                  <a:pt x="9301" y="9926"/>
                  <a:pt x="9325" y="9875"/>
                  <a:pt x="9325" y="9813"/>
                </a:cubicBezTo>
                <a:cubicBezTo>
                  <a:pt x="9325" y="9750"/>
                  <a:pt x="9301" y="9700"/>
                  <a:pt x="9272" y="9700"/>
                </a:cubicBezTo>
                <a:close/>
                <a:moveTo>
                  <a:pt x="9118" y="10026"/>
                </a:moveTo>
                <a:cubicBezTo>
                  <a:pt x="9088" y="10026"/>
                  <a:pt x="9064" y="10077"/>
                  <a:pt x="9064" y="10140"/>
                </a:cubicBezTo>
                <a:cubicBezTo>
                  <a:pt x="9064" y="10202"/>
                  <a:pt x="9088" y="10253"/>
                  <a:pt x="9118" y="10253"/>
                </a:cubicBezTo>
                <a:cubicBezTo>
                  <a:pt x="9147" y="10253"/>
                  <a:pt x="9171" y="10202"/>
                  <a:pt x="9171" y="10140"/>
                </a:cubicBezTo>
                <a:cubicBezTo>
                  <a:pt x="9171" y="10077"/>
                  <a:pt x="9147" y="10026"/>
                  <a:pt x="9118" y="10026"/>
                </a:cubicBezTo>
                <a:close/>
                <a:moveTo>
                  <a:pt x="9118" y="9700"/>
                </a:moveTo>
                <a:cubicBezTo>
                  <a:pt x="9088" y="9700"/>
                  <a:pt x="9064" y="9750"/>
                  <a:pt x="9064" y="9813"/>
                </a:cubicBezTo>
                <a:cubicBezTo>
                  <a:pt x="9064" y="9875"/>
                  <a:pt x="9088" y="9926"/>
                  <a:pt x="9118" y="9926"/>
                </a:cubicBezTo>
                <a:cubicBezTo>
                  <a:pt x="9147" y="9926"/>
                  <a:pt x="9171" y="9875"/>
                  <a:pt x="9171" y="9813"/>
                </a:cubicBezTo>
                <a:cubicBezTo>
                  <a:pt x="9171" y="9750"/>
                  <a:pt x="9147" y="9700"/>
                  <a:pt x="9118" y="9700"/>
                </a:cubicBezTo>
                <a:close/>
                <a:moveTo>
                  <a:pt x="8965" y="10026"/>
                </a:moveTo>
                <a:cubicBezTo>
                  <a:pt x="8935" y="10026"/>
                  <a:pt x="8911" y="10077"/>
                  <a:pt x="8911" y="10140"/>
                </a:cubicBezTo>
                <a:cubicBezTo>
                  <a:pt x="8911" y="10202"/>
                  <a:pt x="8935" y="10253"/>
                  <a:pt x="8965" y="10253"/>
                </a:cubicBezTo>
                <a:cubicBezTo>
                  <a:pt x="8995" y="10253"/>
                  <a:pt x="9019" y="10202"/>
                  <a:pt x="9019" y="10140"/>
                </a:cubicBezTo>
                <a:cubicBezTo>
                  <a:pt x="9019" y="10077"/>
                  <a:pt x="8995" y="10026"/>
                  <a:pt x="8965" y="10026"/>
                </a:cubicBezTo>
                <a:close/>
                <a:moveTo>
                  <a:pt x="8965" y="9700"/>
                </a:moveTo>
                <a:cubicBezTo>
                  <a:pt x="8935" y="9700"/>
                  <a:pt x="8911" y="9750"/>
                  <a:pt x="8911" y="9813"/>
                </a:cubicBezTo>
                <a:cubicBezTo>
                  <a:pt x="8911" y="9875"/>
                  <a:pt x="8935" y="9926"/>
                  <a:pt x="8965" y="9926"/>
                </a:cubicBezTo>
                <a:cubicBezTo>
                  <a:pt x="8995" y="9926"/>
                  <a:pt x="9019" y="9875"/>
                  <a:pt x="9019" y="9813"/>
                </a:cubicBezTo>
                <a:cubicBezTo>
                  <a:pt x="9019" y="9750"/>
                  <a:pt x="8995" y="9700"/>
                  <a:pt x="8965" y="9700"/>
                </a:cubicBezTo>
                <a:close/>
                <a:moveTo>
                  <a:pt x="10045" y="11317"/>
                </a:moveTo>
                <a:cubicBezTo>
                  <a:pt x="10015" y="11317"/>
                  <a:pt x="9991" y="11367"/>
                  <a:pt x="9991" y="11430"/>
                </a:cubicBezTo>
                <a:cubicBezTo>
                  <a:pt x="9991" y="11492"/>
                  <a:pt x="10015" y="11543"/>
                  <a:pt x="10045" y="11543"/>
                </a:cubicBezTo>
                <a:cubicBezTo>
                  <a:pt x="10074" y="11543"/>
                  <a:pt x="10098" y="11492"/>
                  <a:pt x="10098" y="11430"/>
                </a:cubicBezTo>
                <a:cubicBezTo>
                  <a:pt x="10098" y="11367"/>
                  <a:pt x="10074" y="11317"/>
                  <a:pt x="10045" y="11317"/>
                </a:cubicBezTo>
                <a:close/>
                <a:moveTo>
                  <a:pt x="10045" y="10990"/>
                </a:moveTo>
                <a:cubicBezTo>
                  <a:pt x="10015" y="10990"/>
                  <a:pt x="9991" y="11041"/>
                  <a:pt x="9991" y="11103"/>
                </a:cubicBezTo>
                <a:cubicBezTo>
                  <a:pt x="9991" y="11166"/>
                  <a:pt x="10015" y="11216"/>
                  <a:pt x="10045" y="11216"/>
                </a:cubicBezTo>
                <a:cubicBezTo>
                  <a:pt x="10074" y="11216"/>
                  <a:pt x="10098" y="11166"/>
                  <a:pt x="10098" y="11103"/>
                </a:cubicBezTo>
                <a:cubicBezTo>
                  <a:pt x="10098" y="11041"/>
                  <a:pt x="10074" y="10990"/>
                  <a:pt x="10045" y="10990"/>
                </a:cubicBezTo>
                <a:close/>
                <a:moveTo>
                  <a:pt x="9892" y="11543"/>
                </a:moveTo>
                <a:cubicBezTo>
                  <a:pt x="9922" y="11543"/>
                  <a:pt x="9946" y="11492"/>
                  <a:pt x="9946" y="11430"/>
                </a:cubicBezTo>
                <a:cubicBezTo>
                  <a:pt x="9946" y="11367"/>
                  <a:pt x="9922" y="11317"/>
                  <a:pt x="9892" y="11317"/>
                </a:cubicBezTo>
                <a:cubicBezTo>
                  <a:pt x="9862" y="11317"/>
                  <a:pt x="9838" y="11367"/>
                  <a:pt x="9838" y="11430"/>
                </a:cubicBezTo>
                <a:cubicBezTo>
                  <a:pt x="9838" y="11492"/>
                  <a:pt x="9862" y="11543"/>
                  <a:pt x="9892" y="11543"/>
                </a:cubicBezTo>
                <a:close/>
                <a:moveTo>
                  <a:pt x="9892" y="11216"/>
                </a:moveTo>
                <a:cubicBezTo>
                  <a:pt x="9922" y="11216"/>
                  <a:pt x="9946" y="11166"/>
                  <a:pt x="9946" y="11103"/>
                </a:cubicBezTo>
                <a:cubicBezTo>
                  <a:pt x="9946" y="11041"/>
                  <a:pt x="9922" y="10990"/>
                  <a:pt x="9892" y="10990"/>
                </a:cubicBezTo>
                <a:cubicBezTo>
                  <a:pt x="9862" y="10990"/>
                  <a:pt x="9838" y="11041"/>
                  <a:pt x="9838" y="11103"/>
                </a:cubicBezTo>
                <a:cubicBezTo>
                  <a:pt x="9838" y="11166"/>
                  <a:pt x="9862" y="11216"/>
                  <a:pt x="9892" y="11216"/>
                </a:cubicBezTo>
                <a:close/>
                <a:moveTo>
                  <a:pt x="9737" y="11317"/>
                </a:moveTo>
                <a:cubicBezTo>
                  <a:pt x="9707" y="11317"/>
                  <a:pt x="9683" y="11367"/>
                  <a:pt x="9683" y="11430"/>
                </a:cubicBezTo>
                <a:cubicBezTo>
                  <a:pt x="9683" y="11492"/>
                  <a:pt x="9707" y="11543"/>
                  <a:pt x="9737" y="11543"/>
                </a:cubicBezTo>
                <a:cubicBezTo>
                  <a:pt x="9766" y="11543"/>
                  <a:pt x="9791" y="11492"/>
                  <a:pt x="9791" y="11430"/>
                </a:cubicBezTo>
                <a:cubicBezTo>
                  <a:pt x="9791" y="11367"/>
                  <a:pt x="9766" y="11317"/>
                  <a:pt x="9737" y="11317"/>
                </a:cubicBezTo>
                <a:close/>
                <a:moveTo>
                  <a:pt x="9737" y="10990"/>
                </a:moveTo>
                <a:cubicBezTo>
                  <a:pt x="9707" y="10990"/>
                  <a:pt x="9683" y="11041"/>
                  <a:pt x="9683" y="11103"/>
                </a:cubicBezTo>
                <a:cubicBezTo>
                  <a:pt x="9683" y="11166"/>
                  <a:pt x="9707" y="11216"/>
                  <a:pt x="9737" y="11216"/>
                </a:cubicBezTo>
                <a:cubicBezTo>
                  <a:pt x="9766" y="11216"/>
                  <a:pt x="9791" y="11166"/>
                  <a:pt x="9791" y="11103"/>
                </a:cubicBezTo>
                <a:cubicBezTo>
                  <a:pt x="9791" y="11041"/>
                  <a:pt x="9766" y="10990"/>
                  <a:pt x="9737" y="10990"/>
                </a:cubicBezTo>
                <a:close/>
                <a:moveTo>
                  <a:pt x="9583" y="11317"/>
                </a:moveTo>
                <a:cubicBezTo>
                  <a:pt x="9553" y="11317"/>
                  <a:pt x="9529" y="11367"/>
                  <a:pt x="9529" y="11430"/>
                </a:cubicBezTo>
                <a:cubicBezTo>
                  <a:pt x="9529" y="11492"/>
                  <a:pt x="9553" y="11543"/>
                  <a:pt x="9583" y="11543"/>
                </a:cubicBezTo>
                <a:cubicBezTo>
                  <a:pt x="9612" y="11543"/>
                  <a:pt x="9637" y="11492"/>
                  <a:pt x="9637" y="11430"/>
                </a:cubicBezTo>
                <a:cubicBezTo>
                  <a:pt x="9637" y="11367"/>
                  <a:pt x="9612" y="11317"/>
                  <a:pt x="9583" y="11317"/>
                </a:cubicBezTo>
                <a:close/>
                <a:moveTo>
                  <a:pt x="9583" y="10990"/>
                </a:moveTo>
                <a:cubicBezTo>
                  <a:pt x="9553" y="10990"/>
                  <a:pt x="9529" y="11041"/>
                  <a:pt x="9529" y="11103"/>
                </a:cubicBezTo>
                <a:cubicBezTo>
                  <a:pt x="9529" y="11166"/>
                  <a:pt x="9553" y="11216"/>
                  <a:pt x="9583" y="11216"/>
                </a:cubicBezTo>
                <a:cubicBezTo>
                  <a:pt x="9612" y="11216"/>
                  <a:pt x="9637" y="11166"/>
                  <a:pt x="9637" y="11103"/>
                </a:cubicBezTo>
                <a:cubicBezTo>
                  <a:pt x="9637" y="11041"/>
                  <a:pt x="9612" y="10990"/>
                  <a:pt x="9583" y="10990"/>
                </a:cubicBezTo>
                <a:close/>
                <a:moveTo>
                  <a:pt x="9430" y="11317"/>
                </a:moveTo>
                <a:cubicBezTo>
                  <a:pt x="9400" y="11317"/>
                  <a:pt x="9376" y="11367"/>
                  <a:pt x="9376" y="11430"/>
                </a:cubicBezTo>
                <a:cubicBezTo>
                  <a:pt x="9376" y="11492"/>
                  <a:pt x="9400" y="11543"/>
                  <a:pt x="9430" y="11543"/>
                </a:cubicBezTo>
                <a:cubicBezTo>
                  <a:pt x="9460" y="11543"/>
                  <a:pt x="9484" y="11492"/>
                  <a:pt x="9484" y="11430"/>
                </a:cubicBezTo>
                <a:cubicBezTo>
                  <a:pt x="9484" y="11367"/>
                  <a:pt x="9460" y="11317"/>
                  <a:pt x="9430" y="11317"/>
                </a:cubicBezTo>
                <a:close/>
                <a:moveTo>
                  <a:pt x="9430" y="10990"/>
                </a:moveTo>
                <a:cubicBezTo>
                  <a:pt x="9400" y="10990"/>
                  <a:pt x="9376" y="11041"/>
                  <a:pt x="9376" y="11103"/>
                </a:cubicBezTo>
                <a:cubicBezTo>
                  <a:pt x="9376" y="11166"/>
                  <a:pt x="9400" y="11216"/>
                  <a:pt x="9430" y="11216"/>
                </a:cubicBezTo>
                <a:cubicBezTo>
                  <a:pt x="9460" y="11216"/>
                  <a:pt x="9484" y="11166"/>
                  <a:pt x="9484" y="11103"/>
                </a:cubicBezTo>
                <a:cubicBezTo>
                  <a:pt x="9484" y="11041"/>
                  <a:pt x="9460" y="10990"/>
                  <a:pt x="9430" y="10990"/>
                </a:cubicBezTo>
                <a:close/>
                <a:moveTo>
                  <a:pt x="10045" y="10680"/>
                </a:moveTo>
                <a:cubicBezTo>
                  <a:pt x="10015" y="10680"/>
                  <a:pt x="9991" y="10731"/>
                  <a:pt x="9991" y="10793"/>
                </a:cubicBezTo>
                <a:cubicBezTo>
                  <a:pt x="9991" y="10856"/>
                  <a:pt x="10015" y="10906"/>
                  <a:pt x="10045" y="10906"/>
                </a:cubicBezTo>
                <a:cubicBezTo>
                  <a:pt x="10074" y="10906"/>
                  <a:pt x="10098" y="10856"/>
                  <a:pt x="10098" y="10793"/>
                </a:cubicBezTo>
                <a:cubicBezTo>
                  <a:pt x="10098" y="10731"/>
                  <a:pt x="10074" y="10680"/>
                  <a:pt x="10045" y="10680"/>
                </a:cubicBezTo>
                <a:close/>
                <a:moveTo>
                  <a:pt x="10045" y="10353"/>
                </a:moveTo>
                <a:cubicBezTo>
                  <a:pt x="10015" y="10353"/>
                  <a:pt x="9991" y="10404"/>
                  <a:pt x="9991" y="10466"/>
                </a:cubicBezTo>
                <a:cubicBezTo>
                  <a:pt x="9991" y="10529"/>
                  <a:pt x="10015" y="10580"/>
                  <a:pt x="10045" y="10580"/>
                </a:cubicBezTo>
                <a:cubicBezTo>
                  <a:pt x="10074" y="10580"/>
                  <a:pt x="10098" y="10529"/>
                  <a:pt x="10098" y="10466"/>
                </a:cubicBezTo>
                <a:cubicBezTo>
                  <a:pt x="10098" y="10404"/>
                  <a:pt x="10074" y="10353"/>
                  <a:pt x="10045" y="10353"/>
                </a:cubicBezTo>
                <a:close/>
                <a:moveTo>
                  <a:pt x="9892" y="10906"/>
                </a:moveTo>
                <a:cubicBezTo>
                  <a:pt x="9922" y="10906"/>
                  <a:pt x="9946" y="10856"/>
                  <a:pt x="9946" y="10793"/>
                </a:cubicBezTo>
                <a:cubicBezTo>
                  <a:pt x="9946" y="10731"/>
                  <a:pt x="9922" y="10680"/>
                  <a:pt x="9892" y="10680"/>
                </a:cubicBezTo>
                <a:cubicBezTo>
                  <a:pt x="9862" y="10680"/>
                  <a:pt x="9838" y="10731"/>
                  <a:pt x="9838" y="10793"/>
                </a:cubicBezTo>
                <a:cubicBezTo>
                  <a:pt x="9838" y="10856"/>
                  <a:pt x="9862" y="10906"/>
                  <a:pt x="9892" y="10906"/>
                </a:cubicBezTo>
                <a:close/>
                <a:moveTo>
                  <a:pt x="9892" y="10580"/>
                </a:moveTo>
                <a:cubicBezTo>
                  <a:pt x="9922" y="10580"/>
                  <a:pt x="9946" y="10529"/>
                  <a:pt x="9946" y="10466"/>
                </a:cubicBezTo>
                <a:cubicBezTo>
                  <a:pt x="9946" y="10404"/>
                  <a:pt x="9922" y="10353"/>
                  <a:pt x="9892" y="10353"/>
                </a:cubicBezTo>
                <a:cubicBezTo>
                  <a:pt x="9862" y="10353"/>
                  <a:pt x="9838" y="10404"/>
                  <a:pt x="9838" y="10466"/>
                </a:cubicBezTo>
                <a:cubicBezTo>
                  <a:pt x="9838" y="10529"/>
                  <a:pt x="9862" y="10580"/>
                  <a:pt x="9892" y="10580"/>
                </a:cubicBezTo>
                <a:close/>
                <a:moveTo>
                  <a:pt x="9737" y="10680"/>
                </a:moveTo>
                <a:cubicBezTo>
                  <a:pt x="9707" y="10680"/>
                  <a:pt x="9683" y="10731"/>
                  <a:pt x="9683" y="10793"/>
                </a:cubicBezTo>
                <a:cubicBezTo>
                  <a:pt x="9683" y="10856"/>
                  <a:pt x="9707" y="10906"/>
                  <a:pt x="9737" y="10906"/>
                </a:cubicBezTo>
                <a:cubicBezTo>
                  <a:pt x="9766" y="10906"/>
                  <a:pt x="9791" y="10856"/>
                  <a:pt x="9791" y="10793"/>
                </a:cubicBezTo>
                <a:cubicBezTo>
                  <a:pt x="9791" y="10731"/>
                  <a:pt x="9766" y="10680"/>
                  <a:pt x="9737" y="10680"/>
                </a:cubicBezTo>
                <a:close/>
                <a:moveTo>
                  <a:pt x="9737" y="10353"/>
                </a:moveTo>
                <a:cubicBezTo>
                  <a:pt x="9707" y="10353"/>
                  <a:pt x="9683" y="10404"/>
                  <a:pt x="9683" y="10466"/>
                </a:cubicBezTo>
                <a:cubicBezTo>
                  <a:pt x="9683" y="10529"/>
                  <a:pt x="9707" y="10580"/>
                  <a:pt x="9737" y="10580"/>
                </a:cubicBezTo>
                <a:cubicBezTo>
                  <a:pt x="9766" y="10580"/>
                  <a:pt x="9791" y="10529"/>
                  <a:pt x="9791" y="10466"/>
                </a:cubicBezTo>
                <a:cubicBezTo>
                  <a:pt x="9791" y="10404"/>
                  <a:pt x="9766" y="10353"/>
                  <a:pt x="9737" y="10353"/>
                </a:cubicBezTo>
                <a:close/>
                <a:moveTo>
                  <a:pt x="9583" y="10680"/>
                </a:moveTo>
                <a:cubicBezTo>
                  <a:pt x="9553" y="10680"/>
                  <a:pt x="9529" y="10731"/>
                  <a:pt x="9529" y="10793"/>
                </a:cubicBezTo>
                <a:cubicBezTo>
                  <a:pt x="9529" y="10856"/>
                  <a:pt x="9553" y="10906"/>
                  <a:pt x="9583" y="10906"/>
                </a:cubicBezTo>
                <a:cubicBezTo>
                  <a:pt x="9612" y="10906"/>
                  <a:pt x="9637" y="10856"/>
                  <a:pt x="9637" y="10793"/>
                </a:cubicBezTo>
                <a:cubicBezTo>
                  <a:pt x="9637" y="10731"/>
                  <a:pt x="9612" y="10680"/>
                  <a:pt x="9583" y="10680"/>
                </a:cubicBezTo>
                <a:close/>
                <a:moveTo>
                  <a:pt x="9583" y="10353"/>
                </a:moveTo>
                <a:cubicBezTo>
                  <a:pt x="9553" y="10353"/>
                  <a:pt x="9529" y="10404"/>
                  <a:pt x="9529" y="10466"/>
                </a:cubicBezTo>
                <a:cubicBezTo>
                  <a:pt x="9529" y="10529"/>
                  <a:pt x="9553" y="10580"/>
                  <a:pt x="9583" y="10580"/>
                </a:cubicBezTo>
                <a:cubicBezTo>
                  <a:pt x="9612" y="10580"/>
                  <a:pt x="9637" y="10529"/>
                  <a:pt x="9637" y="10466"/>
                </a:cubicBezTo>
                <a:cubicBezTo>
                  <a:pt x="9637" y="10404"/>
                  <a:pt x="9612" y="10353"/>
                  <a:pt x="9583" y="10353"/>
                </a:cubicBezTo>
                <a:close/>
                <a:moveTo>
                  <a:pt x="9430" y="10680"/>
                </a:moveTo>
                <a:cubicBezTo>
                  <a:pt x="9400" y="10680"/>
                  <a:pt x="9376" y="10731"/>
                  <a:pt x="9376" y="10793"/>
                </a:cubicBezTo>
                <a:cubicBezTo>
                  <a:pt x="9376" y="10856"/>
                  <a:pt x="9400" y="10906"/>
                  <a:pt x="9430" y="10906"/>
                </a:cubicBezTo>
                <a:cubicBezTo>
                  <a:pt x="9460" y="10906"/>
                  <a:pt x="9484" y="10856"/>
                  <a:pt x="9484" y="10793"/>
                </a:cubicBezTo>
                <a:cubicBezTo>
                  <a:pt x="9484" y="10731"/>
                  <a:pt x="9460" y="10680"/>
                  <a:pt x="9430" y="10680"/>
                </a:cubicBezTo>
                <a:close/>
                <a:moveTo>
                  <a:pt x="9430" y="10353"/>
                </a:moveTo>
                <a:cubicBezTo>
                  <a:pt x="9400" y="10353"/>
                  <a:pt x="9376" y="10404"/>
                  <a:pt x="9376" y="10466"/>
                </a:cubicBezTo>
                <a:cubicBezTo>
                  <a:pt x="9376" y="10529"/>
                  <a:pt x="9400" y="10580"/>
                  <a:pt x="9430" y="10580"/>
                </a:cubicBezTo>
                <a:cubicBezTo>
                  <a:pt x="9460" y="10580"/>
                  <a:pt x="9484" y="10529"/>
                  <a:pt x="9484" y="10466"/>
                </a:cubicBezTo>
                <a:cubicBezTo>
                  <a:pt x="9484" y="10404"/>
                  <a:pt x="9460" y="10353"/>
                  <a:pt x="9430" y="10353"/>
                </a:cubicBezTo>
                <a:close/>
                <a:moveTo>
                  <a:pt x="10045" y="10026"/>
                </a:moveTo>
                <a:cubicBezTo>
                  <a:pt x="10015" y="10026"/>
                  <a:pt x="9991" y="10077"/>
                  <a:pt x="9991" y="10140"/>
                </a:cubicBezTo>
                <a:cubicBezTo>
                  <a:pt x="9991" y="10202"/>
                  <a:pt x="10015" y="10253"/>
                  <a:pt x="10045" y="10253"/>
                </a:cubicBezTo>
                <a:cubicBezTo>
                  <a:pt x="10074" y="10253"/>
                  <a:pt x="10098" y="10202"/>
                  <a:pt x="10098" y="10140"/>
                </a:cubicBezTo>
                <a:cubicBezTo>
                  <a:pt x="10098" y="10077"/>
                  <a:pt x="10074" y="10026"/>
                  <a:pt x="10045" y="10026"/>
                </a:cubicBezTo>
                <a:close/>
                <a:moveTo>
                  <a:pt x="10045" y="9700"/>
                </a:moveTo>
                <a:cubicBezTo>
                  <a:pt x="10015" y="9700"/>
                  <a:pt x="9991" y="9750"/>
                  <a:pt x="9991" y="9813"/>
                </a:cubicBezTo>
                <a:cubicBezTo>
                  <a:pt x="9991" y="9875"/>
                  <a:pt x="10015" y="9926"/>
                  <a:pt x="10045" y="9926"/>
                </a:cubicBezTo>
                <a:cubicBezTo>
                  <a:pt x="10074" y="9926"/>
                  <a:pt x="10098" y="9875"/>
                  <a:pt x="10098" y="9813"/>
                </a:cubicBezTo>
                <a:cubicBezTo>
                  <a:pt x="10098" y="9750"/>
                  <a:pt x="10074" y="9700"/>
                  <a:pt x="10045" y="9700"/>
                </a:cubicBezTo>
                <a:close/>
                <a:moveTo>
                  <a:pt x="9892" y="10253"/>
                </a:moveTo>
                <a:cubicBezTo>
                  <a:pt x="9922" y="10253"/>
                  <a:pt x="9946" y="10202"/>
                  <a:pt x="9946" y="10140"/>
                </a:cubicBezTo>
                <a:cubicBezTo>
                  <a:pt x="9946" y="10077"/>
                  <a:pt x="9922" y="10026"/>
                  <a:pt x="9892" y="10026"/>
                </a:cubicBezTo>
                <a:cubicBezTo>
                  <a:pt x="9862" y="10026"/>
                  <a:pt x="9838" y="10077"/>
                  <a:pt x="9838" y="10140"/>
                </a:cubicBezTo>
                <a:cubicBezTo>
                  <a:pt x="9838" y="10202"/>
                  <a:pt x="9862" y="10253"/>
                  <a:pt x="9892" y="10253"/>
                </a:cubicBezTo>
                <a:close/>
                <a:moveTo>
                  <a:pt x="9892" y="9926"/>
                </a:moveTo>
                <a:cubicBezTo>
                  <a:pt x="9922" y="9926"/>
                  <a:pt x="9946" y="9875"/>
                  <a:pt x="9946" y="9813"/>
                </a:cubicBezTo>
                <a:cubicBezTo>
                  <a:pt x="9946" y="9750"/>
                  <a:pt x="9922" y="9700"/>
                  <a:pt x="9892" y="9700"/>
                </a:cubicBezTo>
                <a:cubicBezTo>
                  <a:pt x="9862" y="9700"/>
                  <a:pt x="9838" y="9750"/>
                  <a:pt x="9838" y="9813"/>
                </a:cubicBezTo>
                <a:cubicBezTo>
                  <a:pt x="9838" y="9875"/>
                  <a:pt x="9862" y="9926"/>
                  <a:pt x="9892" y="9926"/>
                </a:cubicBezTo>
                <a:close/>
                <a:moveTo>
                  <a:pt x="9737" y="10026"/>
                </a:moveTo>
                <a:cubicBezTo>
                  <a:pt x="9707" y="10026"/>
                  <a:pt x="9683" y="10077"/>
                  <a:pt x="9683" y="10140"/>
                </a:cubicBezTo>
                <a:cubicBezTo>
                  <a:pt x="9683" y="10202"/>
                  <a:pt x="9707" y="10253"/>
                  <a:pt x="9737" y="10253"/>
                </a:cubicBezTo>
                <a:cubicBezTo>
                  <a:pt x="9766" y="10253"/>
                  <a:pt x="9791" y="10202"/>
                  <a:pt x="9791" y="10140"/>
                </a:cubicBezTo>
                <a:cubicBezTo>
                  <a:pt x="9791" y="10077"/>
                  <a:pt x="9766" y="10026"/>
                  <a:pt x="9737" y="10026"/>
                </a:cubicBezTo>
                <a:close/>
                <a:moveTo>
                  <a:pt x="9737" y="9700"/>
                </a:moveTo>
                <a:cubicBezTo>
                  <a:pt x="9707" y="9700"/>
                  <a:pt x="9683" y="9750"/>
                  <a:pt x="9683" y="9813"/>
                </a:cubicBezTo>
                <a:cubicBezTo>
                  <a:pt x="9683" y="9875"/>
                  <a:pt x="9707" y="9926"/>
                  <a:pt x="9737" y="9926"/>
                </a:cubicBezTo>
                <a:cubicBezTo>
                  <a:pt x="9766" y="9926"/>
                  <a:pt x="9791" y="9875"/>
                  <a:pt x="9791" y="9813"/>
                </a:cubicBezTo>
                <a:cubicBezTo>
                  <a:pt x="9791" y="9750"/>
                  <a:pt x="9766" y="9700"/>
                  <a:pt x="9737" y="9700"/>
                </a:cubicBezTo>
                <a:close/>
                <a:moveTo>
                  <a:pt x="9583" y="10026"/>
                </a:moveTo>
                <a:cubicBezTo>
                  <a:pt x="9553" y="10026"/>
                  <a:pt x="9529" y="10077"/>
                  <a:pt x="9529" y="10140"/>
                </a:cubicBezTo>
                <a:cubicBezTo>
                  <a:pt x="9529" y="10202"/>
                  <a:pt x="9553" y="10253"/>
                  <a:pt x="9583" y="10253"/>
                </a:cubicBezTo>
                <a:cubicBezTo>
                  <a:pt x="9612" y="10253"/>
                  <a:pt x="9637" y="10202"/>
                  <a:pt x="9637" y="10140"/>
                </a:cubicBezTo>
                <a:cubicBezTo>
                  <a:pt x="9637" y="10077"/>
                  <a:pt x="9612" y="10026"/>
                  <a:pt x="9583" y="10026"/>
                </a:cubicBezTo>
                <a:close/>
                <a:moveTo>
                  <a:pt x="9583" y="9700"/>
                </a:moveTo>
                <a:cubicBezTo>
                  <a:pt x="9553" y="9700"/>
                  <a:pt x="9529" y="9750"/>
                  <a:pt x="9529" y="9813"/>
                </a:cubicBezTo>
                <a:cubicBezTo>
                  <a:pt x="9529" y="9875"/>
                  <a:pt x="9553" y="9926"/>
                  <a:pt x="9583" y="9926"/>
                </a:cubicBezTo>
                <a:cubicBezTo>
                  <a:pt x="9612" y="9926"/>
                  <a:pt x="9637" y="9875"/>
                  <a:pt x="9637" y="9813"/>
                </a:cubicBezTo>
                <a:cubicBezTo>
                  <a:pt x="9637" y="9750"/>
                  <a:pt x="9612" y="9700"/>
                  <a:pt x="9583" y="9700"/>
                </a:cubicBezTo>
                <a:close/>
                <a:moveTo>
                  <a:pt x="9430" y="10026"/>
                </a:moveTo>
                <a:cubicBezTo>
                  <a:pt x="9400" y="10026"/>
                  <a:pt x="9376" y="10077"/>
                  <a:pt x="9376" y="10140"/>
                </a:cubicBezTo>
                <a:cubicBezTo>
                  <a:pt x="9376" y="10202"/>
                  <a:pt x="9400" y="10253"/>
                  <a:pt x="9430" y="10253"/>
                </a:cubicBezTo>
                <a:cubicBezTo>
                  <a:pt x="9460" y="10253"/>
                  <a:pt x="9484" y="10202"/>
                  <a:pt x="9484" y="10140"/>
                </a:cubicBezTo>
                <a:cubicBezTo>
                  <a:pt x="9484" y="10077"/>
                  <a:pt x="9460" y="10026"/>
                  <a:pt x="9430" y="10026"/>
                </a:cubicBezTo>
                <a:close/>
                <a:moveTo>
                  <a:pt x="9430" y="9700"/>
                </a:moveTo>
                <a:cubicBezTo>
                  <a:pt x="9400" y="9700"/>
                  <a:pt x="9376" y="9750"/>
                  <a:pt x="9376" y="9813"/>
                </a:cubicBezTo>
                <a:cubicBezTo>
                  <a:pt x="9376" y="9875"/>
                  <a:pt x="9400" y="9926"/>
                  <a:pt x="9430" y="9926"/>
                </a:cubicBezTo>
                <a:cubicBezTo>
                  <a:pt x="9460" y="9926"/>
                  <a:pt x="9484" y="9875"/>
                  <a:pt x="9484" y="9813"/>
                </a:cubicBezTo>
                <a:cubicBezTo>
                  <a:pt x="9484" y="9750"/>
                  <a:pt x="9460" y="9700"/>
                  <a:pt x="9430" y="9700"/>
                </a:cubicBezTo>
                <a:close/>
                <a:moveTo>
                  <a:pt x="10813" y="11971"/>
                </a:moveTo>
                <a:cubicBezTo>
                  <a:pt x="10783" y="11971"/>
                  <a:pt x="10759" y="12021"/>
                  <a:pt x="10759" y="12084"/>
                </a:cubicBezTo>
                <a:cubicBezTo>
                  <a:pt x="10759" y="12146"/>
                  <a:pt x="10783" y="12197"/>
                  <a:pt x="10813" y="12197"/>
                </a:cubicBezTo>
                <a:cubicBezTo>
                  <a:pt x="10843" y="12197"/>
                  <a:pt x="10867" y="12146"/>
                  <a:pt x="10867" y="12084"/>
                </a:cubicBezTo>
                <a:cubicBezTo>
                  <a:pt x="10867" y="12021"/>
                  <a:pt x="10843" y="11971"/>
                  <a:pt x="10813" y="11971"/>
                </a:cubicBezTo>
                <a:close/>
                <a:moveTo>
                  <a:pt x="10813" y="11644"/>
                </a:moveTo>
                <a:cubicBezTo>
                  <a:pt x="10783" y="11644"/>
                  <a:pt x="10759" y="11694"/>
                  <a:pt x="10759" y="11757"/>
                </a:cubicBezTo>
                <a:cubicBezTo>
                  <a:pt x="10759" y="11819"/>
                  <a:pt x="10783" y="11870"/>
                  <a:pt x="10813" y="11870"/>
                </a:cubicBezTo>
                <a:cubicBezTo>
                  <a:pt x="10843" y="11870"/>
                  <a:pt x="10867" y="11819"/>
                  <a:pt x="10867" y="11757"/>
                </a:cubicBezTo>
                <a:cubicBezTo>
                  <a:pt x="10867" y="11694"/>
                  <a:pt x="10843" y="11644"/>
                  <a:pt x="10813" y="11644"/>
                </a:cubicBezTo>
                <a:close/>
                <a:moveTo>
                  <a:pt x="10660" y="11971"/>
                </a:moveTo>
                <a:cubicBezTo>
                  <a:pt x="10631" y="11971"/>
                  <a:pt x="10607" y="12021"/>
                  <a:pt x="10607" y="12084"/>
                </a:cubicBezTo>
                <a:cubicBezTo>
                  <a:pt x="10607" y="12146"/>
                  <a:pt x="10631" y="12197"/>
                  <a:pt x="10660" y="12197"/>
                </a:cubicBezTo>
                <a:cubicBezTo>
                  <a:pt x="10690" y="12197"/>
                  <a:pt x="10714" y="12146"/>
                  <a:pt x="10714" y="12084"/>
                </a:cubicBezTo>
                <a:cubicBezTo>
                  <a:pt x="10714" y="12021"/>
                  <a:pt x="10690" y="11971"/>
                  <a:pt x="10660" y="11971"/>
                </a:cubicBezTo>
                <a:close/>
                <a:moveTo>
                  <a:pt x="10660" y="11644"/>
                </a:moveTo>
                <a:cubicBezTo>
                  <a:pt x="10631" y="11644"/>
                  <a:pt x="10607" y="11694"/>
                  <a:pt x="10607" y="11757"/>
                </a:cubicBezTo>
                <a:cubicBezTo>
                  <a:pt x="10607" y="11819"/>
                  <a:pt x="10631" y="11870"/>
                  <a:pt x="10660" y="11870"/>
                </a:cubicBezTo>
                <a:cubicBezTo>
                  <a:pt x="10690" y="11870"/>
                  <a:pt x="10714" y="11819"/>
                  <a:pt x="10714" y="11757"/>
                </a:cubicBezTo>
                <a:cubicBezTo>
                  <a:pt x="10714" y="11694"/>
                  <a:pt x="10690" y="11644"/>
                  <a:pt x="10660" y="11644"/>
                </a:cubicBezTo>
                <a:close/>
                <a:moveTo>
                  <a:pt x="10505" y="11971"/>
                </a:moveTo>
                <a:cubicBezTo>
                  <a:pt x="10475" y="11971"/>
                  <a:pt x="10451" y="12021"/>
                  <a:pt x="10451" y="12084"/>
                </a:cubicBezTo>
                <a:cubicBezTo>
                  <a:pt x="10451" y="12146"/>
                  <a:pt x="10475" y="12197"/>
                  <a:pt x="10505" y="12197"/>
                </a:cubicBezTo>
                <a:cubicBezTo>
                  <a:pt x="10535" y="12197"/>
                  <a:pt x="10559" y="12146"/>
                  <a:pt x="10559" y="12084"/>
                </a:cubicBezTo>
                <a:cubicBezTo>
                  <a:pt x="10559" y="12021"/>
                  <a:pt x="10535" y="11971"/>
                  <a:pt x="10505" y="11971"/>
                </a:cubicBezTo>
                <a:close/>
                <a:moveTo>
                  <a:pt x="10505" y="11644"/>
                </a:moveTo>
                <a:cubicBezTo>
                  <a:pt x="10475" y="11644"/>
                  <a:pt x="10451" y="11694"/>
                  <a:pt x="10451" y="11757"/>
                </a:cubicBezTo>
                <a:cubicBezTo>
                  <a:pt x="10451" y="11819"/>
                  <a:pt x="10475" y="11870"/>
                  <a:pt x="10505" y="11870"/>
                </a:cubicBezTo>
                <a:cubicBezTo>
                  <a:pt x="10535" y="11870"/>
                  <a:pt x="10559" y="11819"/>
                  <a:pt x="10559" y="11757"/>
                </a:cubicBezTo>
                <a:cubicBezTo>
                  <a:pt x="10559" y="11694"/>
                  <a:pt x="10535" y="11644"/>
                  <a:pt x="10505" y="11644"/>
                </a:cubicBezTo>
                <a:close/>
                <a:moveTo>
                  <a:pt x="10351" y="11971"/>
                </a:moveTo>
                <a:cubicBezTo>
                  <a:pt x="10321" y="11971"/>
                  <a:pt x="10297" y="12021"/>
                  <a:pt x="10297" y="12084"/>
                </a:cubicBezTo>
                <a:cubicBezTo>
                  <a:pt x="10297" y="12146"/>
                  <a:pt x="10321" y="12197"/>
                  <a:pt x="10351" y="12197"/>
                </a:cubicBezTo>
                <a:cubicBezTo>
                  <a:pt x="10381" y="12197"/>
                  <a:pt x="10405" y="12146"/>
                  <a:pt x="10405" y="12084"/>
                </a:cubicBezTo>
                <a:cubicBezTo>
                  <a:pt x="10405" y="12021"/>
                  <a:pt x="10381" y="11971"/>
                  <a:pt x="10351" y="11971"/>
                </a:cubicBezTo>
                <a:close/>
                <a:moveTo>
                  <a:pt x="10351" y="11644"/>
                </a:moveTo>
                <a:cubicBezTo>
                  <a:pt x="10321" y="11644"/>
                  <a:pt x="10297" y="11694"/>
                  <a:pt x="10297" y="11757"/>
                </a:cubicBezTo>
                <a:cubicBezTo>
                  <a:pt x="10297" y="11819"/>
                  <a:pt x="10321" y="11870"/>
                  <a:pt x="10351" y="11870"/>
                </a:cubicBezTo>
                <a:cubicBezTo>
                  <a:pt x="10381" y="11870"/>
                  <a:pt x="10405" y="11819"/>
                  <a:pt x="10405" y="11757"/>
                </a:cubicBezTo>
                <a:cubicBezTo>
                  <a:pt x="10405" y="11694"/>
                  <a:pt x="10381" y="11644"/>
                  <a:pt x="10351" y="11644"/>
                </a:cubicBezTo>
                <a:close/>
                <a:moveTo>
                  <a:pt x="10198" y="11971"/>
                </a:moveTo>
                <a:cubicBezTo>
                  <a:pt x="10169" y="11971"/>
                  <a:pt x="10145" y="12021"/>
                  <a:pt x="10145" y="12084"/>
                </a:cubicBezTo>
                <a:cubicBezTo>
                  <a:pt x="10145" y="12146"/>
                  <a:pt x="10169" y="12197"/>
                  <a:pt x="10198" y="12197"/>
                </a:cubicBezTo>
                <a:cubicBezTo>
                  <a:pt x="10228" y="12197"/>
                  <a:pt x="10252" y="12146"/>
                  <a:pt x="10252" y="12084"/>
                </a:cubicBezTo>
                <a:cubicBezTo>
                  <a:pt x="10252" y="12021"/>
                  <a:pt x="10228" y="11971"/>
                  <a:pt x="10198" y="11971"/>
                </a:cubicBezTo>
                <a:close/>
                <a:moveTo>
                  <a:pt x="10198" y="11644"/>
                </a:moveTo>
                <a:cubicBezTo>
                  <a:pt x="10169" y="11644"/>
                  <a:pt x="10145" y="11694"/>
                  <a:pt x="10145" y="11757"/>
                </a:cubicBezTo>
                <a:cubicBezTo>
                  <a:pt x="10145" y="11819"/>
                  <a:pt x="10169" y="11870"/>
                  <a:pt x="10198" y="11870"/>
                </a:cubicBezTo>
                <a:cubicBezTo>
                  <a:pt x="10228" y="11870"/>
                  <a:pt x="10252" y="11819"/>
                  <a:pt x="10252" y="11757"/>
                </a:cubicBezTo>
                <a:cubicBezTo>
                  <a:pt x="10252" y="11694"/>
                  <a:pt x="10228" y="11644"/>
                  <a:pt x="10198" y="11644"/>
                </a:cubicBezTo>
                <a:close/>
                <a:moveTo>
                  <a:pt x="10813" y="11317"/>
                </a:moveTo>
                <a:cubicBezTo>
                  <a:pt x="10783" y="11317"/>
                  <a:pt x="10759" y="11367"/>
                  <a:pt x="10759" y="11430"/>
                </a:cubicBezTo>
                <a:cubicBezTo>
                  <a:pt x="10759" y="11492"/>
                  <a:pt x="10783" y="11543"/>
                  <a:pt x="10813" y="11543"/>
                </a:cubicBezTo>
                <a:cubicBezTo>
                  <a:pt x="10843" y="11543"/>
                  <a:pt x="10867" y="11492"/>
                  <a:pt x="10867" y="11430"/>
                </a:cubicBezTo>
                <a:cubicBezTo>
                  <a:pt x="10867" y="11367"/>
                  <a:pt x="10843" y="11317"/>
                  <a:pt x="10813" y="11317"/>
                </a:cubicBezTo>
                <a:close/>
                <a:moveTo>
                  <a:pt x="10813" y="10990"/>
                </a:moveTo>
                <a:cubicBezTo>
                  <a:pt x="10783" y="10990"/>
                  <a:pt x="10759" y="11041"/>
                  <a:pt x="10759" y="11103"/>
                </a:cubicBezTo>
                <a:cubicBezTo>
                  <a:pt x="10759" y="11166"/>
                  <a:pt x="10783" y="11216"/>
                  <a:pt x="10813" y="11216"/>
                </a:cubicBezTo>
                <a:cubicBezTo>
                  <a:pt x="10843" y="11216"/>
                  <a:pt x="10867" y="11166"/>
                  <a:pt x="10867" y="11103"/>
                </a:cubicBezTo>
                <a:cubicBezTo>
                  <a:pt x="10867" y="11041"/>
                  <a:pt x="10843" y="10990"/>
                  <a:pt x="10813" y="10990"/>
                </a:cubicBezTo>
                <a:close/>
                <a:moveTo>
                  <a:pt x="10660" y="11317"/>
                </a:moveTo>
                <a:cubicBezTo>
                  <a:pt x="10631" y="11317"/>
                  <a:pt x="10607" y="11367"/>
                  <a:pt x="10607" y="11430"/>
                </a:cubicBezTo>
                <a:cubicBezTo>
                  <a:pt x="10607" y="11492"/>
                  <a:pt x="10631" y="11543"/>
                  <a:pt x="10660" y="11543"/>
                </a:cubicBezTo>
                <a:cubicBezTo>
                  <a:pt x="10690" y="11543"/>
                  <a:pt x="10714" y="11492"/>
                  <a:pt x="10714" y="11430"/>
                </a:cubicBezTo>
                <a:cubicBezTo>
                  <a:pt x="10714" y="11367"/>
                  <a:pt x="10690" y="11317"/>
                  <a:pt x="10660" y="11317"/>
                </a:cubicBezTo>
                <a:close/>
                <a:moveTo>
                  <a:pt x="10660" y="10990"/>
                </a:moveTo>
                <a:cubicBezTo>
                  <a:pt x="10631" y="10990"/>
                  <a:pt x="10607" y="11041"/>
                  <a:pt x="10607" y="11103"/>
                </a:cubicBezTo>
                <a:cubicBezTo>
                  <a:pt x="10607" y="11166"/>
                  <a:pt x="10631" y="11216"/>
                  <a:pt x="10660" y="11216"/>
                </a:cubicBezTo>
                <a:cubicBezTo>
                  <a:pt x="10690" y="11216"/>
                  <a:pt x="10714" y="11166"/>
                  <a:pt x="10714" y="11103"/>
                </a:cubicBezTo>
                <a:cubicBezTo>
                  <a:pt x="10714" y="11041"/>
                  <a:pt x="10690" y="10990"/>
                  <a:pt x="10660" y="10990"/>
                </a:cubicBezTo>
                <a:close/>
                <a:moveTo>
                  <a:pt x="10505" y="11317"/>
                </a:moveTo>
                <a:cubicBezTo>
                  <a:pt x="10475" y="11317"/>
                  <a:pt x="10451" y="11367"/>
                  <a:pt x="10451" y="11430"/>
                </a:cubicBezTo>
                <a:cubicBezTo>
                  <a:pt x="10451" y="11492"/>
                  <a:pt x="10475" y="11543"/>
                  <a:pt x="10505" y="11543"/>
                </a:cubicBezTo>
                <a:cubicBezTo>
                  <a:pt x="10535" y="11543"/>
                  <a:pt x="10559" y="11492"/>
                  <a:pt x="10559" y="11430"/>
                </a:cubicBezTo>
                <a:cubicBezTo>
                  <a:pt x="10559" y="11367"/>
                  <a:pt x="10535" y="11317"/>
                  <a:pt x="10505" y="11317"/>
                </a:cubicBezTo>
                <a:close/>
                <a:moveTo>
                  <a:pt x="10505" y="10990"/>
                </a:moveTo>
                <a:cubicBezTo>
                  <a:pt x="10475" y="10990"/>
                  <a:pt x="10451" y="11041"/>
                  <a:pt x="10451" y="11103"/>
                </a:cubicBezTo>
                <a:cubicBezTo>
                  <a:pt x="10451" y="11166"/>
                  <a:pt x="10475" y="11216"/>
                  <a:pt x="10505" y="11216"/>
                </a:cubicBezTo>
                <a:cubicBezTo>
                  <a:pt x="10535" y="11216"/>
                  <a:pt x="10559" y="11166"/>
                  <a:pt x="10559" y="11103"/>
                </a:cubicBezTo>
                <a:cubicBezTo>
                  <a:pt x="10559" y="11041"/>
                  <a:pt x="10535" y="10990"/>
                  <a:pt x="10505" y="10990"/>
                </a:cubicBezTo>
                <a:close/>
                <a:moveTo>
                  <a:pt x="10351" y="11317"/>
                </a:moveTo>
                <a:cubicBezTo>
                  <a:pt x="10321" y="11317"/>
                  <a:pt x="10297" y="11367"/>
                  <a:pt x="10297" y="11430"/>
                </a:cubicBezTo>
                <a:cubicBezTo>
                  <a:pt x="10297" y="11492"/>
                  <a:pt x="10321" y="11543"/>
                  <a:pt x="10351" y="11543"/>
                </a:cubicBezTo>
                <a:cubicBezTo>
                  <a:pt x="10381" y="11543"/>
                  <a:pt x="10405" y="11492"/>
                  <a:pt x="10405" y="11430"/>
                </a:cubicBezTo>
                <a:cubicBezTo>
                  <a:pt x="10405" y="11367"/>
                  <a:pt x="10381" y="11317"/>
                  <a:pt x="10351" y="11317"/>
                </a:cubicBezTo>
                <a:close/>
                <a:moveTo>
                  <a:pt x="10351" y="10990"/>
                </a:moveTo>
                <a:cubicBezTo>
                  <a:pt x="10321" y="10990"/>
                  <a:pt x="10297" y="11041"/>
                  <a:pt x="10297" y="11103"/>
                </a:cubicBezTo>
                <a:cubicBezTo>
                  <a:pt x="10297" y="11166"/>
                  <a:pt x="10321" y="11216"/>
                  <a:pt x="10351" y="11216"/>
                </a:cubicBezTo>
                <a:cubicBezTo>
                  <a:pt x="10381" y="11216"/>
                  <a:pt x="10405" y="11166"/>
                  <a:pt x="10405" y="11103"/>
                </a:cubicBezTo>
                <a:cubicBezTo>
                  <a:pt x="10405" y="11041"/>
                  <a:pt x="10381" y="10990"/>
                  <a:pt x="10351" y="10990"/>
                </a:cubicBezTo>
                <a:close/>
                <a:moveTo>
                  <a:pt x="10198" y="11317"/>
                </a:moveTo>
                <a:cubicBezTo>
                  <a:pt x="10169" y="11317"/>
                  <a:pt x="10145" y="11367"/>
                  <a:pt x="10145" y="11430"/>
                </a:cubicBezTo>
                <a:cubicBezTo>
                  <a:pt x="10145" y="11492"/>
                  <a:pt x="10169" y="11543"/>
                  <a:pt x="10198" y="11543"/>
                </a:cubicBezTo>
                <a:cubicBezTo>
                  <a:pt x="10228" y="11543"/>
                  <a:pt x="10252" y="11492"/>
                  <a:pt x="10252" y="11430"/>
                </a:cubicBezTo>
                <a:cubicBezTo>
                  <a:pt x="10252" y="11367"/>
                  <a:pt x="10228" y="11317"/>
                  <a:pt x="10198" y="11317"/>
                </a:cubicBezTo>
                <a:close/>
                <a:moveTo>
                  <a:pt x="10198" y="10990"/>
                </a:moveTo>
                <a:cubicBezTo>
                  <a:pt x="10169" y="10990"/>
                  <a:pt x="10145" y="11041"/>
                  <a:pt x="10145" y="11103"/>
                </a:cubicBezTo>
                <a:cubicBezTo>
                  <a:pt x="10145" y="11166"/>
                  <a:pt x="10169" y="11216"/>
                  <a:pt x="10198" y="11216"/>
                </a:cubicBezTo>
                <a:cubicBezTo>
                  <a:pt x="10228" y="11216"/>
                  <a:pt x="10252" y="11166"/>
                  <a:pt x="10252" y="11103"/>
                </a:cubicBezTo>
                <a:cubicBezTo>
                  <a:pt x="10252" y="11041"/>
                  <a:pt x="10228" y="10990"/>
                  <a:pt x="10198" y="10990"/>
                </a:cubicBezTo>
                <a:close/>
                <a:moveTo>
                  <a:pt x="10813" y="10680"/>
                </a:moveTo>
                <a:cubicBezTo>
                  <a:pt x="10783" y="10680"/>
                  <a:pt x="10759" y="10731"/>
                  <a:pt x="10759" y="10793"/>
                </a:cubicBezTo>
                <a:cubicBezTo>
                  <a:pt x="10759" y="10856"/>
                  <a:pt x="10783" y="10906"/>
                  <a:pt x="10813" y="10906"/>
                </a:cubicBezTo>
                <a:cubicBezTo>
                  <a:pt x="10843" y="10906"/>
                  <a:pt x="10867" y="10856"/>
                  <a:pt x="10867" y="10793"/>
                </a:cubicBezTo>
                <a:cubicBezTo>
                  <a:pt x="10867" y="10731"/>
                  <a:pt x="10843" y="10680"/>
                  <a:pt x="10813" y="10680"/>
                </a:cubicBezTo>
                <a:close/>
                <a:moveTo>
                  <a:pt x="10813" y="10353"/>
                </a:moveTo>
                <a:cubicBezTo>
                  <a:pt x="10783" y="10353"/>
                  <a:pt x="10759" y="10404"/>
                  <a:pt x="10759" y="10466"/>
                </a:cubicBezTo>
                <a:cubicBezTo>
                  <a:pt x="10759" y="10529"/>
                  <a:pt x="10783" y="10580"/>
                  <a:pt x="10813" y="10580"/>
                </a:cubicBezTo>
                <a:cubicBezTo>
                  <a:pt x="10843" y="10580"/>
                  <a:pt x="10867" y="10529"/>
                  <a:pt x="10867" y="10466"/>
                </a:cubicBezTo>
                <a:cubicBezTo>
                  <a:pt x="10867" y="10404"/>
                  <a:pt x="10843" y="10353"/>
                  <a:pt x="10813" y="10353"/>
                </a:cubicBezTo>
                <a:close/>
                <a:moveTo>
                  <a:pt x="10660" y="10680"/>
                </a:moveTo>
                <a:cubicBezTo>
                  <a:pt x="10631" y="10680"/>
                  <a:pt x="10607" y="10731"/>
                  <a:pt x="10607" y="10793"/>
                </a:cubicBezTo>
                <a:cubicBezTo>
                  <a:pt x="10607" y="10856"/>
                  <a:pt x="10631" y="10906"/>
                  <a:pt x="10660" y="10906"/>
                </a:cubicBezTo>
                <a:cubicBezTo>
                  <a:pt x="10690" y="10906"/>
                  <a:pt x="10714" y="10856"/>
                  <a:pt x="10714" y="10793"/>
                </a:cubicBezTo>
                <a:cubicBezTo>
                  <a:pt x="10714" y="10731"/>
                  <a:pt x="10690" y="10680"/>
                  <a:pt x="10660" y="10680"/>
                </a:cubicBezTo>
                <a:close/>
                <a:moveTo>
                  <a:pt x="10660" y="10353"/>
                </a:moveTo>
                <a:cubicBezTo>
                  <a:pt x="10631" y="10353"/>
                  <a:pt x="10607" y="10404"/>
                  <a:pt x="10607" y="10466"/>
                </a:cubicBezTo>
                <a:cubicBezTo>
                  <a:pt x="10607" y="10529"/>
                  <a:pt x="10631" y="10580"/>
                  <a:pt x="10660" y="10580"/>
                </a:cubicBezTo>
                <a:cubicBezTo>
                  <a:pt x="10690" y="10580"/>
                  <a:pt x="10714" y="10529"/>
                  <a:pt x="10714" y="10466"/>
                </a:cubicBezTo>
                <a:cubicBezTo>
                  <a:pt x="10714" y="10404"/>
                  <a:pt x="10690" y="10353"/>
                  <a:pt x="10660" y="10353"/>
                </a:cubicBezTo>
                <a:close/>
                <a:moveTo>
                  <a:pt x="10505" y="10680"/>
                </a:moveTo>
                <a:cubicBezTo>
                  <a:pt x="10475" y="10680"/>
                  <a:pt x="10451" y="10731"/>
                  <a:pt x="10451" y="10793"/>
                </a:cubicBezTo>
                <a:cubicBezTo>
                  <a:pt x="10451" y="10856"/>
                  <a:pt x="10475" y="10906"/>
                  <a:pt x="10505" y="10906"/>
                </a:cubicBezTo>
                <a:cubicBezTo>
                  <a:pt x="10535" y="10906"/>
                  <a:pt x="10559" y="10856"/>
                  <a:pt x="10559" y="10793"/>
                </a:cubicBezTo>
                <a:cubicBezTo>
                  <a:pt x="10559" y="10731"/>
                  <a:pt x="10535" y="10680"/>
                  <a:pt x="10505" y="10680"/>
                </a:cubicBezTo>
                <a:close/>
                <a:moveTo>
                  <a:pt x="10505" y="10353"/>
                </a:moveTo>
                <a:cubicBezTo>
                  <a:pt x="10475" y="10353"/>
                  <a:pt x="10451" y="10404"/>
                  <a:pt x="10451" y="10466"/>
                </a:cubicBezTo>
                <a:cubicBezTo>
                  <a:pt x="10451" y="10529"/>
                  <a:pt x="10475" y="10580"/>
                  <a:pt x="10505" y="10580"/>
                </a:cubicBezTo>
                <a:cubicBezTo>
                  <a:pt x="10535" y="10580"/>
                  <a:pt x="10559" y="10529"/>
                  <a:pt x="10559" y="10466"/>
                </a:cubicBezTo>
                <a:cubicBezTo>
                  <a:pt x="10559" y="10404"/>
                  <a:pt x="10535" y="10353"/>
                  <a:pt x="10505" y="10353"/>
                </a:cubicBezTo>
                <a:close/>
                <a:moveTo>
                  <a:pt x="10351" y="10680"/>
                </a:moveTo>
                <a:cubicBezTo>
                  <a:pt x="10321" y="10680"/>
                  <a:pt x="10297" y="10731"/>
                  <a:pt x="10297" y="10793"/>
                </a:cubicBezTo>
                <a:cubicBezTo>
                  <a:pt x="10297" y="10856"/>
                  <a:pt x="10321" y="10906"/>
                  <a:pt x="10351" y="10906"/>
                </a:cubicBezTo>
                <a:cubicBezTo>
                  <a:pt x="10381" y="10906"/>
                  <a:pt x="10405" y="10856"/>
                  <a:pt x="10405" y="10793"/>
                </a:cubicBezTo>
                <a:cubicBezTo>
                  <a:pt x="10405" y="10731"/>
                  <a:pt x="10381" y="10680"/>
                  <a:pt x="10351" y="10680"/>
                </a:cubicBezTo>
                <a:close/>
                <a:moveTo>
                  <a:pt x="10351" y="10353"/>
                </a:moveTo>
                <a:cubicBezTo>
                  <a:pt x="10321" y="10353"/>
                  <a:pt x="10297" y="10404"/>
                  <a:pt x="10297" y="10466"/>
                </a:cubicBezTo>
                <a:cubicBezTo>
                  <a:pt x="10297" y="10529"/>
                  <a:pt x="10321" y="10580"/>
                  <a:pt x="10351" y="10580"/>
                </a:cubicBezTo>
                <a:cubicBezTo>
                  <a:pt x="10381" y="10580"/>
                  <a:pt x="10405" y="10529"/>
                  <a:pt x="10405" y="10466"/>
                </a:cubicBezTo>
                <a:cubicBezTo>
                  <a:pt x="10405" y="10404"/>
                  <a:pt x="10381" y="10353"/>
                  <a:pt x="10351" y="10353"/>
                </a:cubicBezTo>
                <a:close/>
                <a:moveTo>
                  <a:pt x="10198" y="10680"/>
                </a:moveTo>
                <a:cubicBezTo>
                  <a:pt x="10169" y="10680"/>
                  <a:pt x="10145" y="10731"/>
                  <a:pt x="10145" y="10793"/>
                </a:cubicBezTo>
                <a:cubicBezTo>
                  <a:pt x="10145" y="10856"/>
                  <a:pt x="10169" y="10906"/>
                  <a:pt x="10198" y="10906"/>
                </a:cubicBezTo>
                <a:cubicBezTo>
                  <a:pt x="10228" y="10906"/>
                  <a:pt x="10252" y="10856"/>
                  <a:pt x="10252" y="10793"/>
                </a:cubicBezTo>
                <a:cubicBezTo>
                  <a:pt x="10252" y="10731"/>
                  <a:pt x="10228" y="10680"/>
                  <a:pt x="10198" y="10680"/>
                </a:cubicBezTo>
                <a:close/>
                <a:moveTo>
                  <a:pt x="10198" y="10353"/>
                </a:moveTo>
                <a:cubicBezTo>
                  <a:pt x="10169" y="10353"/>
                  <a:pt x="10145" y="10404"/>
                  <a:pt x="10145" y="10466"/>
                </a:cubicBezTo>
                <a:cubicBezTo>
                  <a:pt x="10145" y="10529"/>
                  <a:pt x="10169" y="10580"/>
                  <a:pt x="10198" y="10580"/>
                </a:cubicBezTo>
                <a:cubicBezTo>
                  <a:pt x="10228" y="10580"/>
                  <a:pt x="10252" y="10529"/>
                  <a:pt x="10252" y="10466"/>
                </a:cubicBezTo>
                <a:cubicBezTo>
                  <a:pt x="10252" y="10404"/>
                  <a:pt x="10228" y="10353"/>
                  <a:pt x="10198" y="10353"/>
                </a:cubicBezTo>
                <a:close/>
                <a:moveTo>
                  <a:pt x="10813" y="10026"/>
                </a:moveTo>
                <a:cubicBezTo>
                  <a:pt x="10783" y="10026"/>
                  <a:pt x="10759" y="10077"/>
                  <a:pt x="10759" y="10140"/>
                </a:cubicBezTo>
                <a:cubicBezTo>
                  <a:pt x="10759" y="10202"/>
                  <a:pt x="10783" y="10253"/>
                  <a:pt x="10813" y="10253"/>
                </a:cubicBezTo>
                <a:cubicBezTo>
                  <a:pt x="10843" y="10253"/>
                  <a:pt x="10867" y="10202"/>
                  <a:pt x="10867" y="10140"/>
                </a:cubicBezTo>
                <a:cubicBezTo>
                  <a:pt x="10867" y="10077"/>
                  <a:pt x="10843" y="10026"/>
                  <a:pt x="10813" y="10026"/>
                </a:cubicBezTo>
                <a:close/>
                <a:moveTo>
                  <a:pt x="10813" y="9700"/>
                </a:moveTo>
                <a:cubicBezTo>
                  <a:pt x="10783" y="9700"/>
                  <a:pt x="10759" y="9750"/>
                  <a:pt x="10759" y="9813"/>
                </a:cubicBezTo>
                <a:cubicBezTo>
                  <a:pt x="10759" y="9875"/>
                  <a:pt x="10783" y="9926"/>
                  <a:pt x="10813" y="9926"/>
                </a:cubicBezTo>
                <a:cubicBezTo>
                  <a:pt x="10843" y="9926"/>
                  <a:pt x="10867" y="9875"/>
                  <a:pt x="10867" y="9813"/>
                </a:cubicBezTo>
                <a:cubicBezTo>
                  <a:pt x="10867" y="9750"/>
                  <a:pt x="10843" y="9700"/>
                  <a:pt x="10813" y="9700"/>
                </a:cubicBezTo>
                <a:close/>
                <a:moveTo>
                  <a:pt x="10660" y="10026"/>
                </a:moveTo>
                <a:cubicBezTo>
                  <a:pt x="10631" y="10026"/>
                  <a:pt x="10607" y="10077"/>
                  <a:pt x="10607" y="10140"/>
                </a:cubicBezTo>
                <a:cubicBezTo>
                  <a:pt x="10607" y="10202"/>
                  <a:pt x="10631" y="10253"/>
                  <a:pt x="10660" y="10253"/>
                </a:cubicBezTo>
                <a:cubicBezTo>
                  <a:pt x="10690" y="10253"/>
                  <a:pt x="10714" y="10202"/>
                  <a:pt x="10714" y="10140"/>
                </a:cubicBezTo>
                <a:cubicBezTo>
                  <a:pt x="10714" y="10077"/>
                  <a:pt x="10690" y="10026"/>
                  <a:pt x="10660" y="10026"/>
                </a:cubicBezTo>
                <a:close/>
                <a:moveTo>
                  <a:pt x="10660" y="9700"/>
                </a:moveTo>
                <a:cubicBezTo>
                  <a:pt x="10631" y="9700"/>
                  <a:pt x="10607" y="9750"/>
                  <a:pt x="10607" y="9813"/>
                </a:cubicBezTo>
                <a:cubicBezTo>
                  <a:pt x="10607" y="9875"/>
                  <a:pt x="10631" y="9926"/>
                  <a:pt x="10660" y="9926"/>
                </a:cubicBezTo>
                <a:cubicBezTo>
                  <a:pt x="10690" y="9926"/>
                  <a:pt x="10714" y="9875"/>
                  <a:pt x="10714" y="9813"/>
                </a:cubicBezTo>
                <a:cubicBezTo>
                  <a:pt x="10714" y="9750"/>
                  <a:pt x="10690" y="9700"/>
                  <a:pt x="10660" y="9700"/>
                </a:cubicBezTo>
                <a:close/>
                <a:moveTo>
                  <a:pt x="10505" y="10026"/>
                </a:moveTo>
                <a:cubicBezTo>
                  <a:pt x="10475" y="10026"/>
                  <a:pt x="10451" y="10077"/>
                  <a:pt x="10451" y="10140"/>
                </a:cubicBezTo>
                <a:cubicBezTo>
                  <a:pt x="10451" y="10202"/>
                  <a:pt x="10475" y="10253"/>
                  <a:pt x="10505" y="10253"/>
                </a:cubicBezTo>
                <a:cubicBezTo>
                  <a:pt x="10535" y="10253"/>
                  <a:pt x="10559" y="10202"/>
                  <a:pt x="10559" y="10140"/>
                </a:cubicBezTo>
                <a:cubicBezTo>
                  <a:pt x="10559" y="10077"/>
                  <a:pt x="10535" y="10026"/>
                  <a:pt x="10505" y="10026"/>
                </a:cubicBezTo>
                <a:close/>
                <a:moveTo>
                  <a:pt x="10505" y="9700"/>
                </a:moveTo>
                <a:cubicBezTo>
                  <a:pt x="10475" y="9700"/>
                  <a:pt x="10451" y="9750"/>
                  <a:pt x="10451" y="9813"/>
                </a:cubicBezTo>
                <a:cubicBezTo>
                  <a:pt x="10451" y="9875"/>
                  <a:pt x="10475" y="9926"/>
                  <a:pt x="10505" y="9926"/>
                </a:cubicBezTo>
                <a:cubicBezTo>
                  <a:pt x="10535" y="9926"/>
                  <a:pt x="10559" y="9875"/>
                  <a:pt x="10559" y="9813"/>
                </a:cubicBezTo>
                <a:cubicBezTo>
                  <a:pt x="10559" y="9750"/>
                  <a:pt x="10535" y="9700"/>
                  <a:pt x="10505" y="9700"/>
                </a:cubicBezTo>
                <a:close/>
                <a:moveTo>
                  <a:pt x="10351" y="10026"/>
                </a:moveTo>
                <a:cubicBezTo>
                  <a:pt x="10321" y="10026"/>
                  <a:pt x="10297" y="10077"/>
                  <a:pt x="10297" y="10140"/>
                </a:cubicBezTo>
                <a:cubicBezTo>
                  <a:pt x="10297" y="10202"/>
                  <a:pt x="10321" y="10253"/>
                  <a:pt x="10351" y="10253"/>
                </a:cubicBezTo>
                <a:cubicBezTo>
                  <a:pt x="10381" y="10253"/>
                  <a:pt x="10405" y="10202"/>
                  <a:pt x="10405" y="10140"/>
                </a:cubicBezTo>
                <a:cubicBezTo>
                  <a:pt x="10405" y="10077"/>
                  <a:pt x="10381" y="10026"/>
                  <a:pt x="10351" y="10026"/>
                </a:cubicBezTo>
                <a:close/>
                <a:moveTo>
                  <a:pt x="10351" y="9700"/>
                </a:moveTo>
                <a:cubicBezTo>
                  <a:pt x="10321" y="9700"/>
                  <a:pt x="10297" y="9750"/>
                  <a:pt x="10297" y="9813"/>
                </a:cubicBezTo>
                <a:cubicBezTo>
                  <a:pt x="10297" y="9875"/>
                  <a:pt x="10321" y="9926"/>
                  <a:pt x="10351" y="9926"/>
                </a:cubicBezTo>
                <a:cubicBezTo>
                  <a:pt x="10381" y="9926"/>
                  <a:pt x="10405" y="9875"/>
                  <a:pt x="10405" y="9813"/>
                </a:cubicBezTo>
                <a:cubicBezTo>
                  <a:pt x="10405" y="9750"/>
                  <a:pt x="10381" y="9700"/>
                  <a:pt x="10351" y="9700"/>
                </a:cubicBezTo>
                <a:close/>
                <a:moveTo>
                  <a:pt x="10198" y="10026"/>
                </a:moveTo>
                <a:cubicBezTo>
                  <a:pt x="10169" y="10026"/>
                  <a:pt x="10145" y="10077"/>
                  <a:pt x="10145" y="10140"/>
                </a:cubicBezTo>
                <a:cubicBezTo>
                  <a:pt x="10145" y="10202"/>
                  <a:pt x="10169" y="10253"/>
                  <a:pt x="10198" y="10253"/>
                </a:cubicBezTo>
                <a:cubicBezTo>
                  <a:pt x="10228" y="10253"/>
                  <a:pt x="10252" y="10202"/>
                  <a:pt x="10252" y="10140"/>
                </a:cubicBezTo>
                <a:cubicBezTo>
                  <a:pt x="10252" y="10077"/>
                  <a:pt x="10228" y="10026"/>
                  <a:pt x="10198" y="10026"/>
                </a:cubicBezTo>
                <a:close/>
                <a:moveTo>
                  <a:pt x="10198" y="9700"/>
                </a:moveTo>
                <a:cubicBezTo>
                  <a:pt x="10169" y="9700"/>
                  <a:pt x="10145" y="9750"/>
                  <a:pt x="10145" y="9813"/>
                </a:cubicBezTo>
                <a:cubicBezTo>
                  <a:pt x="10145" y="9875"/>
                  <a:pt x="10169" y="9926"/>
                  <a:pt x="10198" y="9926"/>
                </a:cubicBezTo>
                <a:cubicBezTo>
                  <a:pt x="10228" y="9926"/>
                  <a:pt x="10252" y="9875"/>
                  <a:pt x="10252" y="9813"/>
                </a:cubicBezTo>
                <a:cubicBezTo>
                  <a:pt x="10252" y="9750"/>
                  <a:pt x="10228" y="9700"/>
                  <a:pt x="10198" y="9700"/>
                </a:cubicBezTo>
                <a:close/>
              </a:path>
            </a:pathLst>
          </a:custGeom>
          <a:solidFill>
            <a:srgbClr val="DCDFE1"/>
          </a:solidFill>
          <a:ln w="12700">
            <a:miter lim="400000"/>
          </a:ln>
        </p:spPr>
        <p:txBody>
          <a:bodyPr lIns="16002" tIns="16002" rIns="16002" bIns="16002" anchor="ctr"/>
          <a:lstStyle/>
          <a:p>
            <a:pPr defTabSz="192024">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a:p>
        </p:txBody>
      </p:sp>
      <p:grpSp>
        <p:nvGrpSpPr>
          <p:cNvPr id="221" name="Group 5773"/>
          <p:cNvGrpSpPr/>
          <p:nvPr/>
        </p:nvGrpSpPr>
        <p:grpSpPr>
          <a:xfrm>
            <a:off x="6048902" y="2768833"/>
            <a:ext cx="162165" cy="291144"/>
            <a:chOff x="0" y="0"/>
            <a:chExt cx="393128" cy="704567"/>
          </a:xfrm>
          <a:solidFill>
            <a:srgbClr val="CCFF66"/>
          </a:solidFill>
        </p:grpSpPr>
        <p:sp>
          <p:nvSpPr>
            <p:cNvPr id="222" name="Shape 5771"/>
            <p:cNvSpPr/>
            <p:nvPr/>
          </p:nvSpPr>
          <p:spPr>
            <a:xfrm>
              <a:off x="122779" y="556996"/>
              <a:ext cx="147571" cy="14757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grpFill/>
            <a:ln w="12700" cap="flat">
              <a:noFill/>
              <a:miter lim="400000"/>
            </a:ln>
            <a:effectLst/>
          </p:spPr>
          <p:txBody>
            <a:bodyPr wrap="square" lIns="0" tIns="0" rIns="0" bIns="0" numCol="1" anchor="ctr">
              <a:noAutofit/>
            </a:bodyPr>
            <a:lstStyle/>
            <a:p>
              <a:pPr lvl="0">
                <a:defRPr sz="3200"/>
              </a:pPr>
              <a:endParaRPr/>
            </a:p>
          </p:txBody>
        </p:sp>
        <p:sp>
          <p:nvSpPr>
            <p:cNvPr id="223" name="Shape 5772"/>
            <p:cNvSpPr/>
            <p:nvPr/>
          </p:nvSpPr>
          <p:spPr>
            <a:xfrm>
              <a:off x="-1" y="0"/>
              <a:ext cx="393130" cy="628336"/>
            </a:xfrm>
            <a:custGeom>
              <a:avLst/>
              <a:gdLst/>
              <a:ahLst/>
              <a:cxnLst>
                <a:cxn ang="0">
                  <a:pos x="wd2" y="hd2"/>
                </a:cxn>
                <a:cxn ang="5400000">
                  <a:pos x="wd2" y="hd2"/>
                </a:cxn>
                <a:cxn ang="10800000">
                  <a:pos x="wd2" y="hd2"/>
                </a:cxn>
                <a:cxn ang="16200000">
                  <a:pos x="wd2" y="hd2"/>
                </a:cxn>
              </a:cxnLst>
              <a:rect l="0" t="0" r="r" b="b"/>
              <a:pathLst>
                <a:path w="21600" h="21600" extrusionOk="0">
                  <a:moveTo>
                    <a:pt x="10800" y="10665"/>
                  </a:moveTo>
                  <a:cubicBezTo>
                    <a:pt x="7452" y="10665"/>
                    <a:pt x="4644" y="8977"/>
                    <a:pt x="4644" y="6818"/>
                  </a:cubicBezTo>
                  <a:cubicBezTo>
                    <a:pt x="4644" y="4725"/>
                    <a:pt x="7452" y="2970"/>
                    <a:pt x="10800" y="2970"/>
                  </a:cubicBezTo>
                  <a:cubicBezTo>
                    <a:pt x="14256" y="2970"/>
                    <a:pt x="17064" y="4725"/>
                    <a:pt x="17064" y="6818"/>
                  </a:cubicBezTo>
                  <a:cubicBezTo>
                    <a:pt x="17064" y="8977"/>
                    <a:pt x="14256" y="10665"/>
                    <a:pt x="10800" y="10665"/>
                  </a:cubicBezTo>
                  <a:close/>
                  <a:moveTo>
                    <a:pt x="10800" y="0"/>
                  </a:moveTo>
                  <a:cubicBezTo>
                    <a:pt x="4860" y="0"/>
                    <a:pt x="0" y="3037"/>
                    <a:pt x="0" y="6750"/>
                  </a:cubicBezTo>
                  <a:cubicBezTo>
                    <a:pt x="0" y="13162"/>
                    <a:pt x="10800" y="21600"/>
                    <a:pt x="10800" y="21600"/>
                  </a:cubicBezTo>
                  <a:cubicBezTo>
                    <a:pt x="10800" y="21600"/>
                    <a:pt x="21600" y="13162"/>
                    <a:pt x="21600" y="6750"/>
                  </a:cubicBezTo>
                  <a:cubicBezTo>
                    <a:pt x="21600" y="3037"/>
                    <a:pt x="16848" y="0"/>
                    <a:pt x="10800" y="0"/>
                  </a:cubicBezTo>
                  <a:close/>
                </a:path>
              </a:pathLst>
            </a:custGeom>
            <a:grpFill/>
            <a:ln w="12700" cap="flat">
              <a:noFill/>
              <a:miter lim="400000"/>
            </a:ln>
            <a:effectLst/>
          </p:spPr>
          <p:txBody>
            <a:bodyPr wrap="square" lIns="45719" tIns="45719" rIns="45719" bIns="45719" numCol="1" anchor="t">
              <a:noAutofit/>
            </a:bodyPr>
            <a:lstStyle/>
            <a:p>
              <a:pPr algn="l" defTabSz="384048">
                <a:defRPr sz="1800">
                  <a:uFill>
                    <a:solidFill/>
                  </a:uFill>
                  <a:latin typeface="Calibri"/>
                  <a:ea typeface="Calibri"/>
                  <a:cs typeface="Calibri"/>
                  <a:sym typeface="Calibri"/>
                </a:defRPr>
              </a:pPr>
              <a:endParaRPr/>
            </a:p>
          </p:txBody>
        </p:sp>
      </p:grpSp>
      <p:sp>
        <p:nvSpPr>
          <p:cNvPr id="224" name="TextBox 223"/>
          <p:cNvSpPr txBox="1"/>
          <p:nvPr/>
        </p:nvSpPr>
        <p:spPr>
          <a:xfrm>
            <a:off x="5769297" y="3073975"/>
            <a:ext cx="1317990" cy="369332"/>
          </a:xfrm>
          <a:prstGeom prst="rect">
            <a:avLst/>
          </a:prstGeom>
          <a:noFill/>
        </p:spPr>
        <p:txBody>
          <a:bodyPr wrap="none" rtlCol="0">
            <a:spAutoFit/>
          </a:bodyPr>
          <a:lstStyle/>
          <a:p>
            <a:r>
              <a:rPr lang="en-US" dirty="0" smtClean="0">
                <a:solidFill>
                  <a:srgbClr val="CCFF66"/>
                </a:solidFill>
              </a:rPr>
              <a:t>182 millions</a:t>
            </a:r>
            <a:endParaRPr lang="en-US" dirty="0">
              <a:solidFill>
                <a:srgbClr val="CCFF66"/>
              </a:solidFill>
            </a:endParaRPr>
          </a:p>
        </p:txBody>
      </p:sp>
      <p:grpSp>
        <p:nvGrpSpPr>
          <p:cNvPr id="225" name="Group 5803"/>
          <p:cNvGrpSpPr/>
          <p:nvPr/>
        </p:nvGrpSpPr>
        <p:grpSpPr>
          <a:xfrm>
            <a:off x="6300192" y="3573016"/>
            <a:ext cx="162166" cy="291144"/>
            <a:chOff x="0" y="0"/>
            <a:chExt cx="393128" cy="704567"/>
          </a:xfrm>
        </p:grpSpPr>
        <p:sp>
          <p:nvSpPr>
            <p:cNvPr id="226" name="Shape 5801"/>
            <p:cNvSpPr/>
            <p:nvPr/>
          </p:nvSpPr>
          <p:spPr>
            <a:xfrm>
              <a:off x="122779" y="556996"/>
              <a:ext cx="147571" cy="14757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212830"/>
            </a:solidFill>
            <a:ln w="12700" cap="flat">
              <a:noFill/>
              <a:miter lim="400000"/>
            </a:ln>
            <a:effectLst/>
          </p:spPr>
          <p:txBody>
            <a:bodyPr wrap="square" lIns="0" tIns="0" rIns="0" bIns="0" numCol="1" anchor="ctr">
              <a:noAutofit/>
            </a:bodyPr>
            <a:lstStyle/>
            <a:p>
              <a:pPr lvl="0">
                <a:defRPr sz="3200"/>
              </a:pPr>
              <a:endParaRPr/>
            </a:p>
          </p:txBody>
        </p:sp>
        <p:sp>
          <p:nvSpPr>
            <p:cNvPr id="227" name="Shape 5802"/>
            <p:cNvSpPr/>
            <p:nvPr/>
          </p:nvSpPr>
          <p:spPr>
            <a:xfrm>
              <a:off x="-1" y="0"/>
              <a:ext cx="393130" cy="628336"/>
            </a:xfrm>
            <a:custGeom>
              <a:avLst/>
              <a:gdLst/>
              <a:ahLst/>
              <a:cxnLst>
                <a:cxn ang="0">
                  <a:pos x="wd2" y="hd2"/>
                </a:cxn>
                <a:cxn ang="5400000">
                  <a:pos x="wd2" y="hd2"/>
                </a:cxn>
                <a:cxn ang="10800000">
                  <a:pos x="wd2" y="hd2"/>
                </a:cxn>
                <a:cxn ang="16200000">
                  <a:pos x="wd2" y="hd2"/>
                </a:cxn>
              </a:cxnLst>
              <a:rect l="0" t="0" r="r" b="b"/>
              <a:pathLst>
                <a:path w="21600" h="21600" extrusionOk="0">
                  <a:moveTo>
                    <a:pt x="10800" y="10665"/>
                  </a:moveTo>
                  <a:cubicBezTo>
                    <a:pt x="7452" y="10665"/>
                    <a:pt x="4644" y="8977"/>
                    <a:pt x="4644" y="6818"/>
                  </a:cubicBezTo>
                  <a:cubicBezTo>
                    <a:pt x="4644" y="4725"/>
                    <a:pt x="7452" y="2970"/>
                    <a:pt x="10800" y="2970"/>
                  </a:cubicBezTo>
                  <a:cubicBezTo>
                    <a:pt x="14256" y="2970"/>
                    <a:pt x="17064" y="4725"/>
                    <a:pt x="17064" y="6818"/>
                  </a:cubicBezTo>
                  <a:cubicBezTo>
                    <a:pt x="17064" y="8977"/>
                    <a:pt x="14256" y="10665"/>
                    <a:pt x="10800" y="10665"/>
                  </a:cubicBezTo>
                  <a:close/>
                  <a:moveTo>
                    <a:pt x="10800" y="0"/>
                  </a:moveTo>
                  <a:cubicBezTo>
                    <a:pt x="4860" y="0"/>
                    <a:pt x="0" y="3037"/>
                    <a:pt x="0" y="6750"/>
                  </a:cubicBezTo>
                  <a:cubicBezTo>
                    <a:pt x="0" y="13162"/>
                    <a:pt x="10800" y="21600"/>
                    <a:pt x="10800" y="21600"/>
                  </a:cubicBezTo>
                  <a:cubicBezTo>
                    <a:pt x="10800" y="21600"/>
                    <a:pt x="21600" y="13162"/>
                    <a:pt x="21600" y="6750"/>
                  </a:cubicBezTo>
                  <a:cubicBezTo>
                    <a:pt x="21600" y="3037"/>
                    <a:pt x="16848" y="0"/>
                    <a:pt x="10800" y="0"/>
                  </a:cubicBezTo>
                  <a:close/>
                </a:path>
              </a:pathLst>
            </a:custGeom>
            <a:solidFill>
              <a:schemeClr val="accent5"/>
            </a:solidFill>
            <a:ln w="12700" cap="flat">
              <a:noFill/>
              <a:miter lim="400000"/>
            </a:ln>
            <a:effectLst/>
          </p:spPr>
          <p:txBody>
            <a:bodyPr wrap="square" lIns="45719" tIns="45719" rIns="45719" bIns="45719" numCol="1" anchor="t">
              <a:noAutofit/>
            </a:bodyPr>
            <a:lstStyle/>
            <a:p>
              <a:pPr algn="l" defTabSz="384048">
                <a:defRPr sz="1800">
                  <a:uFill>
                    <a:solidFill/>
                  </a:uFill>
                  <a:latin typeface="Calibri"/>
                  <a:ea typeface="Calibri"/>
                  <a:cs typeface="Calibri"/>
                  <a:sym typeface="Calibri"/>
                </a:defRPr>
              </a:pPr>
              <a:endParaRPr/>
            </a:p>
          </p:txBody>
        </p:sp>
      </p:grpSp>
      <p:sp>
        <p:nvSpPr>
          <p:cNvPr id="229" name="TextBox 228"/>
          <p:cNvSpPr txBox="1"/>
          <p:nvPr/>
        </p:nvSpPr>
        <p:spPr>
          <a:xfrm>
            <a:off x="5796136" y="3851756"/>
            <a:ext cx="1200970" cy="369332"/>
          </a:xfrm>
          <a:prstGeom prst="rect">
            <a:avLst/>
          </a:prstGeom>
          <a:noFill/>
        </p:spPr>
        <p:txBody>
          <a:bodyPr wrap="none" rtlCol="0">
            <a:spAutoFit/>
          </a:bodyPr>
          <a:lstStyle/>
          <a:p>
            <a:r>
              <a:rPr lang="en-US" dirty="0" smtClean="0">
                <a:solidFill>
                  <a:srgbClr val="00FFFF"/>
                </a:solidFill>
              </a:rPr>
              <a:t>97 millions</a:t>
            </a:r>
            <a:endParaRPr lang="en-US" dirty="0">
              <a:solidFill>
                <a:srgbClr val="00FFFF"/>
              </a:solidFill>
            </a:endParaRPr>
          </a:p>
        </p:txBody>
      </p:sp>
      <p:grpSp>
        <p:nvGrpSpPr>
          <p:cNvPr id="230" name="Group 5845"/>
          <p:cNvGrpSpPr/>
          <p:nvPr/>
        </p:nvGrpSpPr>
        <p:grpSpPr>
          <a:xfrm>
            <a:off x="7092280" y="2777815"/>
            <a:ext cx="162165" cy="291145"/>
            <a:chOff x="0" y="0"/>
            <a:chExt cx="393128" cy="704567"/>
          </a:xfrm>
        </p:grpSpPr>
        <p:sp>
          <p:nvSpPr>
            <p:cNvPr id="231" name="Shape 5843"/>
            <p:cNvSpPr/>
            <p:nvPr/>
          </p:nvSpPr>
          <p:spPr>
            <a:xfrm>
              <a:off x="122779" y="556996"/>
              <a:ext cx="147571" cy="14757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212830"/>
            </a:solidFill>
            <a:ln w="12700" cap="flat">
              <a:noFill/>
              <a:miter lim="400000"/>
            </a:ln>
            <a:effectLst/>
          </p:spPr>
          <p:txBody>
            <a:bodyPr wrap="square" lIns="0" tIns="0" rIns="0" bIns="0" numCol="1" anchor="ctr">
              <a:noAutofit/>
            </a:bodyPr>
            <a:lstStyle/>
            <a:p>
              <a:pPr lvl="0">
                <a:defRPr sz="3200"/>
              </a:pPr>
              <a:endParaRPr/>
            </a:p>
          </p:txBody>
        </p:sp>
        <p:sp>
          <p:nvSpPr>
            <p:cNvPr id="232" name="Shape 5844"/>
            <p:cNvSpPr/>
            <p:nvPr/>
          </p:nvSpPr>
          <p:spPr>
            <a:xfrm>
              <a:off x="-1" y="0"/>
              <a:ext cx="393130" cy="628336"/>
            </a:xfrm>
            <a:custGeom>
              <a:avLst/>
              <a:gdLst/>
              <a:ahLst/>
              <a:cxnLst>
                <a:cxn ang="0">
                  <a:pos x="wd2" y="hd2"/>
                </a:cxn>
                <a:cxn ang="5400000">
                  <a:pos x="wd2" y="hd2"/>
                </a:cxn>
                <a:cxn ang="10800000">
                  <a:pos x="wd2" y="hd2"/>
                </a:cxn>
                <a:cxn ang="16200000">
                  <a:pos x="wd2" y="hd2"/>
                </a:cxn>
              </a:cxnLst>
              <a:rect l="0" t="0" r="r" b="b"/>
              <a:pathLst>
                <a:path w="21600" h="21600" extrusionOk="0">
                  <a:moveTo>
                    <a:pt x="10800" y="10665"/>
                  </a:moveTo>
                  <a:cubicBezTo>
                    <a:pt x="7452" y="10665"/>
                    <a:pt x="4644" y="8977"/>
                    <a:pt x="4644" y="6818"/>
                  </a:cubicBezTo>
                  <a:cubicBezTo>
                    <a:pt x="4644" y="4725"/>
                    <a:pt x="7452" y="2970"/>
                    <a:pt x="10800" y="2970"/>
                  </a:cubicBezTo>
                  <a:cubicBezTo>
                    <a:pt x="14256" y="2970"/>
                    <a:pt x="17064" y="4725"/>
                    <a:pt x="17064" y="6818"/>
                  </a:cubicBezTo>
                  <a:cubicBezTo>
                    <a:pt x="17064" y="8977"/>
                    <a:pt x="14256" y="10665"/>
                    <a:pt x="10800" y="10665"/>
                  </a:cubicBezTo>
                  <a:close/>
                  <a:moveTo>
                    <a:pt x="10800" y="0"/>
                  </a:moveTo>
                  <a:cubicBezTo>
                    <a:pt x="4860" y="0"/>
                    <a:pt x="0" y="3037"/>
                    <a:pt x="0" y="6750"/>
                  </a:cubicBezTo>
                  <a:cubicBezTo>
                    <a:pt x="0" y="13162"/>
                    <a:pt x="10800" y="21600"/>
                    <a:pt x="10800" y="21600"/>
                  </a:cubicBezTo>
                  <a:cubicBezTo>
                    <a:pt x="10800" y="21600"/>
                    <a:pt x="21600" y="13162"/>
                    <a:pt x="21600" y="6750"/>
                  </a:cubicBezTo>
                  <a:cubicBezTo>
                    <a:pt x="21600" y="3037"/>
                    <a:pt x="16848" y="0"/>
                    <a:pt x="10800" y="0"/>
                  </a:cubicBezTo>
                  <a:close/>
                </a:path>
              </a:pathLst>
            </a:custGeom>
            <a:solidFill>
              <a:schemeClr val="accent4"/>
            </a:solidFill>
            <a:ln w="12700" cap="flat">
              <a:noFill/>
              <a:miter lim="400000"/>
            </a:ln>
            <a:effectLst/>
          </p:spPr>
          <p:txBody>
            <a:bodyPr wrap="square" lIns="45719" tIns="45719" rIns="45719" bIns="45719" numCol="1" anchor="t">
              <a:noAutofit/>
            </a:bodyPr>
            <a:lstStyle/>
            <a:p>
              <a:pPr algn="l" defTabSz="384048">
                <a:defRPr sz="1800">
                  <a:uFill>
                    <a:solidFill/>
                  </a:uFill>
                  <a:latin typeface="Calibri"/>
                  <a:ea typeface="Calibri"/>
                  <a:cs typeface="Calibri"/>
                  <a:sym typeface="Calibri"/>
                </a:defRPr>
              </a:pPr>
              <a:endParaRPr/>
            </a:p>
          </p:txBody>
        </p:sp>
      </p:grpSp>
      <p:sp>
        <p:nvSpPr>
          <p:cNvPr id="233" name="TextBox 232"/>
          <p:cNvSpPr txBox="1"/>
          <p:nvPr/>
        </p:nvSpPr>
        <p:spPr>
          <a:xfrm>
            <a:off x="6811576" y="2909063"/>
            <a:ext cx="1271502" cy="369332"/>
          </a:xfrm>
          <a:prstGeom prst="rect">
            <a:avLst/>
          </a:prstGeom>
          <a:noFill/>
        </p:spPr>
        <p:txBody>
          <a:bodyPr wrap="none" rtlCol="0">
            <a:spAutoFit/>
          </a:bodyPr>
          <a:lstStyle/>
          <a:p>
            <a:r>
              <a:rPr lang="en-US" dirty="0" smtClean="0">
                <a:solidFill>
                  <a:srgbClr val="FFFF66"/>
                </a:solidFill>
              </a:rPr>
              <a:t>-63 millions</a:t>
            </a:r>
            <a:endParaRPr lang="en-US" dirty="0">
              <a:solidFill>
                <a:srgbClr val="FFFF66"/>
              </a:solidFill>
            </a:endParaRPr>
          </a:p>
        </p:txBody>
      </p:sp>
      <p:grpSp>
        <p:nvGrpSpPr>
          <p:cNvPr id="234" name="Group 5824"/>
          <p:cNvGrpSpPr/>
          <p:nvPr/>
        </p:nvGrpSpPr>
        <p:grpSpPr>
          <a:xfrm>
            <a:off x="7359906" y="3291552"/>
            <a:ext cx="162166" cy="291144"/>
            <a:chOff x="0" y="0"/>
            <a:chExt cx="393128" cy="704567"/>
          </a:xfrm>
        </p:grpSpPr>
        <p:sp>
          <p:nvSpPr>
            <p:cNvPr id="235" name="Shape 5822"/>
            <p:cNvSpPr/>
            <p:nvPr/>
          </p:nvSpPr>
          <p:spPr>
            <a:xfrm>
              <a:off x="122779" y="556996"/>
              <a:ext cx="147571" cy="14757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rgbClr val="212830"/>
            </a:solidFill>
            <a:ln w="12700" cap="flat">
              <a:noFill/>
              <a:miter lim="400000"/>
            </a:ln>
            <a:effectLst/>
          </p:spPr>
          <p:txBody>
            <a:bodyPr wrap="square" lIns="0" tIns="0" rIns="0" bIns="0" numCol="1" anchor="ctr">
              <a:noAutofit/>
            </a:bodyPr>
            <a:lstStyle/>
            <a:p>
              <a:pPr lvl="0">
                <a:defRPr sz="3200"/>
              </a:pPr>
              <a:endParaRPr/>
            </a:p>
          </p:txBody>
        </p:sp>
        <p:sp>
          <p:nvSpPr>
            <p:cNvPr id="236" name="Shape 5823"/>
            <p:cNvSpPr/>
            <p:nvPr/>
          </p:nvSpPr>
          <p:spPr>
            <a:xfrm>
              <a:off x="-1" y="0"/>
              <a:ext cx="393130" cy="628336"/>
            </a:xfrm>
            <a:custGeom>
              <a:avLst/>
              <a:gdLst/>
              <a:ahLst/>
              <a:cxnLst>
                <a:cxn ang="0">
                  <a:pos x="wd2" y="hd2"/>
                </a:cxn>
                <a:cxn ang="5400000">
                  <a:pos x="wd2" y="hd2"/>
                </a:cxn>
                <a:cxn ang="10800000">
                  <a:pos x="wd2" y="hd2"/>
                </a:cxn>
                <a:cxn ang="16200000">
                  <a:pos x="wd2" y="hd2"/>
                </a:cxn>
              </a:cxnLst>
              <a:rect l="0" t="0" r="r" b="b"/>
              <a:pathLst>
                <a:path w="21600" h="21600" extrusionOk="0">
                  <a:moveTo>
                    <a:pt x="10800" y="10665"/>
                  </a:moveTo>
                  <a:cubicBezTo>
                    <a:pt x="7452" y="10665"/>
                    <a:pt x="4644" y="8977"/>
                    <a:pt x="4644" y="6818"/>
                  </a:cubicBezTo>
                  <a:cubicBezTo>
                    <a:pt x="4644" y="4725"/>
                    <a:pt x="7452" y="2970"/>
                    <a:pt x="10800" y="2970"/>
                  </a:cubicBezTo>
                  <a:cubicBezTo>
                    <a:pt x="14256" y="2970"/>
                    <a:pt x="17064" y="4725"/>
                    <a:pt x="17064" y="6818"/>
                  </a:cubicBezTo>
                  <a:cubicBezTo>
                    <a:pt x="17064" y="8977"/>
                    <a:pt x="14256" y="10665"/>
                    <a:pt x="10800" y="10665"/>
                  </a:cubicBezTo>
                  <a:close/>
                  <a:moveTo>
                    <a:pt x="10800" y="0"/>
                  </a:moveTo>
                  <a:cubicBezTo>
                    <a:pt x="4860" y="0"/>
                    <a:pt x="0" y="3037"/>
                    <a:pt x="0" y="6750"/>
                  </a:cubicBezTo>
                  <a:cubicBezTo>
                    <a:pt x="0" y="13162"/>
                    <a:pt x="10800" y="21600"/>
                    <a:pt x="10800" y="21600"/>
                  </a:cubicBezTo>
                  <a:cubicBezTo>
                    <a:pt x="10800" y="21600"/>
                    <a:pt x="21600" y="13162"/>
                    <a:pt x="21600" y="6750"/>
                  </a:cubicBezTo>
                  <a:cubicBezTo>
                    <a:pt x="21600" y="3037"/>
                    <a:pt x="16848" y="0"/>
                    <a:pt x="10800" y="0"/>
                  </a:cubicBezTo>
                  <a:close/>
                </a:path>
              </a:pathLst>
            </a:custGeom>
            <a:solidFill>
              <a:schemeClr val="accent2"/>
            </a:solidFill>
            <a:ln w="12700" cap="flat">
              <a:noFill/>
              <a:miter lim="400000"/>
            </a:ln>
            <a:effectLst/>
          </p:spPr>
          <p:txBody>
            <a:bodyPr wrap="square" lIns="45719" tIns="45719" rIns="45719" bIns="45719" numCol="1" anchor="t">
              <a:noAutofit/>
            </a:bodyPr>
            <a:lstStyle/>
            <a:p>
              <a:pPr algn="l" defTabSz="384048">
                <a:defRPr sz="1800">
                  <a:uFill>
                    <a:solidFill/>
                  </a:uFill>
                  <a:latin typeface="Calibri"/>
                  <a:ea typeface="Calibri"/>
                  <a:cs typeface="Calibri"/>
                  <a:sym typeface="Calibri"/>
                </a:defRPr>
              </a:pPr>
              <a:endParaRPr/>
            </a:p>
          </p:txBody>
        </p:sp>
      </p:grpSp>
      <p:sp>
        <p:nvSpPr>
          <p:cNvPr id="237" name="TextBox 236"/>
          <p:cNvSpPr txBox="1"/>
          <p:nvPr/>
        </p:nvSpPr>
        <p:spPr>
          <a:xfrm>
            <a:off x="6916329" y="3528115"/>
            <a:ext cx="1492716" cy="369332"/>
          </a:xfrm>
          <a:prstGeom prst="rect">
            <a:avLst/>
          </a:prstGeom>
          <a:noFill/>
        </p:spPr>
        <p:txBody>
          <a:bodyPr wrap="none" rtlCol="0">
            <a:spAutoFit/>
          </a:bodyPr>
          <a:lstStyle/>
          <a:p>
            <a:r>
              <a:rPr lang="en-US" dirty="0" smtClean="0">
                <a:solidFill>
                  <a:srgbClr val="FFB64B"/>
                </a:solidFill>
              </a:rPr>
              <a:t>2,552 millions</a:t>
            </a:r>
            <a:endParaRPr lang="en-US" dirty="0">
              <a:solidFill>
                <a:srgbClr val="FFB64B"/>
              </a:solidFill>
            </a:endParaRPr>
          </a:p>
        </p:txBody>
      </p:sp>
      <p:grpSp>
        <p:nvGrpSpPr>
          <p:cNvPr id="238" name="Group 5836"/>
          <p:cNvGrpSpPr/>
          <p:nvPr/>
        </p:nvGrpSpPr>
        <p:grpSpPr>
          <a:xfrm>
            <a:off x="8296874" y="2898655"/>
            <a:ext cx="162166" cy="291145"/>
            <a:chOff x="0" y="0"/>
            <a:chExt cx="393128" cy="704567"/>
          </a:xfrm>
          <a:solidFill>
            <a:srgbClr val="7030A0"/>
          </a:solidFill>
        </p:grpSpPr>
        <p:sp>
          <p:nvSpPr>
            <p:cNvPr id="239" name="Shape 5834"/>
            <p:cNvSpPr/>
            <p:nvPr/>
          </p:nvSpPr>
          <p:spPr>
            <a:xfrm>
              <a:off x="122779" y="556996"/>
              <a:ext cx="147571" cy="14757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grpFill/>
            <a:ln w="12700" cap="flat">
              <a:noFill/>
              <a:miter lim="400000"/>
            </a:ln>
            <a:effectLst/>
          </p:spPr>
          <p:txBody>
            <a:bodyPr wrap="square" lIns="0" tIns="0" rIns="0" bIns="0" numCol="1" anchor="ctr">
              <a:noAutofit/>
            </a:bodyPr>
            <a:lstStyle/>
            <a:p>
              <a:pPr lvl="0">
                <a:defRPr sz="3200"/>
              </a:pPr>
              <a:endParaRPr/>
            </a:p>
          </p:txBody>
        </p:sp>
        <p:sp>
          <p:nvSpPr>
            <p:cNvPr id="240" name="Shape 5835"/>
            <p:cNvSpPr/>
            <p:nvPr/>
          </p:nvSpPr>
          <p:spPr>
            <a:xfrm>
              <a:off x="-1" y="0"/>
              <a:ext cx="393130" cy="628336"/>
            </a:xfrm>
            <a:custGeom>
              <a:avLst/>
              <a:gdLst/>
              <a:ahLst/>
              <a:cxnLst>
                <a:cxn ang="0">
                  <a:pos x="wd2" y="hd2"/>
                </a:cxn>
                <a:cxn ang="5400000">
                  <a:pos x="wd2" y="hd2"/>
                </a:cxn>
                <a:cxn ang="10800000">
                  <a:pos x="wd2" y="hd2"/>
                </a:cxn>
                <a:cxn ang="16200000">
                  <a:pos x="wd2" y="hd2"/>
                </a:cxn>
              </a:cxnLst>
              <a:rect l="0" t="0" r="r" b="b"/>
              <a:pathLst>
                <a:path w="21600" h="21600" extrusionOk="0">
                  <a:moveTo>
                    <a:pt x="10800" y="10665"/>
                  </a:moveTo>
                  <a:cubicBezTo>
                    <a:pt x="7452" y="10665"/>
                    <a:pt x="4644" y="8977"/>
                    <a:pt x="4644" y="6818"/>
                  </a:cubicBezTo>
                  <a:cubicBezTo>
                    <a:pt x="4644" y="4725"/>
                    <a:pt x="7452" y="2970"/>
                    <a:pt x="10800" y="2970"/>
                  </a:cubicBezTo>
                  <a:cubicBezTo>
                    <a:pt x="14256" y="2970"/>
                    <a:pt x="17064" y="4725"/>
                    <a:pt x="17064" y="6818"/>
                  </a:cubicBezTo>
                  <a:cubicBezTo>
                    <a:pt x="17064" y="8977"/>
                    <a:pt x="14256" y="10665"/>
                    <a:pt x="10800" y="10665"/>
                  </a:cubicBezTo>
                  <a:close/>
                  <a:moveTo>
                    <a:pt x="10800" y="0"/>
                  </a:moveTo>
                  <a:cubicBezTo>
                    <a:pt x="4860" y="0"/>
                    <a:pt x="0" y="3037"/>
                    <a:pt x="0" y="6750"/>
                  </a:cubicBezTo>
                  <a:cubicBezTo>
                    <a:pt x="0" y="13162"/>
                    <a:pt x="10800" y="21600"/>
                    <a:pt x="10800" y="21600"/>
                  </a:cubicBezTo>
                  <a:cubicBezTo>
                    <a:pt x="10800" y="21600"/>
                    <a:pt x="21600" y="13162"/>
                    <a:pt x="21600" y="6750"/>
                  </a:cubicBezTo>
                  <a:cubicBezTo>
                    <a:pt x="21600" y="3037"/>
                    <a:pt x="16848" y="0"/>
                    <a:pt x="10800" y="0"/>
                  </a:cubicBezTo>
                  <a:close/>
                </a:path>
              </a:pathLst>
            </a:custGeom>
            <a:grpFill/>
            <a:ln w="12700" cap="flat">
              <a:noFill/>
              <a:miter lim="400000"/>
            </a:ln>
            <a:effectLst/>
          </p:spPr>
          <p:txBody>
            <a:bodyPr wrap="square" lIns="45719" tIns="45719" rIns="45719" bIns="45719" numCol="1" anchor="t">
              <a:noAutofit/>
            </a:bodyPr>
            <a:lstStyle/>
            <a:p>
              <a:pPr algn="l" defTabSz="384048">
                <a:defRPr sz="1800">
                  <a:uFill>
                    <a:solidFill/>
                  </a:uFill>
                  <a:latin typeface="Calibri"/>
                  <a:ea typeface="Calibri"/>
                  <a:cs typeface="Calibri"/>
                  <a:sym typeface="Calibri"/>
                </a:defRPr>
              </a:pPr>
              <a:endParaRPr/>
            </a:p>
          </p:txBody>
        </p:sp>
      </p:grpSp>
      <p:sp>
        <p:nvSpPr>
          <p:cNvPr id="241" name="TextBox 240"/>
          <p:cNvSpPr txBox="1"/>
          <p:nvPr/>
        </p:nvSpPr>
        <p:spPr>
          <a:xfrm>
            <a:off x="7768799" y="3166491"/>
            <a:ext cx="1317990" cy="369332"/>
          </a:xfrm>
          <a:prstGeom prst="rect">
            <a:avLst/>
          </a:prstGeom>
          <a:noFill/>
        </p:spPr>
        <p:txBody>
          <a:bodyPr wrap="none" rtlCol="0">
            <a:spAutoFit/>
          </a:bodyPr>
          <a:lstStyle/>
          <a:p>
            <a:r>
              <a:rPr lang="en-US" dirty="0" smtClean="0">
                <a:solidFill>
                  <a:srgbClr val="FFCCFF"/>
                </a:solidFill>
              </a:rPr>
              <a:t>432 millions</a:t>
            </a:r>
            <a:endParaRPr lang="en-US" dirty="0">
              <a:solidFill>
                <a:srgbClr val="FFCCFF"/>
              </a:solidFill>
            </a:endParaRPr>
          </a:p>
        </p:txBody>
      </p:sp>
      <p:grpSp>
        <p:nvGrpSpPr>
          <p:cNvPr id="242" name="Group 5746"/>
          <p:cNvGrpSpPr/>
          <p:nvPr/>
        </p:nvGrpSpPr>
        <p:grpSpPr>
          <a:xfrm>
            <a:off x="8664216" y="3551196"/>
            <a:ext cx="162166" cy="291145"/>
            <a:chOff x="0" y="0"/>
            <a:chExt cx="393128" cy="704567"/>
          </a:xfrm>
          <a:solidFill>
            <a:srgbClr val="FF66FF"/>
          </a:solidFill>
        </p:grpSpPr>
        <p:sp>
          <p:nvSpPr>
            <p:cNvPr id="243" name="Shape 5744"/>
            <p:cNvSpPr/>
            <p:nvPr/>
          </p:nvSpPr>
          <p:spPr>
            <a:xfrm>
              <a:off x="122779" y="556996"/>
              <a:ext cx="147571" cy="14757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grpFill/>
            <a:ln w="12700" cap="flat">
              <a:noFill/>
              <a:miter lim="400000"/>
            </a:ln>
            <a:effectLst/>
          </p:spPr>
          <p:txBody>
            <a:bodyPr wrap="square" lIns="0" tIns="0" rIns="0" bIns="0" numCol="1" anchor="ctr">
              <a:noAutofit/>
            </a:bodyPr>
            <a:lstStyle/>
            <a:p>
              <a:pPr lvl="0">
                <a:defRPr sz="3200"/>
              </a:pPr>
              <a:endParaRPr/>
            </a:p>
          </p:txBody>
        </p:sp>
        <p:sp>
          <p:nvSpPr>
            <p:cNvPr id="244" name="Shape 5745"/>
            <p:cNvSpPr/>
            <p:nvPr/>
          </p:nvSpPr>
          <p:spPr>
            <a:xfrm>
              <a:off x="-1" y="0"/>
              <a:ext cx="393130" cy="628336"/>
            </a:xfrm>
            <a:custGeom>
              <a:avLst/>
              <a:gdLst/>
              <a:ahLst/>
              <a:cxnLst>
                <a:cxn ang="0">
                  <a:pos x="wd2" y="hd2"/>
                </a:cxn>
                <a:cxn ang="5400000">
                  <a:pos x="wd2" y="hd2"/>
                </a:cxn>
                <a:cxn ang="10800000">
                  <a:pos x="wd2" y="hd2"/>
                </a:cxn>
                <a:cxn ang="16200000">
                  <a:pos x="wd2" y="hd2"/>
                </a:cxn>
              </a:cxnLst>
              <a:rect l="0" t="0" r="r" b="b"/>
              <a:pathLst>
                <a:path w="21600" h="21600" extrusionOk="0">
                  <a:moveTo>
                    <a:pt x="10800" y="10665"/>
                  </a:moveTo>
                  <a:cubicBezTo>
                    <a:pt x="7452" y="10665"/>
                    <a:pt x="4644" y="8977"/>
                    <a:pt x="4644" y="6818"/>
                  </a:cubicBezTo>
                  <a:cubicBezTo>
                    <a:pt x="4644" y="4725"/>
                    <a:pt x="7452" y="2970"/>
                    <a:pt x="10800" y="2970"/>
                  </a:cubicBezTo>
                  <a:cubicBezTo>
                    <a:pt x="14256" y="2970"/>
                    <a:pt x="17064" y="4725"/>
                    <a:pt x="17064" y="6818"/>
                  </a:cubicBezTo>
                  <a:cubicBezTo>
                    <a:pt x="17064" y="8977"/>
                    <a:pt x="14256" y="10665"/>
                    <a:pt x="10800" y="10665"/>
                  </a:cubicBezTo>
                  <a:close/>
                  <a:moveTo>
                    <a:pt x="10800" y="0"/>
                  </a:moveTo>
                  <a:cubicBezTo>
                    <a:pt x="4860" y="0"/>
                    <a:pt x="0" y="3037"/>
                    <a:pt x="0" y="6750"/>
                  </a:cubicBezTo>
                  <a:cubicBezTo>
                    <a:pt x="0" y="13162"/>
                    <a:pt x="10800" y="21600"/>
                    <a:pt x="10800" y="21600"/>
                  </a:cubicBezTo>
                  <a:cubicBezTo>
                    <a:pt x="10800" y="21600"/>
                    <a:pt x="21600" y="13162"/>
                    <a:pt x="21600" y="6750"/>
                  </a:cubicBezTo>
                  <a:cubicBezTo>
                    <a:pt x="21600" y="3037"/>
                    <a:pt x="16848" y="0"/>
                    <a:pt x="10800" y="0"/>
                  </a:cubicBezTo>
                  <a:close/>
                </a:path>
              </a:pathLst>
            </a:custGeom>
            <a:grpFill/>
            <a:ln w="12700" cap="flat">
              <a:noFill/>
              <a:miter lim="400000"/>
            </a:ln>
            <a:effectLst/>
          </p:spPr>
          <p:txBody>
            <a:bodyPr wrap="square" lIns="45719" tIns="45719" rIns="45719" bIns="45719" numCol="1" anchor="t">
              <a:noAutofit/>
            </a:bodyPr>
            <a:lstStyle/>
            <a:p>
              <a:pPr algn="l" defTabSz="384048">
                <a:defRPr sz="1800">
                  <a:uFill>
                    <a:solidFill/>
                  </a:uFill>
                  <a:latin typeface="Calibri"/>
                  <a:ea typeface="Calibri"/>
                  <a:cs typeface="Calibri"/>
                  <a:sym typeface="Calibri"/>
                </a:defRPr>
              </a:pPr>
              <a:endParaRPr/>
            </a:p>
          </p:txBody>
        </p:sp>
      </p:grpSp>
      <p:sp>
        <p:nvSpPr>
          <p:cNvPr id="245" name="TextBox 244"/>
          <p:cNvSpPr txBox="1"/>
          <p:nvPr/>
        </p:nvSpPr>
        <p:spPr>
          <a:xfrm>
            <a:off x="8009851" y="3832304"/>
            <a:ext cx="1200970" cy="369332"/>
          </a:xfrm>
          <a:prstGeom prst="rect">
            <a:avLst/>
          </a:prstGeom>
          <a:noFill/>
        </p:spPr>
        <p:txBody>
          <a:bodyPr wrap="none" rtlCol="0">
            <a:spAutoFit/>
          </a:bodyPr>
          <a:lstStyle/>
          <a:p>
            <a:r>
              <a:rPr lang="en-US" dirty="0" smtClean="0">
                <a:solidFill>
                  <a:srgbClr val="FF66FF"/>
                </a:solidFill>
              </a:rPr>
              <a:t>29 millions</a:t>
            </a:r>
            <a:endParaRPr lang="en-US" dirty="0">
              <a:solidFill>
                <a:srgbClr val="FF66FF"/>
              </a:solidFill>
            </a:endParaRPr>
          </a:p>
        </p:txBody>
      </p:sp>
      <p:grpSp>
        <p:nvGrpSpPr>
          <p:cNvPr id="251" name="Group 250"/>
          <p:cNvGrpSpPr/>
          <p:nvPr/>
        </p:nvGrpSpPr>
        <p:grpSpPr>
          <a:xfrm>
            <a:off x="5878602" y="5668729"/>
            <a:ext cx="2510117" cy="757760"/>
            <a:chOff x="5878602" y="5668729"/>
            <a:chExt cx="2510117" cy="757760"/>
          </a:xfrm>
        </p:grpSpPr>
        <p:grpSp>
          <p:nvGrpSpPr>
            <p:cNvPr id="250" name="Group 249"/>
            <p:cNvGrpSpPr/>
            <p:nvPr/>
          </p:nvGrpSpPr>
          <p:grpSpPr>
            <a:xfrm>
              <a:off x="5878602" y="5668729"/>
              <a:ext cx="2470482" cy="757760"/>
              <a:chOff x="5878602" y="5668729"/>
              <a:chExt cx="2470482" cy="757760"/>
            </a:xfrm>
          </p:grpSpPr>
          <p:sp>
            <p:nvSpPr>
              <p:cNvPr id="246" name="TextBox 245"/>
              <p:cNvSpPr txBox="1"/>
              <p:nvPr/>
            </p:nvSpPr>
            <p:spPr>
              <a:xfrm>
                <a:off x="5878602" y="5668729"/>
                <a:ext cx="1659172" cy="369332"/>
              </a:xfrm>
              <a:prstGeom prst="rect">
                <a:avLst/>
              </a:prstGeom>
              <a:noFill/>
            </p:spPr>
            <p:txBody>
              <a:bodyPr wrap="none" rtlCol="0">
                <a:spAutoFit/>
              </a:bodyPr>
              <a:lstStyle/>
              <a:p>
                <a:r>
                  <a:rPr lang="en-US" dirty="0" smtClean="0">
                    <a:solidFill>
                      <a:schemeClr val="bg1"/>
                    </a:solidFill>
                  </a:rPr>
                  <a:t>Africa: Younger </a:t>
                </a:r>
                <a:endParaRPr lang="en-US" dirty="0">
                  <a:solidFill>
                    <a:schemeClr val="bg1"/>
                  </a:solidFill>
                </a:endParaRPr>
              </a:p>
            </p:txBody>
          </p:sp>
          <p:sp>
            <p:nvSpPr>
              <p:cNvPr id="247" name="TextBox 246"/>
              <p:cNvSpPr txBox="1"/>
              <p:nvPr/>
            </p:nvSpPr>
            <p:spPr>
              <a:xfrm>
                <a:off x="5904697" y="6057157"/>
                <a:ext cx="2444387" cy="369332"/>
              </a:xfrm>
              <a:prstGeom prst="rect">
                <a:avLst/>
              </a:prstGeom>
              <a:noFill/>
            </p:spPr>
            <p:txBody>
              <a:bodyPr wrap="none" rtlCol="0">
                <a:spAutoFit/>
              </a:bodyPr>
              <a:lstStyle/>
              <a:p>
                <a:r>
                  <a:rPr lang="en-US" dirty="0" smtClean="0">
                    <a:solidFill>
                      <a:schemeClr val="bg1"/>
                    </a:solidFill>
                  </a:rPr>
                  <a:t>Asia and Europe: Older  </a:t>
                </a:r>
                <a:endParaRPr lang="en-US" dirty="0">
                  <a:solidFill>
                    <a:schemeClr val="bg1"/>
                  </a:solidFill>
                </a:endParaRPr>
              </a:p>
            </p:txBody>
          </p:sp>
          <p:sp>
            <p:nvSpPr>
              <p:cNvPr id="248" name="Up Arrow 247"/>
              <p:cNvSpPr/>
              <p:nvPr/>
            </p:nvSpPr>
            <p:spPr>
              <a:xfrm flipH="1">
                <a:off x="7431662" y="5707409"/>
                <a:ext cx="231025" cy="275891"/>
              </a:xfrm>
              <a:prstGeom prst="upArrow">
                <a:avLst/>
              </a:prstGeom>
              <a:solidFill>
                <a:srgbClr val="CCFF66"/>
              </a:solidFill>
              <a:ln>
                <a:solidFill>
                  <a:srgbClr val="CCFF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9" name="Up Arrow 248"/>
            <p:cNvSpPr/>
            <p:nvPr/>
          </p:nvSpPr>
          <p:spPr>
            <a:xfrm flipH="1">
              <a:off x="8157694" y="6043531"/>
              <a:ext cx="231025" cy="275891"/>
            </a:xfrm>
            <a:prstGeom prst="upArrow">
              <a:avLst/>
            </a:prstGeom>
            <a:solidFill>
              <a:srgbClr val="CCFF66"/>
            </a:solidFill>
            <a:ln>
              <a:solidFill>
                <a:srgbClr val="CCFF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2" name="TextBox 251"/>
          <p:cNvSpPr txBox="1"/>
          <p:nvPr/>
        </p:nvSpPr>
        <p:spPr>
          <a:xfrm>
            <a:off x="68784" y="6538913"/>
            <a:ext cx="1116011" cy="261610"/>
          </a:xfrm>
          <a:prstGeom prst="rect">
            <a:avLst/>
          </a:prstGeom>
          <a:noFill/>
        </p:spPr>
        <p:txBody>
          <a:bodyPr wrap="none" rtlCol="0">
            <a:spAutoFit/>
          </a:bodyPr>
          <a:lstStyle/>
          <a:p>
            <a:r>
              <a:rPr lang="en-US" sz="1100" dirty="0" err="1" smtClean="0"/>
              <a:t>Source:UN</a:t>
            </a:r>
            <a:r>
              <a:rPr lang="en-US" sz="1100" dirty="0" smtClean="0"/>
              <a:t> 2011</a:t>
            </a:r>
            <a:endParaRPr lang="en-US" sz="1100" dirty="0"/>
          </a:p>
        </p:txBody>
      </p:sp>
      <p:pic>
        <p:nvPicPr>
          <p:cNvPr id="253" name="Picture 2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0856" y="491215"/>
            <a:ext cx="525826" cy="830652"/>
          </a:xfrm>
          <a:prstGeom prst="rect">
            <a:avLst/>
          </a:prstGeom>
        </p:spPr>
      </p:pic>
    </p:spTree>
    <p:extLst>
      <p:ext uri="{BB962C8B-B14F-4D97-AF65-F5344CB8AC3E}">
        <p14:creationId xmlns:p14="http://schemas.microsoft.com/office/powerpoint/2010/main" val="368032486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4312" y="1257506"/>
            <a:ext cx="9139688" cy="4243542"/>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7608" y="188640"/>
            <a:ext cx="525826" cy="830652"/>
          </a:xfrm>
          <a:prstGeom prst="rect">
            <a:avLst/>
          </a:prstGeom>
        </p:spPr>
      </p:pic>
    </p:spTree>
    <p:extLst>
      <p:ext uri="{BB962C8B-B14F-4D97-AF65-F5344CB8AC3E}">
        <p14:creationId xmlns:p14="http://schemas.microsoft.com/office/powerpoint/2010/main" val="239073556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008869" y="866144"/>
            <a:ext cx="7126262" cy="5125712"/>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7608" y="188640"/>
            <a:ext cx="525826" cy="830652"/>
          </a:xfrm>
          <a:prstGeom prst="rect">
            <a:avLst/>
          </a:prstGeom>
        </p:spPr>
      </p:pic>
    </p:spTree>
    <p:extLst>
      <p:ext uri="{BB962C8B-B14F-4D97-AF65-F5344CB8AC3E}">
        <p14:creationId xmlns:p14="http://schemas.microsoft.com/office/powerpoint/2010/main" val="112613234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8412" y="96895"/>
            <a:ext cx="7286938" cy="1325563"/>
          </a:xfrm>
          <a:noFill/>
          <a:ln w="9525">
            <a:noFill/>
            <a:miter lim="800000"/>
            <a:headEnd/>
            <a:tailEnd/>
          </a:ln>
        </p:spPr>
        <p:txBody>
          <a:bodyPr vert="horz" wrap="square" lIns="91440" tIns="18288" rIns="91440" bIns="18288" numCol="1" rtlCol="0" anchor="ctr" anchorCtr="0" compatLnSpc="1">
            <a:prstTxWarp prst="textNoShape">
              <a:avLst/>
            </a:prstTxWarp>
            <a:noAutofit/>
          </a:bodyPr>
          <a:lstStyle/>
          <a:p>
            <a:pPr algn="ctr" defTabSz="914400"/>
            <a:r>
              <a:rPr lang="en-US" sz="2800" b="1" dirty="0">
                <a:solidFill>
                  <a:srgbClr val="000000"/>
                </a:solidFill>
                <a:latin typeface="Arial" pitchFamily="34" charset="0"/>
                <a:cs typeface="Arial" pitchFamily="34" charset="0"/>
              </a:rPr>
              <a:t>El Niño Risks</a:t>
            </a:r>
          </a:p>
        </p:txBody>
      </p:sp>
      <p:sp>
        <p:nvSpPr>
          <p:cNvPr id="3" name="Content Placeholder 2"/>
          <p:cNvSpPr>
            <a:spLocks noGrp="1"/>
          </p:cNvSpPr>
          <p:nvPr>
            <p:ph idx="1"/>
          </p:nvPr>
        </p:nvSpPr>
        <p:spPr>
          <a:xfrm>
            <a:off x="628650" y="1268760"/>
            <a:ext cx="8263830" cy="5589240"/>
          </a:xfrm>
        </p:spPr>
        <p:txBody>
          <a:bodyPr>
            <a:normAutofit/>
          </a:bodyPr>
          <a:lstStyle/>
          <a:p>
            <a:r>
              <a:rPr lang="en-US" dirty="0"/>
              <a:t>The strongest ever El Niño heat waves were predicted to hit parts of Southern Africa towards the end of 2015 and lasting through to 2016</a:t>
            </a:r>
            <a:r>
              <a:rPr lang="en-US" dirty="0" smtClean="0"/>
              <a:t>.</a:t>
            </a:r>
          </a:p>
          <a:p>
            <a:r>
              <a:rPr lang="en-US" dirty="0" smtClean="0"/>
              <a:t>According to </a:t>
            </a:r>
            <a:r>
              <a:rPr lang="en-US" dirty="0"/>
              <a:t>The 19th Southern African Regional Climate Outlook Forum (SARCOF-19</a:t>
            </a:r>
            <a:r>
              <a:rPr lang="en-US" dirty="0" smtClean="0"/>
              <a:t>) there will be insufficient </a:t>
            </a:r>
            <a:r>
              <a:rPr lang="en-US" dirty="0"/>
              <a:t>rainfall during the forthcoming agricultural season that runs from October 2015 to March </a:t>
            </a:r>
            <a:r>
              <a:rPr lang="en-US" dirty="0" smtClean="0"/>
              <a:t>2016</a:t>
            </a:r>
          </a:p>
          <a:p>
            <a:r>
              <a:rPr lang="en-US" dirty="0"/>
              <a:t>This comes at a time when the Kariba Dam between Zambia and Zimbabwe is experiencing declining water </a:t>
            </a:r>
            <a:r>
              <a:rPr lang="en-US" dirty="0" smtClean="0"/>
              <a:t>levels. Water </a:t>
            </a:r>
            <a:r>
              <a:rPr lang="en-US" dirty="0"/>
              <a:t>levels in Lake Kariba have dropped to 41 percent compared with 80 percent this time last year</a:t>
            </a:r>
            <a:r>
              <a:rPr lang="en-US" dirty="0" smtClean="0"/>
              <a:t>.</a:t>
            </a:r>
          </a:p>
          <a:p>
            <a:r>
              <a:rPr lang="en-US" dirty="0"/>
              <a:t>With El Niño forecast to continue into the first quarter of 2016, suppressed rainfall is </a:t>
            </a:r>
            <a:r>
              <a:rPr lang="en-US" dirty="0" smtClean="0"/>
              <a:t>likely. This will affect Zambia which is a </a:t>
            </a:r>
            <a:r>
              <a:rPr lang="en-US" dirty="0"/>
              <a:t>region where maize supply is already well below the five-year average and acute food insecurity is already more severe than usual</a:t>
            </a:r>
            <a:r>
              <a:rPr lang="en-US" dirty="0" smtClean="0"/>
              <a:t>,</a:t>
            </a:r>
          </a:p>
          <a:p>
            <a:r>
              <a:rPr lang="en-US" dirty="0" smtClean="0"/>
              <a:t>An equivalent episode of drought in 1992 cost </a:t>
            </a:r>
            <a:r>
              <a:rPr lang="en-US" dirty="0"/>
              <a:t>the Zambian government US$ 300 million and translated into a 39 percent drop in agricultural output and a 2.8 percent decline in the country’s GDP.</a:t>
            </a:r>
          </a:p>
          <a:p>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7608" y="188640"/>
            <a:ext cx="525826" cy="830652"/>
          </a:xfrm>
          <a:prstGeom prst="rect">
            <a:avLst/>
          </a:prstGeom>
        </p:spPr>
      </p:pic>
    </p:spTree>
    <p:extLst>
      <p:ext uri="{BB962C8B-B14F-4D97-AF65-F5344CB8AC3E}">
        <p14:creationId xmlns:p14="http://schemas.microsoft.com/office/powerpoint/2010/main" val="175169626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3D4246"/>
        </a:solidFill>
        <a:effectLst/>
      </p:bgPr>
    </p:bg>
    <p:spTree>
      <p:nvGrpSpPr>
        <p:cNvPr id="1" name=""/>
        <p:cNvGrpSpPr/>
        <p:nvPr/>
      </p:nvGrpSpPr>
      <p:grpSpPr>
        <a:xfrm>
          <a:off x="0" y="0"/>
          <a:ext cx="0" cy="0"/>
          <a:chOff x="0" y="0"/>
          <a:chExt cx="0" cy="0"/>
        </a:xfrm>
      </p:grpSpPr>
      <p:sp>
        <p:nvSpPr>
          <p:cNvPr id="3" name="Shape 415"/>
          <p:cNvSpPr/>
          <p:nvPr/>
        </p:nvSpPr>
        <p:spPr>
          <a:xfrm>
            <a:off x="1144485" y="2138338"/>
            <a:ext cx="6855029" cy="2751522"/>
          </a:xfrm>
          <a:prstGeom prst="rect">
            <a:avLst/>
          </a:prstGeom>
          <a:ln w="12700">
            <a:miter lim="400000"/>
          </a:ln>
          <a:extLst>
            <a:ext uri="{C572A759-6A51-4108-AA02-DFA0A04FC94B}">
              <ma14:wrappingTextBoxFlag xmlns="" xmlns:ma14="http://schemas.microsoft.com/office/mac/drawingml/2011/main" val="1"/>
            </a:ext>
          </a:extLst>
        </p:spPr>
        <p:txBody>
          <a:bodyPr wrap="square" lIns="21336" tIns="21336" rIns="21336" bIns="21336" anchor="ctr">
            <a:spAutoFit/>
          </a:bodyPr>
          <a:lstStyle/>
          <a:p>
            <a:pPr algn="ctr">
              <a:defRPr sz="1800"/>
            </a:pPr>
            <a:r>
              <a:rPr lang="en-US" sz="4400" b="1" u="sng" dirty="0" smtClean="0">
                <a:solidFill>
                  <a:srgbClr val="CCFF66"/>
                </a:solidFill>
                <a:latin typeface="BebasNeueBold" pitchFamily="34" charset="0"/>
                <a:ea typeface="BebasNeueRegular"/>
                <a:cs typeface="BebasNeueRegular"/>
                <a:sym typeface="BebasNeueRegular"/>
              </a:rPr>
              <a:t>Challenge </a:t>
            </a:r>
            <a:r>
              <a:rPr lang="en-US" sz="4400" b="1" u="sng" dirty="0">
                <a:solidFill>
                  <a:srgbClr val="CCFF66"/>
                </a:solidFill>
                <a:latin typeface="BebasNeueBold" pitchFamily="34" charset="0"/>
                <a:ea typeface="BebasNeueRegular"/>
                <a:cs typeface="BebasNeueRegular"/>
                <a:sym typeface="BebasNeueRegular"/>
              </a:rPr>
              <a:t>3</a:t>
            </a:r>
            <a:r>
              <a:rPr lang="en-US" sz="4400" dirty="0" smtClean="0">
                <a:solidFill>
                  <a:srgbClr val="CCFF66"/>
                </a:solidFill>
                <a:latin typeface="BebasNeueBold" pitchFamily="34" charset="0"/>
                <a:ea typeface="BebasNeueRegular"/>
                <a:cs typeface="BebasNeueRegular"/>
                <a:sym typeface="BebasNeueRegular"/>
              </a:rPr>
              <a:t>: Economic Growth is not enough-huge challenge in poverty and nutrition</a:t>
            </a:r>
            <a:endParaRPr lang="en-US" sz="4400" dirty="0">
              <a:solidFill>
                <a:srgbClr val="CCFF66"/>
              </a:solidFill>
              <a:latin typeface="BebasNeueBold" pitchFamily="34" charset="0"/>
              <a:ea typeface="BebasNeueRegular"/>
              <a:cs typeface="BebasNeueRegular"/>
              <a:sym typeface="BebasNeueRegular"/>
            </a:endParaRPr>
          </a:p>
        </p:txBody>
      </p:sp>
      <p:sp>
        <p:nvSpPr>
          <p:cNvPr id="4" name="Shape 416"/>
          <p:cNvSpPr/>
          <p:nvPr/>
        </p:nvSpPr>
        <p:spPr>
          <a:xfrm>
            <a:off x="-3163" y="6706515"/>
            <a:ext cx="1843178" cy="158751"/>
          </a:xfrm>
          <a:prstGeom prst="rect">
            <a:avLst/>
          </a:prstGeom>
          <a:solidFill>
            <a:schemeClr val="accent1"/>
          </a:solidFill>
          <a:ln w="12700">
            <a:miter lim="400000"/>
          </a:ln>
        </p:spPr>
        <p:txBody>
          <a:bodyPr lIns="0" tIns="0" rIns="0" bIns="0" anchor="ctr"/>
          <a:lstStyle/>
          <a:p>
            <a:pPr>
              <a:defRPr sz="3200"/>
            </a:pPr>
            <a:endParaRPr sz="3200">
              <a:solidFill>
                <a:prstClr val="black"/>
              </a:solidFill>
            </a:endParaRPr>
          </a:p>
        </p:txBody>
      </p:sp>
      <p:sp>
        <p:nvSpPr>
          <p:cNvPr id="5" name="Shape 417"/>
          <p:cNvSpPr/>
          <p:nvPr/>
        </p:nvSpPr>
        <p:spPr>
          <a:xfrm>
            <a:off x="1818592" y="6706515"/>
            <a:ext cx="1843177" cy="158751"/>
          </a:xfrm>
          <a:prstGeom prst="rect">
            <a:avLst/>
          </a:prstGeom>
          <a:solidFill>
            <a:schemeClr val="accent2"/>
          </a:solidFill>
          <a:ln w="12700">
            <a:miter lim="400000"/>
          </a:ln>
        </p:spPr>
        <p:txBody>
          <a:bodyPr lIns="0" tIns="0" rIns="0" bIns="0" anchor="ctr"/>
          <a:lstStyle/>
          <a:p>
            <a:pPr>
              <a:defRPr sz="3200"/>
            </a:pPr>
            <a:endParaRPr sz="3200">
              <a:solidFill>
                <a:prstClr val="black"/>
              </a:solidFill>
            </a:endParaRPr>
          </a:p>
        </p:txBody>
      </p:sp>
      <p:sp>
        <p:nvSpPr>
          <p:cNvPr id="6" name="Shape 418"/>
          <p:cNvSpPr/>
          <p:nvPr/>
        </p:nvSpPr>
        <p:spPr>
          <a:xfrm>
            <a:off x="3650412" y="6706515"/>
            <a:ext cx="1843177" cy="158751"/>
          </a:xfrm>
          <a:prstGeom prst="rect">
            <a:avLst/>
          </a:prstGeom>
          <a:solidFill>
            <a:schemeClr val="accent3"/>
          </a:solidFill>
          <a:ln w="12700">
            <a:miter lim="400000"/>
          </a:ln>
        </p:spPr>
        <p:txBody>
          <a:bodyPr lIns="0" tIns="0" rIns="0" bIns="0" anchor="ctr"/>
          <a:lstStyle/>
          <a:p>
            <a:pPr>
              <a:defRPr sz="3200"/>
            </a:pPr>
            <a:endParaRPr sz="3200">
              <a:solidFill>
                <a:prstClr val="black"/>
              </a:solidFill>
            </a:endParaRPr>
          </a:p>
        </p:txBody>
      </p:sp>
      <p:sp>
        <p:nvSpPr>
          <p:cNvPr id="7" name="Shape 419"/>
          <p:cNvSpPr/>
          <p:nvPr/>
        </p:nvSpPr>
        <p:spPr>
          <a:xfrm>
            <a:off x="5482231" y="6706515"/>
            <a:ext cx="1843178" cy="158751"/>
          </a:xfrm>
          <a:prstGeom prst="rect">
            <a:avLst/>
          </a:prstGeom>
          <a:solidFill>
            <a:schemeClr val="accent4"/>
          </a:solidFill>
          <a:ln w="12700">
            <a:miter lim="400000"/>
          </a:ln>
        </p:spPr>
        <p:txBody>
          <a:bodyPr lIns="0" tIns="0" rIns="0" bIns="0" anchor="ctr"/>
          <a:lstStyle/>
          <a:p>
            <a:pPr>
              <a:defRPr sz="3200"/>
            </a:pPr>
            <a:endParaRPr sz="3200">
              <a:solidFill>
                <a:prstClr val="black"/>
              </a:solidFill>
            </a:endParaRPr>
          </a:p>
        </p:txBody>
      </p:sp>
      <p:sp>
        <p:nvSpPr>
          <p:cNvPr id="8" name="Shape 420"/>
          <p:cNvSpPr/>
          <p:nvPr/>
        </p:nvSpPr>
        <p:spPr>
          <a:xfrm>
            <a:off x="7303985" y="6706515"/>
            <a:ext cx="1843177" cy="158751"/>
          </a:xfrm>
          <a:prstGeom prst="rect">
            <a:avLst/>
          </a:prstGeom>
          <a:solidFill>
            <a:schemeClr val="accent5"/>
          </a:solidFill>
          <a:ln w="12700">
            <a:miter lim="400000"/>
          </a:ln>
        </p:spPr>
        <p:txBody>
          <a:bodyPr lIns="0" tIns="0" rIns="0" bIns="0" anchor="ctr"/>
          <a:lstStyle/>
          <a:p>
            <a:pPr>
              <a:defRPr sz="3200"/>
            </a:pPr>
            <a:endParaRPr sz="3200">
              <a:solidFill>
                <a:prstClr val="black"/>
              </a:solidFill>
            </a:endParaRPr>
          </a:p>
        </p:txBody>
      </p:sp>
      <p:grpSp>
        <p:nvGrpSpPr>
          <p:cNvPr id="10" name="Group 431"/>
          <p:cNvGrpSpPr/>
          <p:nvPr/>
        </p:nvGrpSpPr>
        <p:grpSpPr>
          <a:xfrm>
            <a:off x="4076078" y="18924"/>
            <a:ext cx="1437253" cy="1767776"/>
            <a:chOff x="378732" y="0"/>
            <a:chExt cx="2879540" cy="3535550"/>
          </a:xfrm>
        </p:grpSpPr>
        <p:sp>
          <p:nvSpPr>
            <p:cNvPr id="11" name="Shape 422"/>
            <p:cNvSpPr/>
            <p:nvPr/>
          </p:nvSpPr>
          <p:spPr>
            <a:xfrm>
              <a:off x="378732" y="0"/>
              <a:ext cx="2047855" cy="3535550"/>
            </a:xfrm>
            <a:custGeom>
              <a:avLst/>
              <a:gdLst/>
              <a:ahLst/>
              <a:cxnLst>
                <a:cxn ang="0">
                  <a:pos x="wd2" y="hd2"/>
                </a:cxn>
                <a:cxn ang="5400000">
                  <a:pos x="wd2" y="hd2"/>
                </a:cxn>
                <a:cxn ang="10800000">
                  <a:pos x="wd2" y="hd2"/>
                </a:cxn>
                <a:cxn ang="16200000">
                  <a:pos x="wd2" y="hd2"/>
                </a:cxn>
              </a:cxnLst>
              <a:rect l="0" t="0" r="r" b="b"/>
              <a:pathLst>
                <a:path w="21600" h="21600" extrusionOk="0">
                  <a:moveTo>
                    <a:pt x="10785" y="16866"/>
                  </a:moveTo>
                  <a:lnTo>
                    <a:pt x="0" y="21600"/>
                  </a:lnTo>
                  <a:lnTo>
                    <a:pt x="0" y="0"/>
                  </a:lnTo>
                  <a:lnTo>
                    <a:pt x="21600" y="0"/>
                  </a:lnTo>
                  <a:lnTo>
                    <a:pt x="21600" y="21589"/>
                  </a:lnTo>
                  <a:lnTo>
                    <a:pt x="10785" y="16866"/>
                  </a:lnTo>
                  <a:close/>
                </a:path>
              </a:pathLst>
            </a:custGeom>
            <a:solidFill>
              <a:srgbClr val="FFFFFF"/>
            </a:solidFill>
            <a:ln w="12700" cap="flat">
              <a:noFill/>
              <a:miter lim="400000"/>
            </a:ln>
            <a:effectLst/>
          </p:spPr>
          <p:txBody>
            <a:bodyPr wrap="square" lIns="0" tIns="0" rIns="0" bIns="0" numCol="1" anchor="ctr">
              <a:noAutofit/>
            </a:bodyPr>
            <a:lstStyle/>
            <a:p>
              <a:pPr>
                <a:defRPr sz="3200"/>
              </a:pPr>
              <a:endParaRPr sz="3200">
                <a:solidFill>
                  <a:prstClr val="black"/>
                </a:solidFill>
              </a:endParaRPr>
            </a:p>
          </p:txBody>
        </p:sp>
        <p:sp>
          <p:nvSpPr>
            <p:cNvPr id="13" name="Shape 424"/>
            <p:cNvSpPr/>
            <p:nvPr/>
          </p:nvSpPr>
          <p:spPr>
            <a:xfrm>
              <a:off x="513648" y="1544187"/>
              <a:ext cx="2744624" cy="44717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spAutoFit/>
            </a:bodyPr>
            <a:lstStyle>
              <a:lvl1pPr>
                <a:lnSpc>
                  <a:spcPct val="70000"/>
                </a:lnSpc>
                <a:defRPr sz="2500">
                  <a:solidFill>
                    <a:srgbClr val="212830"/>
                  </a:solidFill>
                  <a:latin typeface="Roboto Regular"/>
                  <a:ea typeface="Roboto Regular"/>
                  <a:cs typeface="Roboto Regular"/>
                  <a:sym typeface="Roboto Regular"/>
                </a:defRPr>
              </a:lvl1pPr>
            </a:lstStyle>
            <a:p>
              <a:pPr>
                <a:defRPr sz="1800">
                  <a:solidFill>
                    <a:srgbClr val="000000"/>
                  </a:solidFill>
                </a:defRPr>
              </a:pPr>
              <a:endParaRPr sz="1100" dirty="0">
                <a:solidFill>
                  <a:srgbClr val="000000"/>
                </a:solidFill>
              </a:endParaRPr>
            </a:p>
          </p:txBody>
        </p:sp>
        <p:grpSp>
          <p:nvGrpSpPr>
            <p:cNvPr id="14" name="Group 430"/>
            <p:cNvGrpSpPr/>
            <p:nvPr/>
          </p:nvGrpSpPr>
          <p:grpSpPr>
            <a:xfrm>
              <a:off x="861128" y="629033"/>
              <a:ext cx="1106116" cy="162566"/>
              <a:chOff x="0" y="0"/>
              <a:chExt cx="1106114" cy="162564"/>
            </a:xfrm>
          </p:grpSpPr>
          <p:sp>
            <p:nvSpPr>
              <p:cNvPr id="15" name="Shape 425"/>
              <p:cNvSpPr/>
              <p:nvPr/>
            </p:nvSpPr>
            <p:spPr>
              <a:xfrm>
                <a:off x="0" y="0"/>
                <a:ext cx="162565" cy="16256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1"/>
              </a:solidFill>
              <a:ln w="12700" cap="flat">
                <a:noFill/>
                <a:miter lim="400000"/>
              </a:ln>
              <a:effectLst/>
            </p:spPr>
            <p:txBody>
              <a:bodyPr wrap="square" lIns="0" tIns="0" rIns="0" bIns="0" numCol="1" anchor="ctr">
                <a:noAutofit/>
              </a:bodyPr>
              <a:lstStyle/>
              <a:p>
                <a:pPr>
                  <a:defRPr sz="3200"/>
                </a:pPr>
                <a:endParaRPr sz="3200">
                  <a:solidFill>
                    <a:prstClr val="black"/>
                  </a:solidFill>
                </a:endParaRPr>
              </a:p>
            </p:txBody>
          </p:sp>
          <p:sp>
            <p:nvSpPr>
              <p:cNvPr id="16" name="Shape 426"/>
              <p:cNvSpPr/>
              <p:nvPr/>
            </p:nvSpPr>
            <p:spPr>
              <a:xfrm>
                <a:off x="235887" y="0"/>
                <a:ext cx="162566" cy="16256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2"/>
              </a:solidFill>
              <a:ln w="12700" cap="flat">
                <a:noFill/>
                <a:miter lim="400000"/>
              </a:ln>
              <a:effectLst/>
            </p:spPr>
            <p:txBody>
              <a:bodyPr wrap="square" lIns="0" tIns="0" rIns="0" bIns="0" numCol="1" anchor="ctr">
                <a:noAutofit/>
              </a:bodyPr>
              <a:lstStyle/>
              <a:p>
                <a:pPr>
                  <a:defRPr sz="3200"/>
                </a:pPr>
                <a:endParaRPr sz="3200">
                  <a:solidFill>
                    <a:prstClr val="black"/>
                  </a:solidFill>
                </a:endParaRPr>
              </a:p>
            </p:txBody>
          </p:sp>
          <p:sp>
            <p:nvSpPr>
              <p:cNvPr id="17" name="Shape 427"/>
              <p:cNvSpPr/>
              <p:nvPr/>
            </p:nvSpPr>
            <p:spPr>
              <a:xfrm>
                <a:off x="471775" y="0"/>
                <a:ext cx="162565" cy="16256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3"/>
              </a:solidFill>
              <a:ln w="12700" cap="flat">
                <a:noFill/>
                <a:miter lim="400000"/>
              </a:ln>
              <a:effectLst/>
            </p:spPr>
            <p:txBody>
              <a:bodyPr wrap="square" lIns="0" tIns="0" rIns="0" bIns="0" numCol="1" anchor="ctr">
                <a:noAutofit/>
              </a:bodyPr>
              <a:lstStyle/>
              <a:p>
                <a:pPr>
                  <a:defRPr sz="3200"/>
                </a:pPr>
                <a:endParaRPr sz="3200">
                  <a:solidFill>
                    <a:prstClr val="black"/>
                  </a:solidFill>
                </a:endParaRPr>
              </a:p>
            </p:txBody>
          </p:sp>
          <p:sp>
            <p:nvSpPr>
              <p:cNvPr id="18" name="Shape 428"/>
              <p:cNvSpPr/>
              <p:nvPr/>
            </p:nvSpPr>
            <p:spPr>
              <a:xfrm>
                <a:off x="707662" y="0"/>
                <a:ext cx="162566" cy="16256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4"/>
              </a:solidFill>
              <a:ln w="12700" cap="flat">
                <a:noFill/>
                <a:miter lim="400000"/>
              </a:ln>
              <a:effectLst/>
            </p:spPr>
            <p:txBody>
              <a:bodyPr wrap="square" lIns="0" tIns="0" rIns="0" bIns="0" numCol="1" anchor="ctr">
                <a:noAutofit/>
              </a:bodyPr>
              <a:lstStyle/>
              <a:p>
                <a:pPr>
                  <a:defRPr sz="3200"/>
                </a:pPr>
                <a:endParaRPr sz="3200">
                  <a:solidFill>
                    <a:prstClr val="black"/>
                  </a:solidFill>
                </a:endParaRPr>
              </a:p>
            </p:txBody>
          </p:sp>
          <p:sp>
            <p:nvSpPr>
              <p:cNvPr id="19" name="Shape 429"/>
              <p:cNvSpPr/>
              <p:nvPr/>
            </p:nvSpPr>
            <p:spPr>
              <a:xfrm>
                <a:off x="943550" y="0"/>
                <a:ext cx="162565" cy="16256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5"/>
              </a:solidFill>
              <a:ln w="12700" cap="flat">
                <a:noFill/>
                <a:miter lim="400000"/>
              </a:ln>
              <a:effectLst/>
            </p:spPr>
            <p:txBody>
              <a:bodyPr wrap="square" lIns="0" tIns="0" rIns="0" bIns="0" numCol="1" anchor="ctr">
                <a:noAutofit/>
              </a:bodyPr>
              <a:lstStyle/>
              <a:p>
                <a:pPr>
                  <a:defRPr sz="3200"/>
                </a:pPr>
                <a:endParaRPr sz="3200">
                  <a:solidFill>
                    <a:prstClr val="black"/>
                  </a:solidFill>
                </a:endParaRPr>
              </a:p>
            </p:txBody>
          </p:sp>
        </p:grpSp>
      </p:grpSp>
    </p:spTree>
    <p:extLst>
      <p:ext uri="{BB962C8B-B14F-4D97-AF65-F5344CB8AC3E}">
        <p14:creationId xmlns:p14="http://schemas.microsoft.com/office/powerpoint/2010/main" val="1251516190"/>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iterate>
                                    <p:tmAbs val="0"/>
                                  </p:iterate>
                                  <p:childTnLst>
                                    <p:set>
                                      <p:cBhvr>
                                        <p:cTn id="6" fill="hold"/>
                                        <p:tgtEl>
                                          <p:spTgt spid="10"/>
                                        </p:tgtEl>
                                        <p:attrNameLst>
                                          <p:attrName>style.visibility</p:attrName>
                                        </p:attrNameLst>
                                      </p:cBhvr>
                                      <p:to>
                                        <p:strVal val="visible"/>
                                      </p:to>
                                    </p:set>
                                    <p:anim calcmode="lin" valueType="num">
                                      <p:cBhvr>
                                        <p:cTn id="7" dur="1000" fill="hold"/>
                                        <p:tgtEl>
                                          <p:spTgt spid="10"/>
                                        </p:tgtEl>
                                        <p:attrNameLst>
                                          <p:attrName>ppt_x</p:attrName>
                                        </p:attrNameLst>
                                      </p:cBhvr>
                                      <p:tavLst>
                                        <p:tav tm="0">
                                          <p:val>
                                            <p:strVal val="#ppt_x"/>
                                          </p:val>
                                        </p:tav>
                                        <p:tav tm="100000">
                                          <p:val>
                                            <p:strVal val="#ppt_x"/>
                                          </p:val>
                                        </p:tav>
                                      </p:tavLst>
                                    </p:anim>
                                    <p:anim calcmode="lin" valueType="num">
                                      <p:cBhvr>
                                        <p:cTn id="8" dur="1000" fill="hold"/>
                                        <p:tgtEl>
                                          <p:spTgt spid="10"/>
                                        </p:tgtEl>
                                        <p:attrNameLst>
                                          <p:attrName>ppt_y</p:attrName>
                                        </p:attrNameLst>
                                      </p:cBhvr>
                                      <p:tavLst>
                                        <p:tav tm="0">
                                          <p:val>
                                            <p:strVal val="0-#ppt_h/2"/>
                                          </p:val>
                                        </p:tav>
                                        <p:tav tm="100000">
                                          <p:val>
                                            <p:strVal val="#ppt_y"/>
                                          </p:val>
                                        </p:tav>
                                      </p:tavLst>
                                    </p:anim>
                                  </p:childTnLst>
                                </p:cTn>
                              </p:par>
                            </p:childTnLst>
                          </p:cTn>
                        </p:par>
                        <p:par>
                          <p:cTn id="9" fill="hold">
                            <p:stCondLst>
                              <p:cond delay="1000"/>
                            </p:stCondLst>
                            <p:childTnLst>
                              <p:par>
                                <p:cTn id="10" presetID="2" presetClass="entr" presetSubtype="8" fill="hold" grpId="0" nodeType="after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additive="base">
                                        <p:cTn id="12" dur="500" fill="hold"/>
                                        <p:tgtEl>
                                          <p:spTgt spid="3"/>
                                        </p:tgtEl>
                                        <p:attrNameLst>
                                          <p:attrName>ppt_x</p:attrName>
                                        </p:attrNameLst>
                                      </p:cBhvr>
                                      <p:tavLst>
                                        <p:tav tm="0">
                                          <p:val>
                                            <p:strVal val="0-#ppt_w/2"/>
                                          </p:val>
                                        </p:tav>
                                        <p:tav tm="100000">
                                          <p:val>
                                            <p:strVal val="#ppt_x"/>
                                          </p:val>
                                        </p:tav>
                                      </p:tavLst>
                                    </p:anim>
                                    <p:anim calcmode="lin" valueType="num">
                                      <p:cBhvr additive="base">
                                        <p:cTn id="13" dur="500" fill="hold"/>
                                        <p:tgtEl>
                                          <p:spTgt spid="3"/>
                                        </p:tgtEl>
                                        <p:attrNameLst>
                                          <p:attrName>ppt_y</p:attrName>
                                        </p:attrNameLst>
                                      </p:cBhvr>
                                      <p:tavLst>
                                        <p:tav tm="0">
                                          <p:val>
                                            <p:strVal val="#ppt_y"/>
                                          </p:val>
                                        </p:tav>
                                        <p:tav tm="100000">
                                          <p:val>
                                            <p:strVal val="#ppt_y"/>
                                          </p:val>
                                        </p:tav>
                                      </p:tavLst>
                                    </p:anim>
                                  </p:childTnLst>
                                </p:cTn>
                              </p:par>
                            </p:childTnLst>
                          </p:cTn>
                        </p:par>
                        <p:par>
                          <p:cTn id="14" fill="hold">
                            <p:stCondLst>
                              <p:cond delay="1500"/>
                            </p:stCondLst>
                            <p:childTnLst>
                              <p:par>
                                <p:cTn id="15" presetID="2" presetClass="entr" presetSubtype="8" fill="hold" grpId="0" nodeType="afterEffect">
                                  <p:stCondLst>
                                    <p:cond delay="0"/>
                                  </p:stCondLst>
                                  <p:iterate>
                                    <p:tmAbs val="0"/>
                                  </p:iterate>
                                  <p:childTnLst>
                                    <p:set>
                                      <p:cBhvr>
                                        <p:cTn id="16" fill="hold"/>
                                        <p:tgtEl>
                                          <p:spTgt spid="8"/>
                                        </p:tgtEl>
                                        <p:attrNameLst>
                                          <p:attrName>style.visibility</p:attrName>
                                        </p:attrNameLst>
                                      </p:cBhvr>
                                      <p:to>
                                        <p:strVal val="visible"/>
                                      </p:to>
                                    </p:set>
                                    <p:anim calcmode="lin" valueType="num">
                                      <p:cBhvr>
                                        <p:cTn id="17" dur="350" fill="hold"/>
                                        <p:tgtEl>
                                          <p:spTgt spid="8"/>
                                        </p:tgtEl>
                                        <p:attrNameLst>
                                          <p:attrName>ppt_x</p:attrName>
                                        </p:attrNameLst>
                                      </p:cBhvr>
                                      <p:tavLst>
                                        <p:tav tm="0">
                                          <p:val>
                                            <p:strVal val="0-#ppt_w/2"/>
                                          </p:val>
                                        </p:tav>
                                        <p:tav tm="100000">
                                          <p:val>
                                            <p:strVal val="#ppt_x"/>
                                          </p:val>
                                        </p:tav>
                                      </p:tavLst>
                                    </p:anim>
                                    <p:anim calcmode="lin" valueType="num">
                                      <p:cBhvr>
                                        <p:cTn id="18" dur="350" fill="hold"/>
                                        <p:tgtEl>
                                          <p:spTgt spid="8"/>
                                        </p:tgtEl>
                                        <p:attrNameLst>
                                          <p:attrName>ppt_y</p:attrName>
                                        </p:attrNameLst>
                                      </p:cBhvr>
                                      <p:tavLst>
                                        <p:tav tm="0">
                                          <p:val>
                                            <p:strVal val="#ppt_y"/>
                                          </p:val>
                                        </p:tav>
                                        <p:tav tm="100000">
                                          <p:val>
                                            <p:strVal val="#ppt_y"/>
                                          </p:val>
                                        </p:tav>
                                      </p:tavLst>
                                    </p:anim>
                                  </p:childTnLst>
                                </p:cTn>
                              </p:par>
                            </p:childTnLst>
                          </p:cTn>
                        </p:par>
                        <p:par>
                          <p:cTn id="19" fill="hold">
                            <p:stCondLst>
                              <p:cond delay="1850"/>
                            </p:stCondLst>
                            <p:childTnLst>
                              <p:par>
                                <p:cTn id="20" presetID="2" presetClass="entr" presetSubtype="8" fill="hold" grpId="0" nodeType="afterEffect">
                                  <p:stCondLst>
                                    <p:cond delay="0"/>
                                  </p:stCondLst>
                                  <p:iterate>
                                    <p:tmAbs val="0"/>
                                  </p:iterate>
                                  <p:childTnLst>
                                    <p:set>
                                      <p:cBhvr>
                                        <p:cTn id="21" fill="hold"/>
                                        <p:tgtEl>
                                          <p:spTgt spid="7"/>
                                        </p:tgtEl>
                                        <p:attrNameLst>
                                          <p:attrName>style.visibility</p:attrName>
                                        </p:attrNameLst>
                                      </p:cBhvr>
                                      <p:to>
                                        <p:strVal val="visible"/>
                                      </p:to>
                                    </p:set>
                                    <p:anim calcmode="lin" valueType="num">
                                      <p:cBhvr>
                                        <p:cTn id="22" dur="350" fill="hold"/>
                                        <p:tgtEl>
                                          <p:spTgt spid="7"/>
                                        </p:tgtEl>
                                        <p:attrNameLst>
                                          <p:attrName>ppt_x</p:attrName>
                                        </p:attrNameLst>
                                      </p:cBhvr>
                                      <p:tavLst>
                                        <p:tav tm="0">
                                          <p:val>
                                            <p:strVal val="0-#ppt_w/2"/>
                                          </p:val>
                                        </p:tav>
                                        <p:tav tm="100000">
                                          <p:val>
                                            <p:strVal val="#ppt_x"/>
                                          </p:val>
                                        </p:tav>
                                      </p:tavLst>
                                    </p:anim>
                                    <p:anim calcmode="lin" valueType="num">
                                      <p:cBhvr>
                                        <p:cTn id="23" dur="350" fill="hold"/>
                                        <p:tgtEl>
                                          <p:spTgt spid="7"/>
                                        </p:tgtEl>
                                        <p:attrNameLst>
                                          <p:attrName>ppt_y</p:attrName>
                                        </p:attrNameLst>
                                      </p:cBhvr>
                                      <p:tavLst>
                                        <p:tav tm="0">
                                          <p:val>
                                            <p:strVal val="#ppt_y"/>
                                          </p:val>
                                        </p:tav>
                                        <p:tav tm="100000">
                                          <p:val>
                                            <p:strVal val="#ppt_y"/>
                                          </p:val>
                                        </p:tav>
                                      </p:tavLst>
                                    </p:anim>
                                  </p:childTnLst>
                                </p:cTn>
                              </p:par>
                            </p:childTnLst>
                          </p:cTn>
                        </p:par>
                        <p:par>
                          <p:cTn id="24" fill="hold">
                            <p:stCondLst>
                              <p:cond delay="2200"/>
                            </p:stCondLst>
                            <p:childTnLst>
                              <p:par>
                                <p:cTn id="25" presetID="2" presetClass="entr" presetSubtype="8" fill="hold" grpId="0" nodeType="afterEffect">
                                  <p:stCondLst>
                                    <p:cond delay="0"/>
                                  </p:stCondLst>
                                  <p:iterate>
                                    <p:tmAbs val="0"/>
                                  </p:iterate>
                                  <p:childTnLst>
                                    <p:set>
                                      <p:cBhvr>
                                        <p:cTn id="26" fill="hold"/>
                                        <p:tgtEl>
                                          <p:spTgt spid="6"/>
                                        </p:tgtEl>
                                        <p:attrNameLst>
                                          <p:attrName>style.visibility</p:attrName>
                                        </p:attrNameLst>
                                      </p:cBhvr>
                                      <p:to>
                                        <p:strVal val="visible"/>
                                      </p:to>
                                    </p:set>
                                    <p:anim calcmode="lin" valueType="num">
                                      <p:cBhvr>
                                        <p:cTn id="27" dur="350" fill="hold"/>
                                        <p:tgtEl>
                                          <p:spTgt spid="6"/>
                                        </p:tgtEl>
                                        <p:attrNameLst>
                                          <p:attrName>ppt_x</p:attrName>
                                        </p:attrNameLst>
                                      </p:cBhvr>
                                      <p:tavLst>
                                        <p:tav tm="0">
                                          <p:val>
                                            <p:strVal val="0-#ppt_w/2"/>
                                          </p:val>
                                        </p:tav>
                                        <p:tav tm="100000">
                                          <p:val>
                                            <p:strVal val="#ppt_x"/>
                                          </p:val>
                                        </p:tav>
                                      </p:tavLst>
                                    </p:anim>
                                    <p:anim calcmode="lin" valueType="num">
                                      <p:cBhvr>
                                        <p:cTn id="28" dur="350" fill="hold"/>
                                        <p:tgtEl>
                                          <p:spTgt spid="6"/>
                                        </p:tgtEl>
                                        <p:attrNameLst>
                                          <p:attrName>ppt_y</p:attrName>
                                        </p:attrNameLst>
                                      </p:cBhvr>
                                      <p:tavLst>
                                        <p:tav tm="0">
                                          <p:val>
                                            <p:strVal val="#ppt_y"/>
                                          </p:val>
                                        </p:tav>
                                        <p:tav tm="100000">
                                          <p:val>
                                            <p:strVal val="#ppt_y"/>
                                          </p:val>
                                        </p:tav>
                                      </p:tavLst>
                                    </p:anim>
                                  </p:childTnLst>
                                </p:cTn>
                              </p:par>
                            </p:childTnLst>
                          </p:cTn>
                        </p:par>
                        <p:par>
                          <p:cTn id="29" fill="hold">
                            <p:stCondLst>
                              <p:cond delay="2550"/>
                            </p:stCondLst>
                            <p:childTnLst>
                              <p:par>
                                <p:cTn id="30" presetID="2" presetClass="entr" presetSubtype="8" fill="hold" grpId="0" nodeType="afterEffect">
                                  <p:stCondLst>
                                    <p:cond delay="0"/>
                                  </p:stCondLst>
                                  <p:iterate>
                                    <p:tmAbs val="0"/>
                                  </p:iterate>
                                  <p:childTnLst>
                                    <p:set>
                                      <p:cBhvr>
                                        <p:cTn id="31" fill="hold"/>
                                        <p:tgtEl>
                                          <p:spTgt spid="5"/>
                                        </p:tgtEl>
                                        <p:attrNameLst>
                                          <p:attrName>style.visibility</p:attrName>
                                        </p:attrNameLst>
                                      </p:cBhvr>
                                      <p:to>
                                        <p:strVal val="visible"/>
                                      </p:to>
                                    </p:set>
                                    <p:anim calcmode="lin" valueType="num">
                                      <p:cBhvr>
                                        <p:cTn id="32" dur="350" fill="hold"/>
                                        <p:tgtEl>
                                          <p:spTgt spid="5"/>
                                        </p:tgtEl>
                                        <p:attrNameLst>
                                          <p:attrName>ppt_x</p:attrName>
                                        </p:attrNameLst>
                                      </p:cBhvr>
                                      <p:tavLst>
                                        <p:tav tm="0">
                                          <p:val>
                                            <p:strVal val="0-#ppt_w/2"/>
                                          </p:val>
                                        </p:tav>
                                        <p:tav tm="100000">
                                          <p:val>
                                            <p:strVal val="#ppt_x"/>
                                          </p:val>
                                        </p:tav>
                                      </p:tavLst>
                                    </p:anim>
                                    <p:anim calcmode="lin" valueType="num">
                                      <p:cBhvr>
                                        <p:cTn id="33" dur="350" fill="hold"/>
                                        <p:tgtEl>
                                          <p:spTgt spid="5"/>
                                        </p:tgtEl>
                                        <p:attrNameLst>
                                          <p:attrName>ppt_y</p:attrName>
                                        </p:attrNameLst>
                                      </p:cBhvr>
                                      <p:tavLst>
                                        <p:tav tm="0">
                                          <p:val>
                                            <p:strVal val="#ppt_y"/>
                                          </p:val>
                                        </p:tav>
                                        <p:tav tm="100000">
                                          <p:val>
                                            <p:strVal val="#ppt_y"/>
                                          </p:val>
                                        </p:tav>
                                      </p:tavLst>
                                    </p:anim>
                                  </p:childTnLst>
                                </p:cTn>
                              </p:par>
                            </p:childTnLst>
                          </p:cTn>
                        </p:par>
                        <p:par>
                          <p:cTn id="34" fill="hold">
                            <p:stCondLst>
                              <p:cond delay="2900"/>
                            </p:stCondLst>
                            <p:childTnLst>
                              <p:par>
                                <p:cTn id="35" presetID="2" presetClass="entr" presetSubtype="8" fill="hold" grpId="0" nodeType="afterEffect">
                                  <p:stCondLst>
                                    <p:cond delay="0"/>
                                  </p:stCondLst>
                                  <p:iterate>
                                    <p:tmAbs val="0"/>
                                  </p:iterate>
                                  <p:childTnLst>
                                    <p:set>
                                      <p:cBhvr>
                                        <p:cTn id="36" fill="hold"/>
                                        <p:tgtEl>
                                          <p:spTgt spid="4"/>
                                        </p:tgtEl>
                                        <p:attrNameLst>
                                          <p:attrName>style.visibility</p:attrName>
                                        </p:attrNameLst>
                                      </p:cBhvr>
                                      <p:to>
                                        <p:strVal val="visible"/>
                                      </p:to>
                                    </p:set>
                                    <p:anim calcmode="lin" valueType="num">
                                      <p:cBhvr>
                                        <p:cTn id="37" dur="350" fill="hold"/>
                                        <p:tgtEl>
                                          <p:spTgt spid="4"/>
                                        </p:tgtEl>
                                        <p:attrNameLst>
                                          <p:attrName>ppt_x</p:attrName>
                                        </p:attrNameLst>
                                      </p:cBhvr>
                                      <p:tavLst>
                                        <p:tav tm="0">
                                          <p:val>
                                            <p:strVal val="0-#ppt_w/2"/>
                                          </p:val>
                                        </p:tav>
                                        <p:tav tm="100000">
                                          <p:val>
                                            <p:strVal val="#ppt_x"/>
                                          </p:val>
                                        </p:tav>
                                      </p:tavLst>
                                    </p:anim>
                                    <p:anim calcmode="lin" valueType="num">
                                      <p:cBhvr>
                                        <p:cTn id="38" dur="3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advAuto="0"/>
      <p:bldP spid="5" grpId="0" animBg="1" advAuto="0"/>
      <p:bldP spid="6" grpId="0" animBg="1" advAuto="0"/>
      <p:bldP spid="7" grpId="0" animBg="1" advAuto="0"/>
      <p:bldP spid="8" grpId="0" animBg="1" advAuto="0"/>
      <p:bldP spid="10" grpId="0" animBg="1" advAuto="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4611" y="203534"/>
            <a:ext cx="7886700" cy="1154878"/>
          </a:xfrm>
          <a:noFill/>
          <a:ln w="9525">
            <a:noFill/>
            <a:miter lim="800000"/>
            <a:headEnd/>
            <a:tailEnd/>
          </a:ln>
        </p:spPr>
        <p:txBody>
          <a:bodyPr vert="horz" wrap="square" lIns="91440" tIns="18288" rIns="91440" bIns="18288" numCol="1" rtlCol="0" anchor="ctr" anchorCtr="0" compatLnSpc="1">
            <a:prstTxWarp prst="textNoShape">
              <a:avLst/>
            </a:prstTxWarp>
            <a:noAutofit/>
          </a:bodyPr>
          <a:lstStyle/>
          <a:p>
            <a:pPr algn="ctr" defTabSz="914400"/>
            <a:r>
              <a:rPr lang="en-US" sz="2800" b="1" dirty="0">
                <a:solidFill>
                  <a:srgbClr val="000000"/>
                </a:solidFill>
                <a:latin typeface="Arial" pitchFamily="34" charset="0"/>
                <a:cs typeface="Arial" pitchFamily="34" charset="0"/>
              </a:rPr>
              <a:t>Poverty levels and income per capita, Zambia, 1990-2014</a:t>
            </a:r>
          </a:p>
        </p:txBody>
      </p:sp>
      <p:pic>
        <p:nvPicPr>
          <p:cNvPr id="3" name="Picture 2"/>
          <p:cNvPicPr>
            <a:picLocks noChangeAspect="1"/>
          </p:cNvPicPr>
          <p:nvPr/>
        </p:nvPicPr>
        <p:blipFill>
          <a:blip r:embed="rId2"/>
          <a:stretch>
            <a:fillRect/>
          </a:stretch>
        </p:blipFill>
        <p:spPr>
          <a:xfrm>
            <a:off x="289180" y="1463918"/>
            <a:ext cx="8421923" cy="4449167"/>
          </a:xfrm>
          <a:prstGeom prst="rect">
            <a:avLst/>
          </a:prstGeom>
        </p:spPr>
      </p:pic>
      <p:sp>
        <p:nvSpPr>
          <p:cNvPr id="4" name="TextBox 3"/>
          <p:cNvSpPr txBox="1"/>
          <p:nvPr/>
        </p:nvSpPr>
        <p:spPr>
          <a:xfrm>
            <a:off x="7012459" y="6237312"/>
            <a:ext cx="2131541" cy="253916"/>
          </a:xfrm>
          <a:prstGeom prst="rect">
            <a:avLst/>
          </a:prstGeom>
          <a:noFill/>
          <a:ln>
            <a:noFill/>
          </a:ln>
        </p:spPr>
        <p:txBody>
          <a:bodyPr wrap="square" rtlCol="0">
            <a:spAutoFit/>
          </a:bodyPr>
          <a:lstStyle/>
          <a:p>
            <a:r>
              <a:rPr lang="en-US" sz="1050" dirty="0">
                <a:solidFill>
                  <a:prstClr val="black"/>
                </a:solidFill>
              </a:rPr>
              <a:t>Source: World Bank 2014</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592" y="203534"/>
            <a:ext cx="525826" cy="830652"/>
          </a:xfrm>
          <a:prstGeom prst="rect">
            <a:avLst/>
          </a:prstGeom>
        </p:spPr>
      </p:pic>
    </p:spTree>
    <p:extLst>
      <p:ext uri="{BB962C8B-B14F-4D97-AF65-F5344CB8AC3E}">
        <p14:creationId xmlns:p14="http://schemas.microsoft.com/office/powerpoint/2010/main" val="305762748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9418" y="-16811"/>
            <a:ext cx="8414951" cy="1482330"/>
          </a:xfrm>
          <a:noFill/>
          <a:ln w="9525">
            <a:noFill/>
            <a:miter lim="800000"/>
            <a:headEnd/>
            <a:tailEnd/>
          </a:ln>
        </p:spPr>
        <p:txBody>
          <a:bodyPr vert="horz" wrap="square" lIns="91440" tIns="18288" rIns="91440" bIns="18288" numCol="1" rtlCol="0" anchor="ctr" anchorCtr="0" compatLnSpc="1">
            <a:prstTxWarp prst="textNoShape">
              <a:avLst/>
            </a:prstTxWarp>
            <a:noAutofit/>
          </a:bodyPr>
          <a:lstStyle/>
          <a:p>
            <a:pPr algn="ctr" defTabSz="914400"/>
            <a:r>
              <a:rPr lang="en-US" sz="2800" b="1" dirty="0" smtClean="0">
                <a:solidFill>
                  <a:srgbClr val="000000"/>
                </a:solidFill>
                <a:latin typeface="Arial" pitchFamily="34" charset="0"/>
                <a:cs typeface="Arial" pitchFamily="34" charset="0"/>
              </a:rPr>
              <a:t>Share </a:t>
            </a:r>
            <a:r>
              <a:rPr lang="en-US" sz="2800" b="1" dirty="0">
                <a:solidFill>
                  <a:srgbClr val="000000"/>
                </a:solidFill>
                <a:latin typeface="Arial" pitchFamily="34" charset="0"/>
                <a:cs typeface="Arial" pitchFamily="34" charset="0"/>
              </a:rPr>
              <a:t>of total public expenditure allocated to the agricultural sector, Zambia 2000-2009</a:t>
            </a:r>
          </a:p>
        </p:txBody>
      </p:sp>
      <p:pic>
        <p:nvPicPr>
          <p:cNvPr id="3" name="Picture 2"/>
          <p:cNvPicPr>
            <a:picLocks noChangeAspect="1"/>
          </p:cNvPicPr>
          <p:nvPr/>
        </p:nvPicPr>
        <p:blipFill>
          <a:blip r:embed="rId2"/>
          <a:stretch>
            <a:fillRect/>
          </a:stretch>
        </p:blipFill>
        <p:spPr>
          <a:xfrm>
            <a:off x="230725" y="1465519"/>
            <a:ext cx="8572264" cy="4555769"/>
          </a:xfrm>
          <a:prstGeom prst="rect">
            <a:avLst/>
          </a:prstGeom>
        </p:spPr>
      </p:pic>
      <p:sp>
        <p:nvSpPr>
          <p:cNvPr id="4" name="TextBox 3"/>
          <p:cNvSpPr txBox="1"/>
          <p:nvPr/>
        </p:nvSpPr>
        <p:spPr>
          <a:xfrm>
            <a:off x="7596336" y="6309320"/>
            <a:ext cx="2242752" cy="253916"/>
          </a:xfrm>
          <a:prstGeom prst="rect">
            <a:avLst/>
          </a:prstGeom>
          <a:noFill/>
          <a:ln>
            <a:noFill/>
          </a:ln>
        </p:spPr>
        <p:txBody>
          <a:bodyPr wrap="square" rtlCol="0">
            <a:spAutoFit/>
          </a:bodyPr>
          <a:lstStyle/>
          <a:p>
            <a:r>
              <a:rPr lang="en-US" sz="1050" dirty="0">
                <a:solidFill>
                  <a:prstClr val="black"/>
                </a:solidFill>
              </a:rPr>
              <a:t>Source: AGRA 2013</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592" y="203534"/>
            <a:ext cx="525826" cy="830652"/>
          </a:xfrm>
          <a:prstGeom prst="rect">
            <a:avLst/>
          </a:prstGeom>
        </p:spPr>
      </p:pic>
    </p:spTree>
    <p:extLst>
      <p:ext uri="{BB962C8B-B14F-4D97-AF65-F5344CB8AC3E}">
        <p14:creationId xmlns:p14="http://schemas.microsoft.com/office/powerpoint/2010/main" val="175481233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7908" y="139718"/>
            <a:ext cx="8260080" cy="1543404"/>
          </a:xfrm>
          <a:noFill/>
          <a:ln w="9525">
            <a:noFill/>
            <a:miter lim="800000"/>
            <a:headEnd/>
            <a:tailEnd/>
          </a:ln>
        </p:spPr>
        <p:txBody>
          <a:bodyPr vert="horz" wrap="square" lIns="91440" tIns="18288" rIns="91440" bIns="18288" numCol="1" rtlCol="0" anchor="ctr" anchorCtr="0" compatLnSpc="1">
            <a:prstTxWarp prst="textNoShape">
              <a:avLst/>
            </a:prstTxWarp>
            <a:noAutofit/>
          </a:bodyPr>
          <a:lstStyle/>
          <a:p>
            <a:pPr algn="ctr" defTabSz="914400"/>
            <a:r>
              <a:rPr lang="en-US" sz="2800" b="1" dirty="0" smtClean="0">
                <a:solidFill>
                  <a:srgbClr val="000000"/>
                </a:solidFill>
                <a:latin typeface="Arial" pitchFamily="34" charset="0"/>
                <a:cs typeface="Arial" pitchFamily="34" charset="0"/>
              </a:rPr>
              <a:t>Share </a:t>
            </a:r>
            <a:r>
              <a:rPr lang="en-US" sz="2800" b="1" dirty="0">
                <a:solidFill>
                  <a:srgbClr val="000000"/>
                </a:solidFill>
                <a:latin typeface="Arial" pitchFamily="34" charset="0"/>
                <a:cs typeface="Arial" pitchFamily="34" charset="0"/>
              </a:rPr>
              <a:t>of the population below minimum level of dietary energy intake (official MDG indicator), Zambia, 1991-2013</a:t>
            </a:r>
          </a:p>
        </p:txBody>
      </p:sp>
      <p:pic>
        <p:nvPicPr>
          <p:cNvPr id="3" name="Picture 2"/>
          <p:cNvPicPr>
            <a:picLocks noChangeAspect="1"/>
          </p:cNvPicPr>
          <p:nvPr/>
        </p:nvPicPr>
        <p:blipFill>
          <a:blip r:embed="rId2"/>
          <a:stretch>
            <a:fillRect/>
          </a:stretch>
        </p:blipFill>
        <p:spPr>
          <a:xfrm>
            <a:off x="250939" y="1746938"/>
            <a:ext cx="8189677" cy="4130334"/>
          </a:xfrm>
          <a:prstGeom prst="rect">
            <a:avLst/>
          </a:prstGeom>
        </p:spPr>
      </p:pic>
      <p:sp>
        <p:nvSpPr>
          <p:cNvPr id="4" name="TextBox 3"/>
          <p:cNvSpPr txBox="1"/>
          <p:nvPr/>
        </p:nvSpPr>
        <p:spPr>
          <a:xfrm>
            <a:off x="6156176" y="6381328"/>
            <a:ext cx="3855308" cy="253916"/>
          </a:xfrm>
          <a:prstGeom prst="rect">
            <a:avLst/>
          </a:prstGeom>
          <a:noFill/>
          <a:ln>
            <a:noFill/>
          </a:ln>
        </p:spPr>
        <p:txBody>
          <a:bodyPr wrap="square" rtlCol="0">
            <a:spAutoFit/>
          </a:bodyPr>
          <a:lstStyle/>
          <a:p>
            <a:r>
              <a:rPr lang="en-US" sz="1050" dirty="0">
                <a:solidFill>
                  <a:prstClr val="black"/>
                </a:solidFill>
              </a:rPr>
              <a:t>Source: United Nations Statistics Division 2014</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592" y="203534"/>
            <a:ext cx="525826" cy="830652"/>
          </a:xfrm>
          <a:prstGeom prst="rect">
            <a:avLst/>
          </a:prstGeom>
        </p:spPr>
      </p:pic>
    </p:spTree>
    <p:extLst>
      <p:ext uri="{BB962C8B-B14F-4D97-AF65-F5344CB8AC3E}">
        <p14:creationId xmlns:p14="http://schemas.microsoft.com/office/powerpoint/2010/main" val="103346679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a:xfrm>
            <a:off x="1403648" y="323381"/>
            <a:ext cx="6629400" cy="936104"/>
          </a:xfrm>
          <a:noFill/>
          <a:ln w="9525">
            <a:noFill/>
            <a:miter lim="800000"/>
            <a:headEnd/>
            <a:tailEnd/>
          </a:ln>
        </p:spPr>
        <p:txBody>
          <a:bodyPr vert="horz" wrap="square" lIns="91440" tIns="18288" rIns="91440" bIns="18288" numCol="1" rtlCol="0" anchor="ctr" anchorCtr="0" compatLnSpc="1">
            <a:prstTxWarp prst="textNoShape">
              <a:avLst/>
            </a:prstTxWarp>
            <a:noAutofit/>
          </a:bodyPr>
          <a:lstStyle/>
          <a:p>
            <a:pPr algn="ctr" defTabSz="914400"/>
            <a:r>
              <a:rPr lang="en-US" sz="2800" b="1" dirty="0">
                <a:solidFill>
                  <a:srgbClr val="000000"/>
                </a:solidFill>
                <a:latin typeface="Arial" pitchFamily="34" charset="0"/>
                <a:cs typeface="Arial" pitchFamily="34" charset="0"/>
              </a:rPr>
              <a:t>GHI measures three dimensions of hunger</a:t>
            </a:r>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t="9547" b="12429"/>
          <a:stretch/>
        </p:blipFill>
        <p:spPr>
          <a:xfrm>
            <a:off x="398724" y="1484784"/>
            <a:ext cx="8639248" cy="437195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592" y="203534"/>
            <a:ext cx="525826" cy="830652"/>
          </a:xfrm>
          <a:prstGeom prst="rect">
            <a:avLst/>
          </a:prstGeom>
        </p:spPr>
      </p:pic>
    </p:spTree>
    <p:extLst>
      <p:ext uri="{BB962C8B-B14F-4D97-AF65-F5344CB8AC3E}">
        <p14:creationId xmlns:p14="http://schemas.microsoft.com/office/powerpoint/2010/main" val="1871353174"/>
      </p:ext>
    </p:extLst>
  </p:cSld>
  <p:clrMapOvr>
    <a:masterClrMapping/>
  </p:clrMapOvr>
  <p:transition spd="slow"/>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7584" y="22844"/>
            <a:ext cx="7886700" cy="1325563"/>
          </a:xfrm>
          <a:noFill/>
          <a:ln w="9525">
            <a:noFill/>
            <a:miter lim="800000"/>
            <a:headEnd/>
            <a:tailEnd/>
          </a:ln>
        </p:spPr>
        <p:txBody>
          <a:bodyPr vert="horz" wrap="square" lIns="91440" tIns="18288" rIns="91440" bIns="18288" numCol="1" rtlCol="0" anchor="ctr" anchorCtr="0" compatLnSpc="1">
            <a:prstTxWarp prst="textNoShape">
              <a:avLst/>
            </a:prstTxWarp>
            <a:noAutofit/>
          </a:bodyPr>
          <a:lstStyle/>
          <a:p>
            <a:pPr algn="ctr" defTabSz="914400"/>
            <a:r>
              <a:rPr lang="en-US" sz="2800" b="1" dirty="0">
                <a:solidFill>
                  <a:srgbClr val="000000"/>
                </a:solidFill>
                <a:latin typeface="Arial" pitchFamily="34" charset="0"/>
                <a:cs typeface="Arial" pitchFamily="34" charset="0"/>
              </a:rPr>
              <a:t>Different types of childhood malnutrition (abstract)</a:t>
            </a:r>
          </a:p>
        </p:txBody>
      </p:sp>
      <p:pic>
        <p:nvPicPr>
          <p:cNvPr id="3" name="Picture 2"/>
          <p:cNvPicPr>
            <a:picLocks noChangeAspect="1"/>
          </p:cNvPicPr>
          <p:nvPr/>
        </p:nvPicPr>
        <p:blipFill rotWithShape="1">
          <a:blip r:embed="rId2"/>
          <a:srcRect l="1354" t="23611" r="1875" b="17917"/>
          <a:stretch/>
        </p:blipFill>
        <p:spPr>
          <a:xfrm>
            <a:off x="642937" y="2085979"/>
            <a:ext cx="7850355" cy="3557588"/>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592" y="203534"/>
            <a:ext cx="525826" cy="830652"/>
          </a:xfrm>
          <a:prstGeom prst="rect">
            <a:avLst/>
          </a:prstGeom>
        </p:spPr>
      </p:pic>
    </p:spTree>
    <p:extLst>
      <p:ext uri="{BB962C8B-B14F-4D97-AF65-F5344CB8AC3E}">
        <p14:creationId xmlns:p14="http://schemas.microsoft.com/office/powerpoint/2010/main" val="301448539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76690" y="1021347"/>
            <a:ext cx="4220234" cy="2155522"/>
          </a:xfrm>
          <a:prstGeom prst="rect">
            <a:avLst/>
          </a:prstGeom>
        </p:spPr>
      </p:pic>
      <p:pic>
        <p:nvPicPr>
          <p:cNvPr id="5" name="Picture 4"/>
          <p:cNvPicPr>
            <a:picLocks noChangeAspect="1"/>
          </p:cNvPicPr>
          <p:nvPr/>
        </p:nvPicPr>
        <p:blipFill>
          <a:blip r:embed="rId3"/>
          <a:stretch>
            <a:fillRect/>
          </a:stretch>
        </p:blipFill>
        <p:spPr>
          <a:xfrm>
            <a:off x="2360968" y="1983862"/>
            <a:ext cx="1935956" cy="1193006"/>
          </a:xfrm>
          <a:prstGeom prst="rect">
            <a:avLst/>
          </a:prstGeom>
        </p:spPr>
      </p:pic>
      <p:pic>
        <p:nvPicPr>
          <p:cNvPr id="6" name="Picture 5"/>
          <p:cNvPicPr>
            <a:picLocks noChangeAspect="1"/>
          </p:cNvPicPr>
          <p:nvPr/>
        </p:nvPicPr>
        <p:blipFill>
          <a:blip r:embed="rId4"/>
          <a:stretch>
            <a:fillRect/>
          </a:stretch>
        </p:blipFill>
        <p:spPr>
          <a:xfrm>
            <a:off x="4296923" y="857250"/>
            <a:ext cx="4323440" cy="2694455"/>
          </a:xfrm>
          <a:prstGeom prst="rect">
            <a:avLst/>
          </a:prstGeom>
        </p:spPr>
      </p:pic>
      <p:pic>
        <p:nvPicPr>
          <p:cNvPr id="7" name="Picture 6"/>
          <p:cNvPicPr>
            <a:picLocks noChangeAspect="1"/>
          </p:cNvPicPr>
          <p:nvPr/>
        </p:nvPicPr>
        <p:blipFill>
          <a:blip r:embed="rId5"/>
          <a:stretch>
            <a:fillRect/>
          </a:stretch>
        </p:blipFill>
        <p:spPr>
          <a:xfrm>
            <a:off x="0" y="3715801"/>
            <a:ext cx="4571580" cy="2096462"/>
          </a:xfrm>
          <a:prstGeom prst="rect">
            <a:avLst/>
          </a:prstGeom>
        </p:spPr>
      </p:pic>
      <p:pic>
        <p:nvPicPr>
          <p:cNvPr id="8" name="Picture 7"/>
          <p:cNvPicPr>
            <a:picLocks noChangeAspect="1"/>
          </p:cNvPicPr>
          <p:nvPr/>
        </p:nvPicPr>
        <p:blipFill>
          <a:blip r:embed="rId6"/>
          <a:stretch>
            <a:fillRect/>
          </a:stretch>
        </p:blipFill>
        <p:spPr>
          <a:xfrm>
            <a:off x="4574522" y="3801396"/>
            <a:ext cx="4309782" cy="1925272"/>
          </a:xfrm>
          <a:prstGeom prst="rect">
            <a:avLst/>
          </a:prstGeom>
        </p:spPr>
      </p:pic>
      <p:sp>
        <p:nvSpPr>
          <p:cNvPr id="9" name="Rectangle 8"/>
          <p:cNvSpPr/>
          <p:nvPr/>
        </p:nvSpPr>
        <p:spPr>
          <a:xfrm>
            <a:off x="3285490" y="6034063"/>
            <a:ext cx="1920240" cy="9144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0" name="Rectangle 9"/>
          <p:cNvSpPr/>
          <p:nvPr/>
        </p:nvSpPr>
        <p:spPr>
          <a:xfrm>
            <a:off x="683260" y="6034063"/>
            <a:ext cx="1280160" cy="91440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1984374" y="6034063"/>
            <a:ext cx="1280160" cy="9144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5221605" y="6034063"/>
            <a:ext cx="1920240" cy="914400"/>
          </a:xfrm>
          <a:prstGeom prst="rect">
            <a:avLst/>
          </a:prstGeom>
          <a:solidFill>
            <a:srgbClr val="FF80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sp>
        <p:nvSpPr>
          <p:cNvPr id="13" name="Rectangle 12"/>
          <p:cNvSpPr/>
          <p:nvPr/>
        </p:nvSpPr>
        <p:spPr>
          <a:xfrm>
            <a:off x="7157720" y="6038527"/>
            <a:ext cx="1280160" cy="9144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p:cNvSpPr txBox="1"/>
          <p:nvPr/>
        </p:nvSpPr>
        <p:spPr>
          <a:xfrm>
            <a:off x="1000978" y="6178982"/>
            <a:ext cx="644727" cy="646331"/>
          </a:xfrm>
          <a:prstGeom prst="rect">
            <a:avLst/>
          </a:prstGeom>
          <a:noFill/>
        </p:spPr>
        <p:txBody>
          <a:bodyPr wrap="none" rtlCol="0">
            <a:spAutoFit/>
          </a:bodyPr>
          <a:lstStyle/>
          <a:p>
            <a:pPr algn="ctr"/>
            <a:r>
              <a:rPr lang="en-US" dirty="0">
                <a:solidFill>
                  <a:schemeClr val="bg1"/>
                </a:solidFill>
                <a:ea typeface="Zapf Dingbats" charset="0"/>
                <a:cs typeface="Zapf Dingbats" charset="0"/>
              </a:rPr>
              <a:t>≤ 9.9</a:t>
            </a:r>
          </a:p>
          <a:p>
            <a:pPr algn="ctr"/>
            <a:r>
              <a:rPr lang="en-US" dirty="0">
                <a:solidFill>
                  <a:schemeClr val="bg1"/>
                </a:solidFill>
                <a:ea typeface="Zapf Dingbats" charset="0"/>
                <a:cs typeface="Zapf Dingbats" charset="0"/>
              </a:rPr>
              <a:t>low</a:t>
            </a:r>
          </a:p>
        </p:txBody>
      </p:sp>
      <p:sp>
        <p:nvSpPr>
          <p:cNvPr id="15" name="TextBox 14"/>
          <p:cNvSpPr txBox="1"/>
          <p:nvPr/>
        </p:nvSpPr>
        <p:spPr>
          <a:xfrm>
            <a:off x="1924270" y="6199302"/>
            <a:ext cx="1400371" cy="646331"/>
          </a:xfrm>
          <a:prstGeom prst="rect">
            <a:avLst/>
          </a:prstGeom>
          <a:noFill/>
        </p:spPr>
        <p:txBody>
          <a:bodyPr wrap="square" rtlCol="0">
            <a:spAutoFit/>
          </a:bodyPr>
          <a:lstStyle/>
          <a:p>
            <a:pPr algn="ctr"/>
            <a:r>
              <a:rPr lang="en-US" dirty="0">
                <a:ea typeface="Zapf Dingbats" charset="0"/>
                <a:cs typeface="Zapf Dingbats" charset="0"/>
              </a:rPr>
              <a:t>10.0-19.9</a:t>
            </a:r>
          </a:p>
          <a:p>
            <a:pPr algn="ctr"/>
            <a:r>
              <a:rPr lang="en-US" dirty="0">
                <a:ea typeface="Zapf Dingbats" charset="0"/>
                <a:cs typeface="Zapf Dingbats" charset="0"/>
              </a:rPr>
              <a:t>moderate</a:t>
            </a:r>
          </a:p>
        </p:txBody>
      </p:sp>
      <p:sp>
        <p:nvSpPr>
          <p:cNvPr id="16" name="TextBox 15"/>
          <p:cNvSpPr txBox="1"/>
          <p:nvPr/>
        </p:nvSpPr>
        <p:spPr>
          <a:xfrm>
            <a:off x="3545425" y="6178982"/>
            <a:ext cx="1400371" cy="646331"/>
          </a:xfrm>
          <a:prstGeom prst="rect">
            <a:avLst/>
          </a:prstGeom>
          <a:noFill/>
        </p:spPr>
        <p:txBody>
          <a:bodyPr wrap="square" rtlCol="0">
            <a:spAutoFit/>
          </a:bodyPr>
          <a:lstStyle/>
          <a:p>
            <a:pPr algn="ctr"/>
            <a:r>
              <a:rPr lang="en-US" dirty="0">
                <a:ea typeface="Zapf Dingbats" charset="0"/>
                <a:cs typeface="Zapf Dingbats" charset="0"/>
              </a:rPr>
              <a:t>20.0-34.9</a:t>
            </a:r>
          </a:p>
          <a:p>
            <a:pPr algn="ctr"/>
            <a:r>
              <a:rPr lang="en-US" dirty="0">
                <a:ea typeface="Zapf Dingbats" charset="0"/>
                <a:cs typeface="Zapf Dingbats" charset="0"/>
              </a:rPr>
              <a:t>serious</a:t>
            </a:r>
          </a:p>
        </p:txBody>
      </p:sp>
      <p:sp>
        <p:nvSpPr>
          <p:cNvPr id="17" name="TextBox 16"/>
          <p:cNvSpPr txBox="1"/>
          <p:nvPr/>
        </p:nvSpPr>
        <p:spPr>
          <a:xfrm>
            <a:off x="5481541" y="6199302"/>
            <a:ext cx="1400371" cy="646331"/>
          </a:xfrm>
          <a:prstGeom prst="rect">
            <a:avLst/>
          </a:prstGeom>
          <a:noFill/>
        </p:spPr>
        <p:txBody>
          <a:bodyPr wrap="square" rtlCol="0">
            <a:spAutoFit/>
          </a:bodyPr>
          <a:lstStyle/>
          <a:p>
            <a:pPr algn="ctr"/>
            <a:r>
              <a:rPr lang="en-US" dirty="0">
                <a:ea typeface="Zapf Dingbats" charset="0"/>
                <a:cs typeface="Zapf Dingbats" charset="0"/>
              </a:rPr>
              <a:t>35.0-49.9</a:t>
            </a:r>
          </a:p>
          <a:p>
            <a:pPr algn="ctr"/>
            <a:r>
              <a:rPr lang="en-US" dirty="0">
                <a:ea typeface="Zapf Dingbats" charset="0"/>
                <a:cs typeface="Zapf Dingbats" charset="0"/>
              </a:rPr>
              <a:t>alarming</a:t>
            </a:r>
          </a:p>
        </p:txBody>
      </p:sp>
      <p:sp>
        <p:nvSpPr>
          <p:cNvPr id="18" name="TextBox 17"/>
          <p:cNvSpPr txBox="1"/>
          <p:nvPr/>
        </p:nvSpPr>
        <p:spPr>
          <a:xfrm>
            <a:off x="7238084" y="6034062"/>
            <a:ext cx="1122808" cy="923330"/>
          </a:xfrm>
          <a:prstGeom prst="rect">
            <a:avLst/>
          </a:prstGeom>
          <a:noFill/>
        </p:spPr>
        <p:txBody>
          <a:bodyPr wrap="none" rtlCol="0">
            <a:spAutoFit/>
          </a:bodyPr>
          <a:lstStyle/>
          <a:p>
            <a:pPr algn="ctr"/>
            <a:r>
              <a:rPr lang="en-US" dirty="0">
                <a:solidFill>
                  <a:schemeClr val="bg1"/>
                </a:solidFill>
                <a:ea typeface="Zapf Dingbats" charset="0"/>
                <a:cs typeface="Zapf Dingbats" charset="0"/>
              </a:rPr>
              <a:t>50.0 ≤</a:t>
            </a:r>
          </a:p>
          <a:p>
            <a:pPr algn="ctr"/>
            <a:r>
              <a:rPr lang="en-US" dirty="0">
                <a:solidFill>
                  <a:schemeClr val="bg1"/>
                </a:solidFill>
                <a:ea typeface="Zapf Dingbats" charset="0"/>
                <a:cs typeface="Zapf Dingbats" charset="0"/>
              </a:rPr>
              <a:t>extremely</a:t>
            </a:r>
          </a:p>
          <a:p>
            <a:pPr algn="ctr"/>
            <a:r>
              <a:rPr lang="en-US" dirty="0">
                <a:solidFill>
                  <a:schemeClr val="bg1"/>
                </a:solidFill>
                <a:ea typeface="Zapf Dingbats" charset="0"/>
                <a:cs typeface="Zapf Dingbats" charset="0"/>
              </a:rPr>
              <a:t>alarming</a:t>
            </a:r>
          </a:p>
        </p:txBody>
      </p:sp>
      <p:sp>
        <p:nvSpPr>
          <p:cNvPr id="19" name="Title 1"/>
          <p:cNvSpPr txBox="1">
            <a:spLocks/>
          </p:cNvSpPr>
          <p:nvPr/>
        </p:nvSpPr>
        <p:spPr>
          <a:xfrm>
            <a:off x="628650" y="365127"/>
            <a:ext cx="7886700" cy="328028"/>
          </a:xfrm>
          <a:prstGeom prst="rect">
            <a:avLst/>
          </a:prstGeom>
          <a:noFill/>
          <a:ln w="9525">
            <a:noFill/>
            <a:miter lim="800000"/>
            <a:headEnd/>
            <a:tailEnd/>
          </a:ln>
        </p:spPr>
        <p:txBody>
          <a:bodyPr vert="horz" wrap="square" lIns="91440" tIns="18288" rIns="91440" bIns="18288" numCol="1" rtlCol="0" anchor="ctr" anchorCtr="0" compatLnSpc="1">
            <a:prstTxWarp prst="textNoShape">
              <a:avLst/>
            </a:prstTxWarp>
            <a:noAutofit/>
          </a:bodyPr>
          <a:lstStyle>
            <a:lvl1pPr algn="ctr">
              <a:lnSpc>
                <a:spcPct val="90000"/>
              </a:lnSpc>
              <a:spcBef>
                <a:spcPct val="0"/>
              </a:spcBef>
              <a:buNone/>
              <a:defRPr sz="2800" b="1">
                <a:solidFill>
                  <a:srgbClr val="000000"/>
                </a:solidFill>
                <a:latin typeface="Arial" pitchFamily="34" charset="0"/>
                <a:ea typeface="+mj-ea"/>
                <a:cs typeface="Arial" pitchFamily="34" charset="0"/>
              </a:defRPr>
            </a:lvl1pPr>
          </a:lstStyle>
          <a:p>
            <a:r>
              <a:rPr lang="en-US"/>
              <a:t>GHI severity scale</a:t>
            </a:r>
            <a:endParaRPr lang="en-US" dirty="0"/>
          </a:p>
        </p:txBody>
      </p:sp>
      <p:pic>
        <p:nvPicPr>
          <p:cNvPr id="20" name="Picture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3592" y="203534"/>
            <a:ext cx="525826" cy="830652"/>
          </a:xfrm>
          <a:prstGeom prst="rect">
            <a:avLst/>
          </a:prstGeom>
        </p:spPr>
      </p:pic>
    </p:spTree>
    <p:extLst>
      <p:ext uri="{BB962C8B-B14F-4D97-AF65-F5344CB8AC3E}">
        <p14:creationId xmlns:p14="http://schemas.microsoft.com/office/powerpoint/2010/main" val="67183225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0" y="2148471"/>
            <a:ext cx="3017520" cy="470953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aphicFrame>
        <p:nvGraphicFramePr>
          <p:cNvPr id="21" name="Chart 20"/>
          <p:cNvGraphicFramePr>
            <a:graphicFrameLocks/>
          </p:cNvGraphicFramePr>
          <p:nvPr>
            <p:extLst/>
          </p:nvPr>
        </p:nvGraphicFramePr>
        <p:xfrm>
          <a:off x="-210747" y="1367884"/>
          <a:ext cx="3267933" cy="5438079"/>
        </p:xfrm>
        <a:graphic>
          <a:graphicData uri="http://schemas.openxmlformats.org/drawingml/2006/chart">
            <c:chart xmlns:c="http://schemas.openxmlformats.org/drawingml/2006/chart" xmlns:r="http://schemas.openxmlformats.org/officeDocument/2006/relationships" r:id="rId2"/>
          </a:graphicData>
        </a:graphic>
      </p:graphicFrame>
      <p:sp>
        <p:nvSpPr>
          <p:cNvPr id="14" name="Rectangle 13"/>
          <p:cNvSpPr/>
          <p:nvPr/>
        </p:nvSpPr>
        <p:spPr>
          <a:xfrm>
            <a:off x="6122955" y="2148470"/>
            <a:ext cx="3017520" cy="470953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p:nvSpPr>
        <p:spPr>
          <a:xfrm>
            <a:off x="3057186" y="2148469"/>
            <a:ext cx="3017520" cy="470953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dirty="0">
              <a:solidFill>
                <a:prstClr val="white"/>
              </a:solidFill>
            </a:endParaRPr>
          </a:p>
        </p:txBody>
      </p:sp>
      <p:sp>
        <p:nvSpPr>
          <p:cNvPr id="2" name="Title 1"/>
          <p:cNvSpPr>
            <a:spLocks noGrp="1"/>
          </p:cNvSpPr>
          <p:nvPr>
            <p:ph type="title"/>
          </p:nvPr>
        </p:nvSpPr>
        <p:spPr>
          <a:xfrm>
            <a:off x="154890" y="183277"/>
            <a:ext cx="8615363" cy="994172"/>
          </a:xfrm>
        </p:spPr>
        <p:txBody>
          <a:bodyPr>
            <a:normAutofit fontScale="90000"/>
          </a:bodyPr>
          <a:lstStyle/>
          <a:p>
            <a:pPr>
              <a:lnSpc>
                <a:spcPts val="4000"/>
              </a:lnSpc>
            </a:pPr>
            <a:r>
              <a:rPr lang="en-US" b="1" dirty="0" smtClean="0">
                <a:solidFill>
                  <a:schemeClr val="accent1"/>
                </a:solidFill>
              </a:rPr>
              <a:t>Slow decline in malnourishment.</a:t>
            </a:r>
            <a:br>
              <a:rPr lang="en-US" b="1" dirty="0" smtClean="0">
                <a:solidFill>
                  <a:schemeClr val="accent1"/>
                </a:solidFill>
              </a:rPr>
            </a:br>
            <a:r>
              <a:rPr lang="en-US" b="1" dirty="0" smtClean="0">
                <a:solidFill>
                  <a:schemeClr val="accent1"/>
                </a:solidFill>
              </a:rPr>
              <a:t>Alarming increase in obesity.</a:t>
            </a:r>
            <a:endParaRPr lang="en-US" dirty="0">
              <a:solidFill>
                <a:schemeClr val="accent1"/>
              </a:solidFill>
            </a:endParaRPr>
          </a:p>
        </p:txBody>
      </p:sp>
      <p:sp>
        <p:nvSpPr>
          <p:cNvPr id="9" name="TextBox 8"/>
          <p:cNvSpPr txBox="1"/>
          <p:nvPr/>
        </p:nvSpPr>
        <p:spPr>
          <a:xfrm>
            <a:off x="3084903" y="2171617"/>
            <a:ext cx="2921620" cy="466281"/>
          </a:xfrm>
          <a:prstGeom prst="rect">
            <a:avLst/>
          </a:prstGeom>
          <a:noFill/>
        </p:spPr>
        <p:txBody>
          <a:bodyPr wrap="square" rtlCol="0">
            <a:spAutoFit/>
          </a:bodyPr>
          <a:lstStyle/>
          <a:p>
            <a:pPr>
              <a:lnSpc>
                <a:spcPct val="90000"/>
              </a:lnSpc>
            </a:pPr>
            <a:r>
              <a:rPr lang="en-US" sz="2000" b="1" dirty="0">
                <a:solidFill>
                  <a:srgbClr val="58C5C7">
                    <a:lumMod val="75000"/>
                  </a:srgbClr>
                </a:solidFill>
                <a:latin typeface="Arial" panose="020B0604020202020204" pitchFamily="34" charset="0"/>
                <a:cs typeface="Arial" panose="020B0604020202020204" pitchFamily="34" charset="0"/>
              </a:rPr>
              <a:t>S</a:t>
            </a:r>
            <a:r>
              <a:rPr lang="en-US" sz="2000" b="1" dirty="0" smtClean="0">
                <a:solidFill>
                  <a:srgbClr val="58C5C7">
                    <a:lumMod val="75000"/>
                  </a:srgbClr>
                </a:solidFill>
                <a:latin typeface="Arial" panose="020B0604020202020204" pitchFamily="34" charset="0"/>
                <a:cs typeface="Arial" panose="020B0604020202020204" pitchFamily="34" charset="0"/>
              </a:rPr>
              <a:t>tunted children </a:t>
            </a:r>
            <a:r>
              <a:rPr lang="en-US" sz="1050" b="1" i="1" dirty="0" smtClean="0">
                <a:solidFill>
                  <a:srgbClr val="58C5C7">
                    <a:lumMod val="75000"/>
                  </a:srgbClr>
                </a:solidFill>
                <a:latin typeface="Arial" panose="020B0604020202020204" pitchFamily="34" charset="0"/>
                <a:cs typeface="Arial" panose="020B0604020202020204" pitchFamily="34" charset="0"/>
              </a:rPr>
              <a:t>(</a:t>
            </a:r>
            <a:r>
              <a:rPr lang="en-US" sz="1050" b="1" i="1" dirty="0">
                <a:solidFill>
                  <a:srgbClr val="58C5C7">
                    <a:lumMod val="75000"/>
                  </a:srgbClr>
                </a:solidFill>
                <a:latin typeface="Arial" panose="020B0604020202020204" pitchFamily="34" charset="0"/>
                <a:cs typeface="Arial" panose="020B0604020202020204" pitchFamily="34" charset="0"/>
              </a:rPr>
              <a:t>millions) </a:t>
            </a:r>
            <a:endParaRPr lang="en-US" sz="800" b="1" i="1" dirty="0">
              <a:solidFill>
                <a:srgbClr val="58C5C7">
                  <a:lumMod val="75000"/>
                </a:srgbClr>
              </a:solidFill>
              <a:latin typeface="Arial" panose="020B0604020202020204" pitchFamily="34" charset="0"/>
              <a:cs typeface="Arial" panose="020B0604020202020204" pitchFamily="34" charset="0"/>
            </a:endParaRPr>
          </a:p>
          <a:p>
            <a:pPr>
              <a:lnSpc>
                <a:spcPct val="90000"/>
              </a:lnSpc>
            </a:pPr>
            <a:endParaRPr lang="en-US" sz="700" dirty="0">
              <a:solidFill>
                <a:srgbClr val="58C5C7">
                  <a:lumMod val="75000"/>
                </a:srgbClr>
              </a:solidFill>
              <a:latin typeface="Arial" panose="020B0604020202020204" pitchFamily="34" charset="0"/>
              <a:cs typeface="Arial" panose="020B0604020202020204" pitchFamily="34" charset="0"/>
            </a:endParaRPr>
          </a:p>
        </p:txBody>
      </p:sp>
      <p:graphicFrame>
        <p:nvGraphicFramePr>
          <p:cNvPr id="10" name="Chart 9"/>
          <p:cNvGraphicFramePr>
            <a:graphicFrameLocks/>
          </p:cNvGraphicFramePr>
          <p:nvPr>
            <p:extLst/>
          </p:nvPr>
        </p:nvGraphicFramePr>
        <p:xfrm>
          <a:off x="6130392" y="2850811"/>
          <a:ext cx="3002645" cy="3815348"/>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p:cNvSpPr txBox="1"/>
          <p:nvPr/>
        </p:nvSpPr>
        <p:spPr>
          <a:xfrm>
            <a:off x="6114372" y="2142924"/>
            <a:ext cx="2921620" cy="646331"/>
          </a:xfrm>
          <a:prstGeom prst="rect">
            <a:avLst/>
          </a:prstGeom>
          <a:noFill/>
        </p:spPr>
        <p:txBody>
          <a:bodyPr wrap="square" rtlCol="0">
            <a:spAutoFit/>
          </a:bodyPr>
          <a:lstStyle/>
          <a:p>
            <a:pPr>
              <a:lnSpc>
                <a:spcPct val="90000"/>
              </a:lnSpc>
            </a:pPr>
            <a:r>
              <a:rPr lang="en-US" sz="2000" b="1" dirty="0">
                <a:solidFill>
                  <a:srgbClr val="BF631A"/>
                </a:solidFill>
                <a:latin typeface="Arial" panose="020B0604020202020204" pitchFamily="34" charset="0"/>
                <a:cs typeface="Arial" panose="020B0604020202020204" pitchFamily="34" charset="0"/>
              </a:rPr>
              <a:t>O</a:t>
            </a:r>
            <a:r>
              <a:rPr lang="en-US" sz="2000" b="1" dirty="0" smtClean="0">
                <a:solidFill>
                  <a:srgbClr val="BF631A"/>
                </a:solidFill>
                <a:latin typeface="Arial" panose="020B0604020202020204" pitchFamily="34" charset="0"/>
                <a:cs typeface="Arial" panose="020B0604020202020204" pitchFamily="34" charset="0"/>
              </a:rPr>
              <a:t>verweight &amp; obese children </a:t>
            </a:r>
            <a:r>
              <a:rPr lang="en-US" sz="1200" b="1" i="1" dirty="0" smtClean="0">
                <a:solidFill>
                  <a:srgbClr val="BF631A"/>
                </a:solidFill>
                <a:latin typeface="Arial" panose="020B0604020202020204" pitchFamily="34" charset="0"/>
                <a:cs typeface="Arial" panose="020B0604020202020204" pitchFamily="34" charset="0"/>
              </a:rPr>
              <a:t>(</a:t>
            </a:r>
            <a:r>
              <a:rPr lang="en-US" sz="1200" b="1" i="1" dirty="0">
                <a:solidFill>
                  <a:srgbClr val="BF631A"/>
                </a:solidFill>
                <a:latin typeface="Arial" panose="020B0604020202020204" pitchFamily="34" charset="0"/>
                <a:cs typeface="Arial" panose="020B0604020202020204" pitchFamily="34" charset="0"/>
              </a:rPr>
              <a:t>millions</a:t>
            </a:r>
            <a:r>
              <a:rPr lang="en-US" sz="1200" b="1" i="1" dirty="0" smtClean="0">
                <a:solidFill>
                  <a:srgbClr val="BF631A"/>
                </a:solidFill>
                <a:latin typeface="Arial" panose="020B0604020202020204" pitchFamily="34" charset="0"/>
                <a:cs typeface="Arial" panose="020B0604020202020204" pitchFamily="34" charset="0"/>
              </a:rPr>
              <a:t>)</a:t>
            </a:r>
            <a:endParaRPr lang="en-US" sz="700" dirty="0">
              <a:solidFill>
                <a:srgbClr val="BF631A"/>
              </a:solidFill>
              <a:latin typeface="Arial" panose="020B0604020202020204" pitchFamily="34" charset="0"/>
              <a:cs typeface="Arial" panose="020B0604020202020204" pitchFamily="34" charset="0"/>
            </a:endParaRPr>
          </a:p>
        </p:txBody>
      </p:sp>
      <p:sp>
        <p:nvSpPr>
          <p:cNvPr id="3" name="Rectangle 2"/>
          <p:cNvSpPr/>
          <p:nvPr/>
        </p:nvSpPr>
        <p:spPr>
          <a:xfrm>
            <a:off x="0" y="6646650"/>
            <a:ext cx="2287806" cy="184666"/>
          </a:xfrm>
          <a:prstGeom prst="rect">
            <a:avLst/>
          </a:prstGeom>
        </p:spPr>
        <p:txBody>
          <a:bodyPr wrap="none">
            <a:spAutoFit/>
          </a:bodyPr>
          <a:lstStyle/>
          <a:p>
            <a:r>
              <a:rPr lang="en-US" sz="600" dirty="0">
                <a:solidFill>
                  <a:srgbClr val="435464"/>
                </a:solidFill>
                <a:latin typeface="Arial" panose="020B0604020202020204" pitchFamily="34" charset="0"/>
                <a:cs typeface="Arial" panose="020B0604020202020204" pitchFamily="34" charset="0"/>
              </a:rPr>
              <a:t>Source: FAOSTAT3 (http://faostat3.fao.org/download/D/FS/E</a:t>
            </a:r>
            <a:r>
              <a:rPr lang="en-US" sz="600" dirty="0" smtClean="0">
                <a:solidFill>
                  <a:srgbClr val="435464"/>
                </a:solidFill>
                <a:latin typeface="Arial" panose="020B0604020202020204" pitchFamily="34" charset="0"/>
                <a:cs typeface="Arial" panose="020B0604020202020204" pitchFamily="34" charset="0"/>
              </a:rPr>
              <a:t>).</a:t>
            </a:r>
            <a:endParaRPr lang="en-US" sz="600" dirty="0">
              <a:solidFill>
                <a:srgbClr val="435464"/>
              </a:solidFill>
              <a:latin typeface="Arial" panose="020B0604020202020204" pitchFamily="34" charset="0"/>
              <a:cs typeface="Arial" panose="020B0604020202020204" pitchFamily="34" charset="0"/>
            </a:endParaRPr>
          </a:p>
        </p:txBody>
      </p:sp>
      <p:sp>
        <p:nvSpPr>
          <p:cNvPr id="4" name="Rectangle 3"/>
          <p:cNvSpPr/>
          <p:nvPr/>
        </p:nvSpPr>
        <p:spPr>
          <a:xfrm>
            <a:off x="6114372" y="6401962"/>
            <a:ext cx="3026103" cy="461665"/>
          </a:xfrm>
          <a:prstGeom prst="rect">
            <a:avLst/>
          </a:prstGeom>
        </p:spPr>
        <p:txBody>
          <a:bodyPr wrap="square">
            <a:spAutoFit/>
          </a:bodyPr>
          <a:lstStyle/>
          <a:p>
            <a:r>
              <a:rPr lang="en-US" sz="600" dirty="0">
                <a:solidFill>
                  <a:srgbClr val="435464"/>
                </a:solidFill>
                <a:latin typeface="Arial" panose="020B0604020202020204" pitchFamily="34" charset="0"/>
                <a:cs typeface="Arial" panose="020B0604020202020204" pitchFamily="34" charset="0"/>
              </a:rPr>
              <a:t>Source: UN in de </a:t>
            </a:r>
            <a:r>
              <a:rPr lang="en-US" sz="600" dirty="0" err="1">
                <a:solidFill>
                  <a:srgbClr val="435464"/>
                </a:solidFill>
                <a:latin typeface="Arial" panose="020B0604020202020204" pitchFamily="34" charset="0"/>
                <a:cs typeface="Arial" panose="020B0604020202020204" pitchFamily="34" charset="0"/>
              </a:rPr>
              <a:t>Onis</a:t>
            </a:r>
            <a:r>
              <a:rPr lang="en-US" sz="600" dirty="0">
                <a:solidFill>
                  <a:srgbClr val="435464"/>
                </a:solidFill>
                <a:latin typeface="Arial" panose="020B0604020202020204" pitchFamily="34" charset="0"/>
                <a:cs typeface="Arial" panose="020B0604020202020204" pitchFamily="34" charset="0"/>
              </a:rPr>
              <a:t>, M, M. </a:t>
            </a:r>
            <a:r>
              <a:rPr lang="en-US" sz="600" dirty="0" err="1">
                <a:solidFill>
                  <a:srgbClr val="435464"/>
                </a:solidFill>
                <a:latin typeface="Arial" panose="020B0604020202020204" pitchFamily="34" charset="0"/>
                <a:cs typeface="Arial" panose="020B0604020202020204" pitchFamily="34" charset="0"/>
              </a:rPr>
              <a:t>Blössner</a:t>
            </a:r>
            <a:r>
              <a:rPr lang="en-US" sz="600" dirty="0">
                <a:solidFill>
                  <a:srgbClr val="435464"/>
                </a:solidFill>
                <a:latin typeface="Arial" panose="020B0604020202020204" pitchFamily="34" charset="0"/>
                <a:cs typeface="Arial" panose="020B0604020202020204" pitchFamily="34" charset="0"/>
              </a:rPr>
              <a:t> and E. </a:t>
            </a:r>
            <a:r>
              <a:rPr lang="en-US" sz="600" dirty="0" err="1">
                <a:solidFill>
                  <a:srgbClr val="435464"/>
                </a:solidFill>
                <a:latin typeface="Arial" panose="020B0604020202020204" pitchFamily="34" charset="0"/>
                <a:cs typeface="Arial" panose="020B0604020202020204" pitchFamily="34" charset="0"/>
              </a:rPr>
              <a:t>Borghi</a:t>
            </a:r>
            <a:r>
              <a:rPr lang="en-US" sz="600" dirty="0">
                <a:solidFill>
                  <a:srgbClr val="435464"/>
                </a:solidFill>
                <a:latin typeface="Arial" panose="020B0604020202020204" pitchFamily="34" charset="0"/>
                <a:cs typeface="Arial" panose="020B0604020202020204" pitchFamily="34" charset="0"/>
              </a:rPr>
              <a:t>. 2010. Global prevalence and trends of overweight and obesity among preschool children. American Journal of Clinical Nutrition 92:1257–64. (</a:t>
            </a:r>
            <a:r>
              <a:rPr lang="en-US" sz="600" u="sng" dirty="0">
                <a:solidFill>
                  <a:srgbClr val="435464"/>
                </a:solidFill>
                <a:latin typeface="Arial" panose="020B0604020202020204" pitchFamily="34" charset="0"/>
                <a:cs typeface="Arial" panose="020B0604020202020204" pitchFamily="34" charset="0"/>
              </a:rPr>
              <a:t>http://www.who.int/nutgrowthdb/publications/overweight_obesity/en</a:t>
            </a:r>
            <a:r>
              <a:rPr lang="en-US" sz="600" u="sng" dirty="0" smtClean="0">
                <a:solidFill>
                  <a:srgbClr val="435464"/>
                </a:solidFill>
                <a:latin typeface="Arial" panose="020B0604020202020204" pitchFamily="34" charset="0"/>
                <a:cs typeface="Arial" panose="020B0604020202020204" pitchFamily="34" charset="0"/>
              </a:rPr>
              <a:t>/</a:t>
            </a:r>
            <a:r>
              <a:rPr lang="en-US" sz="600" dirty="0" smtClean="0">
                <a:solidFill>
                  <a:srgbClr val="435464"/>
                </a:solidFill>
                <a:latin typeface="Arial" panose="020B0604020202020204" pitchFamily="34" charset="0"/>
                <a:cs typeface="Arial" panose="020B0604020202020204" pitchFamily="34" charset="0"/>
              </a:rPr>
              <a:t>).</a:t>
            </a:r>
            <a:endParaRPr lang="en-US" sz="600" dirty="0">
              <a:solidFill>
                <a:srgbClr val="435464"/>
              </a:solidFill>
              <a:latin typeface="Arial" panose="020B0604020202020204" pitchFamily="34" charset="0"/>
              <a:cs typeface="Arial" panose="020B0604020202020204" pitchFamily="34" charset="0"/>
            </a:endParaRPr>
          </a:p>
        </p:txBody>
      </p:sp>
      <p:sp>
        <p:nvSpPr>
          <p:cNvPr id="19" name="TextBox 18"/>
          <p:cNvSpPr txBox="1"/>
          <p:nvPr/>
        </p:nvSpPr>
        <p:spPr>
          <a:xfrm>
            <a:off x="8024" y="2142924"/>
            <a:ext cx="2921620" cy="707886"/>
          </a:xfrm>
          <a:prstGeom prst="rect">
            <a:avLst/>
          </a:prstGeom>
          <a:noFill/>
        </p:spPr>
        <p:txBody>
          <a:bodyPr wrap="square" rtlCol="0">
            <a:spAutoFit/>
          </a:bodyPr>
          <a:lstStyle/>
          <a:p>
            <a:r>
              <a:rPr lang="en-US" sz="2000" b="1" dirty="0">
                <a:solidFill>
                  <a:srgbClr val="89A527">
                    <a:lumMod val="75000"/>
                  </a:srgbClr>
                </a:solidFill>
                <a:latin typeface="Arial" panose="020B0604020202020204" pitchFamily="34" charset="0"/>
                <a:cs typeface="Arial" panose="020B0604020202020204" pitchFamily="34" charset="0"/>
              </a:rPr>
              <a:t>U</a:t>
            </a:r>
            <a:r>
              <a:rPr lang="en-US" sz="2000" b="1" dirty="0" smtClean="0">
                <a:solidFill>
                  <a:srgbClr val="89A527">
                    <a:lumMod val="75000"/>
                  </a:srgbClr>
                </a:solidFill>
                <a:latin typeface="Arial" panose="020B0604020202020204" pitchFamily="34" charset="0"/>
                <a:cs typeface="Arial" panose="020B0604020202020204" pitchFamily="34" charset="0"/>
              </a:rPr>
              <a:t>ndernourished people </a:t>
            </a:r>
            <a:r>
              <a:rPr lang="en-US" sz="1200" b="1" i="1" dirty="0">
                <a:solidFill>
                  <a:srgbClr val="89A527">
                    <a:lumMod val="75000"/>
                  </a:srgbClr>
                </a:solidFill>
                <a:latin typeface="Arial" panose="020B0604020202020204" pitchFamily="34" charset="0"/>
                <a:cs typeface="Arial" panose="020B0604020202020204" pitchFamily="34" charset="0"/>
              </a:rPr>
              <a:t>(millions) </a:t>
            </a:r>
            <a:endParaRPr lang="en-US" sz="1200" b="1" i="1" dirty="0" smtClean="0">
              <a:solidFill>
                <a:srgbClr val="89A527">
                  <a:lumMod val="75000"/>
                </a:srgbClr>
              </a:solidFill>
              <a:latin typeface="Arial" panose="020B0604020202020204" pitchFamily="34" charset="0"/>
              <a:cs typeface="Arial" panose="020B0604020202020204" pitchFamily="34" charset="0"/>
            </a:endParaRPr>
          </a:p>
        </p:txBody>
      </p:sp>
      <p:graphicFrame>
        <p:nvGraphicFramePr>
          <p:cNvPr id="16" name="Chart 15"/>
          <p:cNvGraphicFramePr>
            <a:graphicFrameLocks/>
          </p:cNvGraphicFramePr>
          <p:nvPr>
            <p:extLst/>
          </p:nvPr>
        </p:nvGraphicFramePr>
        <p:xfrm>
          <a:off x="3054323" y="2713464"/>
          <a:ext cx="2960783" cy="4021685"/>
        </p:xfrm>
        <a:graphic>
          <a:graphicData uri="http://schemas.openxmlformats.org/drawingml/2006/chart">
            <c:chart xmlns:c="http://schemas.openxmlformats.org/drawingml/2006/chart" xmlns:r="http://schemas.openxmlformats.org/officeDocument/2006/relationships" r:id="rId4"/>
          </a:graphicData>
        </a:graphic>
      </p:graphicFrame>
      <p:sp>
        <p:nvSpPr>
          <p:cNvPr id="5" name="Rectangle 4"/>
          <p:cNvSpPr/>
          <p:nvPr/>
        </p:nvSpPr>
        <p:spPr>
          <a:xfrm>
            <a:off x="3117171" y="6570528"/>
            <a:ext cx="2921620" cy="276999"/>
          </a:xfrm>
          <a:prstGeom prst="rect">
            <a:avLst/>
          </a:prstGeom>
        </p:spPr>
        <p:txBody>
          <a:bodyPr wrap="square">
            <a:spAutoFit/>
          </a:bodyPr>
          <a:lstStyle/>
          <a:p>
            <a:r>
              <a:rPr lang="en-US" sz="600" dirty="0" smtClean="0">
                <a:solidFill>
                  <a:srgbClr val="435464"/>
                </a:solidFill>
                <a:latin typeface="Arial" panose="020B0604020202020204" pitchFamily="34" charset="0"/>
                <a:cs typeface="Arial" panose="020B0604020202020204" pitchFamily="34" charset="0"/>
              </a:rPr>
              <a:t>Source: de </a:t>
            </a:r>
            <a:r>
              <a:rPr lang="en-US" sz="600" dirty="0" err="1">
                <a:solidFill>
                  <a:srgbClr val="435464"/>
                </a:solidFill>
                <a:latin typeface="Arial" panose="020B0604020202020204" pitchFamily="34" charset="0"/>
                <a:cs typeface="Arial" panose="020B0604020202020204" pitchFamily="34" charset="0"/>
              </a:rPr>
              <a:t>Onis</a:t>
            </a:r>
            <a:r>
              <a:rPr lang="en-US" sz="600" dirty="0">
                <a:solidFill>
                  <a:srgbClr val="435464"/>
                </a:solidFill>
                <a:latin typeface="Arial" panose="020B0604020202020204" pitchFamily="34" charset="0"/>
                <a:cs typeface="Arial" panose="020B0604020202020204" pitchFamily="34" charset="0"/>
              </a:rPr>
              <a:t>, M, M. </a:t>
            </a:r>
            <a:r>
              <a:rPr lang="en-US" sz="600" dirty="0" err="1">
                <a:solidFill>
                  <a:srgbClr val="435464"/>
                </a:solidFill>
                <a:latin typeface="Arial" panose="020B0604020202020204" pitchFamily="34" charset="0"/>
                <a:cs typeface="Arial" panose="020B0604020202020204" pitchFamily="34" charset="0"/>
              </a:rPr>
              <a:t>Blössner</a:t>
            </a:r>
            <a:r>
              <a:rPr lang="en-US" sz="600" dirty="0">
                <a:solidFill>
                  <a:srgbClr val="435464"/>
                </a:solidFill>
                <a:latin typeface="Arial" panose="020B0604020202020204" pitchFamily="34" charset="0"/>
                <a:cs typeface="Arial" panose="020B0604020202020204" pitchFamily="34" charset="0"/>
              </a:rPr>
              <a:t> and E. </a:t>
            </a:r>
            <a:r>
              <a:rPr lang="en-US" sz="600" dirty="0" err="1">
                <a:solidFill>
                  <a:srgbClr val="435464"/>
                </a:solidFill>
                <a:latin typeface="Arial" panose="020B0604020202020204" pitchFamily="34" charset="0"/>
                <a:cs typeface="Arial" panose="020B0604020202020204" pitchFamily="34" charset="0"/>
              </a:rPr>
              <a:t>Borghi</a:t>
            </a:r>
            <a:r>
              <a:rPr lang="en-US" sz="600" dirty="0">
                <a:solidFill>
                  <a:srgbClr val="435464"/>
                </a:solidFill>
                <a:latin typeface="Arial" panose="020B0604020202020204" pitchFamily="34" charset="0"/>
                <a:cs typeface="Arial" panose="020B0604020202020204" pitchFamily="34" charset="0"/>
              </a:rPr>
              <a:t>. </a:t>
            </a:r>
            <a:r>
              <a:rPr lang="en-US" sz="600" dirty="0" smtClean="0">
                <a:solidFill>
                  <a:srgbClr val="435464"/>
                </a:solidFill>
                <a:latin typeface="Arial" panose="020B0604020202020204" pitchFamily="34" charset="0"/>
                <a:cs typeface="Arial" panose="020B0604020202020204" pitchFamily="34" charset="0"/>
              </a:rPr>
              <a:t>2011 http</a:t>
            </a:r>
            <a:r>
              <a:rPr lang="en-US" sz="600" dirty="0">
                <a:solidFill>
                  <a:srgbClr val="435464"/>
                </a:solidFill>
                <a:latin typeface="Arial" panose="020B0604020202020204" pitchFamily="34" charset="0"/>
                <a:cs typeface="Arial" panose="020B0604020202020204" pitchFamily="34" charset="0"/>
              </a:rPr>
              <a:t>://</a:t>
            </a:r>
            <a:r>
              <a:rPr lang="en-US" sz="600" dirty="0" smtClean="0">
                <a:solidFill>
                  <a:srgbClr val="435464"/>
                </a:solidFill>
                <a:latin typeface="Arial" panose="020B0604020202020204" pitchFamily="34" charset="0"/>
                <a:cs typeface="Arial" panose="020B0604020202020204" pitchFamily="34" charset="0"/>
              </a:rPr>
              <a:t>www.who.int/nutgrowthdb/publications/Stunting1990_2011.pdf.</a:t>
            </a:r>
            <a:endParaRPr lang="en-US" sz="600" dirty="0">
              <a:solidFill>
                <a:srgbClr val="435464"/>
              </a:solidFill>
              <a:latin typeface="Arial" panose="020B0604020202020204" pitchFamily="34" charset="0"/>
              <a:cs typeface="Arial" panose="020B0604020202020204" pitchFamily="34" charset="0"/>
            </a:endParaRPr>
          </a:p>
        </p:txBody>
      </p:sp>
      <p:grpSp>
        <p:nvGrpSpPr>
          <p:cNvPr id="6" name="Group 5"/>
          <p:cNvGrpSpPr/>
          <p:nvPr/>
        </p:nvGrpSpPr>
        <p:grpSpPr>
          <a:xfrm>
            <a:off x="3378133" y="1503890"/>
            <a:ext cx="2234226" cy="586167"/>
            <a:chOff x="3378133" y="1396314"/>
            <a:chExt cx="2234226" cy="586167"/>
          </a:xfrm>
        </p:grpSpPr>
        <p:cxnSp>
          <p:nvCxnSpPr>
            <p:cNvPr id="15" name="Straight Connector 14"/>
            <p:cNvCxnSpPr/>
            <p:nvPr/>
          </p:nvCxnSpPr>
          <p:spPr>
            <a:xfrm>
              <a:off x="3378133" y="1506677"/>
              <a:ext cx="268941"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3378133" y="1689815"/>
              <a:ext cx="268941"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3378133" y="1876027"/>
              <a:ext cx="268941" cy="0"/>
            </a:xfrm>
            <a:prstGeom prst="line">
              <a:avLst/>
            </a:prstGeom>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0" name="TextBox 1"/>
            <p:cNvSpPr txBox="1"/>
            <p:nvPr/>
          </p:nvSpPr>
          <p:spPr>
            <a:xfrm>
              <a:off x="3686740" y="1396314"/>
              <a:ext cx="1925619" cy="586167"/>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spcAft>
                  <a:spcPts val="300"/>
                </a:spcAft>
              </a:pPr>
              <a:r>
                <a:rPr lang="en-US" sz="900" b="1" dirty="0" smtClean="0">
                  <a:solidFill>
                    <a:srgbClr val="435464"/>
                  </a:solidFill>
                  <a:latin typeface="Arial" panose="020B0604020202020204" pitchFamily="34" charset="0"/>
                  <a:cs typeface="Arial" panose="020B0604020202020204" pitchFamily="34" charset="0"/>
                </a:rPr>
                <a:t>Africa</a:t>
              </a:r>
            </a:p>
            <a:p>
              <a:pPr>
                <a:spcAft>
                  <a:spcPts val="300"/>
                </a:spcAft>
              </a:pPr>
              <a:r>
                <a:rPr lang="en-US" sz="900" b="1" dirty="0" smtClean="0">
                  <a:solidFill>
                    <a:srgbClr val="435464"/>
                  </a:solidFill>
                  <a:latin typeface="Arial" panose="020B0604020202020204" pitchFamily="34" charset="0"/>
                  <a:cs typeface="Arial" panose="020B0604020202020204" pitchFamily="34" charset="0"/>
                </a:rPr>
                <a:t>Asia</a:t>
              </a:r>
            </a:p>
            <a:p>
              <a:pPr>
                <a:spcAft>
                  <a:spcPts val="300"/>
                </a:spcAft>
              </a:pPr>
              <a:r>
                <a:rPr lang="en-US" sz="900" b="1" dirty="0" smtClean="0">
                  <a:solidFill>
                    <a:srgbClr val="435464"/>
                  </a:solidFill>
                  <a:latin typeface="Arial" panose="020B0604020202020204" pitchFamily="34" charset="0"/>
                  <a:cs typeface="Arial" panose="020B0604020202020204" pitchFamily="34" charset="0"/>
                </a:rPr>
                <a:t>Developing Countries</a:t>
              </a:r>
              <a:endParaRPr lang="en-US" sz="900" b="1" dirty="0">
                <a:solidFill>
                  <a:srgbClr val="435464"/>
                </a:solidFill>
                <a:latin typeface="Arial" panose="020B0604020202020204" pitchFamily="34" charset="0"/>
                <a:cs typeface="Arial" panose="020B0604020202020204" pitchFamily="34" charset="0"/>
              </a:endParaRPr>
            </a:p>
          </p:txBody>
        </p:sp>
      </p:grpSp>
      <p:grpSp>
        <p:nvGrpSpPr>
          <p:cNvPr id="22" name="Group 21"/>
          <p:cNvGrpSpPr/>
          <p:nvPr/>
        </p:nvGrpSpPr>
        <p:grpSpPr>
          <a:xfrm>
            <a:off x="6458069" y="1513706"/>
            <a:ext cx="2234226" cy="586167"/>
            <a:chOff x="3378133" y="1396314"/>
            <a:chExt cx="2234226" cy="586167"/>
          </a:xfrm>
        </p:grpSpPr>
        <p:cxnSp>
          <p:nvCxnSpPr>
            <p:cNvPr id="23" name="Straight Connector 22"/>
            <p:cNvCxnSpPr/>
            <p:nvPr/>
          </p:nvCxnSpPr>
          <p:spPr>
            <a:xfrm>
              <a:off x="3378133" y="1506677"/>
              <a:ext cx="268941"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3378133" y="1689815"/>
              <a:ext cx="268941"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3378133" y="1876027"/>
              <a:ext cx="268941" cy="0"/>
            </a:xfrm>
            <a:prstGeom prst="line">
              <a:avLst/>
            </a:prstGeom>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6" name="TextBox 1"/>
            <p:cNvSpPr txBox="1"/>
            <p:nvPr/>
          </p:nvSpPr>
          <p:spPr>
            <a:xfrm>
              <a:off x="3686740" y="1396314"/>
              <a:ext cx="1925619" cy="586167"/>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spcAft>
                  <a:spcPts val="300"/>
                </a:spcAft>
              </a:pPr>
              <a:r>
                <a:rPr lang="en-US" sz="900" b="1" dirty="0" smtClean="0">
                  <a:solidFill>
                    <a:srgbClr val="435464"/>
                  </a:solidFill>
                  <a:latin typeface="Arial" panose="020B0604020202020204" pitchFamily="34" charset="0"/>
                  <a:cs typeface="Arial" panose="020B0604020202020204" pitchFamily="34" charset="0"/>
                </a:rPr>
                <a:t>Africa</a:t>
              </a:r>
            </a:p>
            <a:p>
              <a:pPr>
                <a:spcAft>
                  <a:spcPts val="300"/>
                </a:spcAft>
              </a:pPr>
              <a:r>
                <a:rPr lang="en-US" sz="900" b="1" dirty="0" smtClean="0">
                  <a:solidFill>
                    <a:srgbClr val="435464"/>
                  </a:solidFill>
                  <a:latin typeface="Arial" panose="020B0604020202020204" pitchFamily="34" charset="0"/>
                  <a:cs typeface="Arial" panose="020B0604020202020204" pitchFamily="34" charset="0"/>
                </a:rPr>
                <a:t>Asia</a:t>
              </a:r>
            </a:p>
            <a:p>
              <a:pPr>
                <a:spcAft>
                  <a:spcPts val="300"/>
                </a:spcAft>
              </a:pPr>
              <a:r>
                <a:rPr lang="en-US" sz="900" b="1" dirty="0" smtClean="0">
                  <a:solidFill>
                    <a:srgbClr val="435464"/>
                  </a:solidFill>
                  <a:latin typeface="Arial" panose="020B0604020202020204" pitchFamily="34" charset="0"/>
                  <a:cs typeface="Arial" panose="020B0604020202020204" pitchFamily="34" charset="0"/>
                </a:rPr>
                <a:t>Developing Countries</a:t>
              </a:r>
              <a:endParaRPr lang="en-US" sz="900" b="1" dirty="0">
                <a:solidFill>
                  <a:srgbClr val="435464"/>
                </a:solidFill>
                <a:latin typeface="Arial" panose="020B0604020202020204" pitchFamily="34" charset="0"/>
                <a:cs typeface="Arial" panose="020B0604020202020204" pitchFamily="34" charset="0"/>
              </a:endParaRPr>
            </a:p>
          </p:txBody>
        </p:sp>
      </p:grpSp>
      <p:pic>
        <p:nvPicPr>
          <p:cNvPr id="27" name="Picture 2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44427" y="271986"/>
            <a:ext cx="525826" cy="830652"/>
          </a:xfrm>
          <a:prstGeom prst="rect">
            <a:avLst/>
          </a:prstGeom>
        </p:spPr>
      </p:pic>
    </p:spTree>
    <p:extLst>
      <p:ext uri="{BB962C8B-B14F-4D97-AF65-F5344CB8AC3E}">
        <p14:creationId xmlns:p14="http://schemas.microsoft.com/office/powerpoint/2010/main" val="279260541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37857" y="1128922"/>
            <a:ext cx="8405703" cy="4468417"/>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592" y="203534"/>
            <a:ext cx="525826" cy="830652"/>
          </a:xfrm>
          <a:prstGeom prst="rect">
            <a:avLst/>
          </a:prstGeom>
        </p:spPr>
      </p:pic>
      <p:sp>
        <p:nvSpPr>
          <p:cNvPr id="4" name="Title 1"/>
          <p:cNvSpPr txBox="1">
            <a:spLocks/>
          </p:cNvSpPr>
          <p:nvPr/>
        </p:nvSpPr>
        <p:spPr>
          <a:xfrm>
            <a:off x="628650" y="365127"/>
            <a:ext cx="7886700" cy="328028"/>
          </a:xfrm>
          <a:prstGeom prst="rect">
            <a:avLst/>
          </a:prstGeom>
          <a:noFill/>
          <a:ln w="9525">
            <a:noFill/>
            <a:miter lim="800000"/>
            <a:headEnd/>
            <a:tailEnd/>
          </a:ln>
        </p:spPr>
        <p:txBody>
          <a:bodyPr vert="horz" wrap="square" lIns="91440" tIns="18288" rIns="91440" bIns="18288" numCol="1" rtlCol="0" anchor="ctr" anchorCtr="0" compatLnSpc="1">
            <a:prstTxWarp prst="textNoShape">
              <a:avLst/>
            </a:prstTxWarp>
            <a:noAutofit/>
          </a:bodyPr>
          <a:lstStyle>
            <a:lvl1pPr algn="ctr">
              <a:lnSpc>
                <a:spcPct val="90000"/>
              </a:lnSpc>
              <a:spcBef>
                <a:spcPct val="0"/>
              </a:spcBef>
              <a:buNone/>
              <a:defRPr sz="2800" b="1">
                <a:solidFill>
                  <a:srgbClr val="000000"/>
                </a:solidFill>
                <a:latin typeface="Arial" pitchFamily="34" charset="0"/>
                <a:ea typeface="+mj-ea"/>
                <a:cs typeface="Arial" pitchFamily="34" charset="0"/>
              </a:defRPr>
            </a:lvl1pPr>
          </a:lstStyle>
          <a:p>
            <a:r>
              <a:rPr lang="en-US" dirty="0" smtClean="0"/>
              <a:t>Prevalence of Undernourishment</a:t>
            </a:r>
            <a:endParaRPr lang="en-US" dirty="0"/>
          </a:p>
        </p:txBody>
      </p:sp>
      <p:sp>
        <p:nvSpPr>
          <p:cNvPr id="5" name="Rectangle 4"/>
          <p:cNvSpPr/>
          <p:nvPr/>
        </p:nvSpPr>
        <p:spPr>
          <a:xfrm>
            <a:off x="395536" y="1124744"/>
            <a:ext cx="8424936"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1937249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3592" y="203534"/>
            <a:ext cx="525826" cy="830652"/>
          </a:xfrm>
          <a:prstGeom prst="rect">
            <a:avLst/>
          </a:prstGeom>
        </p:spPr>
      </p:pic>
      <p:sp>
        <p:nvSpPr>
          <p:cNvPr id="4" name="Title 1"/>
          <p:cNvSpPr txBox="1">
            <a:spLocks/>
          </p:cNvSpPr>
          <p:nvPr/>
        </p:nvSpPr>
        <p:spPr>
          <a:xfrm>
            <a:off x="628650" y="365127"/>
            <a:ext cx="7886700" cy="328028"/>
          </a:xfrm>
          <a:prstGeom prst="rect">
            <a:avLst/>
          </a:prstGeom>
          <a:noFill/>
          <a:ln w="9525">
            <a:noFill/>
            <a:miter lim="800000"/>
            <a:headEnd/>
            <a:tailEnd/>
          </a:ln>
        </p:spPr>
        <p:txBody>
          <a:bodyPr vert="horz" wrap="square" lIns="91440" tIns="18288" rIns="91440" bIns="18288" numCol="1" rtlCol="0" anchor="ctr" anchorCtr="0" compatLnSpc="1">
            <a:prstTxWarp prst="textNoShape">
              <a:avLst/>
            </a:prstTxWarp>
            <a:noAutofit/>
          </a:bodyPr>
          <a:lstStyle>
            <a:lvl1pPr algn="ctr">
              <a:lnSpc>
                <a:spcPct val="90000"/>
              </a:lnSpc>
              <a:spcBef>
                <a:spcPct val="0"/>
              </a:spcBef>
              <a:buNone/>
              <a:defRPr sz="2800" b="1">
                <a:solidFill>
                  <a:srgbClr val="000000"/>
                </a:solidFill>
                <a:latin typeface="Arial" pitchFamily="34" charset="0"/>
                <a:ea typeface="+mj-ea"/>
                <a:cs typeface="Arial" pitchFamily="34" charset="0"/>
              </a:defRPr>
            </a:lvl1pPr>
          </a:lstStyle>
          <a:p>
            <a:r>
              <a:rPr lang="en-US" dirty="0" smtClean="0"/>
              <a:t>Food Supply</a:t>
            </a:r>
            <a:endParaRPr lang="en-US" dirty="0"/>
          </a:p>
        </p:txBody>
      </p:sp>
      <p:sp>
        <p:nvSpPr>
          <p:cNvPr id="5" name="Rectangle 4"/>
          <p:cNvSpPr/>
          <p:nvPr/>
        </p:nvSpPr>
        <p:spPr>
          <a:xfrm>
            <a:off x="395536" y="1124744"/>
            <a:ext cx="8424936"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3"/>
          <a:stretch>
            <a:fillRect/>
          </a:stretch>
        </p:blipFill>
        <p:spPr>
          <a:xfrm>
            <a:off x="566400" y="1127052"/>
            <a:ext cx="7949467" cy="4968552"/>
          </a:xfrm>
          <a:prstGeom prst="rect">
            <a:avLst/>
          </a:prstGeom>
        </p:spPr>
      </p:pic>
    </p:spTree>
    <p:extLst>
      <p:ext uri="{BB962C8B-B14F-4D97-AF65-F5344CB8AC3E}">
        <p14:creationId xmlns:p14="http://schemas.microsoft.com/office/powerpoint/2010/main" val="214344905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3592" y="203534"/>
            <a:ext cx="525826" cy="830652"/>
          </a:xfrm>
          <a:prstGeom prst="rect">
            <a:avLst/>
          </a:prstGeom>
        </p:spPr>
      </p:pic>
      <p:sp>
        <p:nvSpPr>
          <p:cNvPr id="4" name="Title 1"/>
          <p:cNvSpPr txBox="1">
            <a:spLocks/>
          </p:cNvSpPr>
          <p:nvPr/>
        </p:nvSpPr>
        <p:spPr>
          <a:xfrm>
            <a:off x="628650" y="365127"/>
            <a:ext cx="7886700" cy="328028"/>
          </a:xfrm>
          <a:prstGeom prst="rect">
            <a:avLst/>
          </a:prstGeom>
          <a:noFill/>
          <a:ln w="9525">
            <a:noFill/>
            <a:miter lim="800000"/>
            <a:headEnd/>
            <a:tailEnd/>
          </a:ln>
        </p:spPr>
        <p:txBody>
          <a:bodyPr vert="horz" wrap="square" lIns="91440" tIns="18288" rIns="91440" bIns="18288" numCol="1" rtlCol="0" anchor="ctr" anchorCtr="0" compatLnSpc="1">
            <a:prstTxWarp prst="textNoShape">
              <a:avLst/>
            </a:prstTxWarp>
            <a:noAutofit/>
          </a:bodyPr>
          <a:lstStyle>
            <a:lvl1pPr algn="ctr">
              <a:lnSpc>
                <a:spcPct val="90000"/>
              </a:lnSpc>
              <a:spcBef>
                <a:spcPct val="0"/>
              </a:spcBef>
              <a:buNone/>
              <a:defRPr sz="2800" b="1">
                <a:solidFill>
                  <a:srgbClr val="000000"/>
                </a:solidFill>
                <a:latin typeface="Arial" pitchFamily="34" charset="0"/>
                <a:ea typeface="+mj-ea"/>
                <a:cs typeface="Arial" pitchFamily="34" charset="0"/>
              </a:defRPr>
            </a:lvl1pPr>
          </a:lstStyle>
          <a:p>
            <a:r>
              <a:rPr lang="en-US" dirty="0" smtClean="0"/>
              <a:t>Water and Sanitation</a:t>
            </a:r>
            <a:endParaRPr lang="en-US" dirty="0"/>
          </a:p>
        </p:txBody>
      </p:sp>
      <p:sp>
        <p:nvSpPr>
          <p:cNvPr id="5" name="Rectangle 4"/>
          <p:cNvSpPr/>
          <p:nvPr/>
        </p:nvSpPr>
        <p:spPr>
          <a:xfrm>
            <a:off x="395536" y="1124744"/>
            <a:ext cx="8424936"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stretch>
            <a:fillRect/>
          </a:stretch>
        </p:blipFill>
        <p:spPr>
          <a:xfrm>
            <a:off x="184691" y="1431731"/>
            <a:ext cx="8846625" cy="4255548"/>
          </a:xfrm>
          <a:prstGeom prst="rect">
            <a:avLst/>
          </a:prstGeom>
        </p:spPr>
      </p:pic>
    </p:spTree>
    <p:extLst>
      <p:ext uri="{BB962C8B-B14F-4D97-AF65-F5344CB8AC3E}">
        <p14:creationId xmlns:p14="http://schemas.microsoft.com/office/powerpoint/2010/main" val="168302979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3D4246"/>
        </a:solidFill>
        <a:effectLst/>
      </p:bgPr>
    </p:bg>
    <p:spTree>
      <p:nvGrpSpPr>
        <p:cNvPr id="1" name=""/>
        <p:cNvGrpSpPr/>
        <p:nvPr/>
      </p:nvGrpSpPr>
      <p:grpSpPr>
        <a:xfrm>
          <a:off x="0" y="0"/>
          <a:ext cx="0" cy="0"/>
          <a:chOff x="0" y="0"/>
          <a:chExt cx="0" cy="0"/>
        </a:xfrm>
      </p:grpSpPr>
      <p:sp>
        <p:nvSpPr>
          <p:cNvPr id="3" name="Shape 415"/>
          <p:cNvSpPr/>
          <p:nvPr/>
        </p:nvSpPr>
        <p:spPr>
          <a:xfrm>
            <a:off x="1144485" y="3250597"/>
            <a:ext cx="6855029" cy="527004"/>
          </a:xfrm>
          <a:prstGeom prst="rect">
            <a:avLst/>
          </a:prstGeom>
          <a:ln w="12700">
            <a:miter lim="400000"/>
          </a:ln>
          <a:extLst>
            <a:ext uri="{C572A759-6A51-4108-AA02-DFA0A04FC94B}">
              <ma14:wrappingTextBoxFlag xmlns="" xmlns:ma14="http://schemas.microsoft.com/office/mac/drawingml/2011/main" val="1"/>
            </a:ext>
          </a:extLst>
        </p:spPr>
        <p:txBody>
          <a:bodyPr wrap="square" lIns="21336" tIns="21336" rIns="21336" bIns="21336" anchor="ctr">
            <a:spAutoFit/>
          </a:bodyPr>
          <a:lstStyle/>
          <a:p>
            <a:pPr algn="ctr">
              <a:lnSpc>
                <a:spcPct val="70000"/>
              </a:lnSpc>
              <a:defRPr sz="1800"/>
            </a:pPr>
            <a:r>
              <a:rPr lang="en-US" sz="4400" dirty="0" smtClean="0">
                <a:solidFill>
                  <a:srgbClr val="CCFF66"/>
                </a:solidFill>
                <a:latin typeface="BebasNeueBold" pitchFamily="34" charset="0"/>
                <a:ea typeface="BebasNeueRegular"/>
                <a:cs typeface="BebasNeueRegular"/>
                <a:sym typeface="BebasNeueRegular"/>
              </a:rPr>
              <a:t>Final Remarks</a:t>
            </a:r>
            <a:endParaRPr lang="en-US" sz="4400" dirty="0">
              <a:solidFill>
                <a:srgbClr val="CCFF66"/>
              </a:solidFill>
              <a:latin typeface="BebasNeueBold" pitchFamily="34" charset="0"/>
              <a:ea typeface="BebasNeueRegular"/>
              <a:cs typeface="BebasNeueRegular"/>
              <a:sym typeface="BebasNeueRegular"/>
            </a:endParaRPr>
          </a:p>
        </p:txBody>
      </p:sp>
      <p:sp>
        <p:nvSpPr>
          <p:cNvPr id="4" name="Shape 416"/>
          <p:cNvSpPr/>
          <p:nvPr/>
        </p:nvSpPr>
        <p:spPr>
          <a:xfrm>
            <a:off x="-3163" y="6706515"/>
            <a:ext cx="1843178" cy="158751"/>
          </a:xfrm>
          <a:prstGeom prst="rect">
            <a:avLst/>
          </a:prstGeom>
          <a:solidFill>
            <a:schemeClr val="accent1"/>
          </a:solidFill>
          <a:ln w="12700">
            <a:miter lim="400000"/>
          </a:ln>
        </p:spPr>
        <p:txBody>
          <a:bodyPr lIns="0" tIns="0" rIns="0" bIns="0" anchor="ctr"/>
          <a:lstStyle/>
          <a:p>
            <a:pPr>
              <a:defRPr sz="3200"/>
            </a:pPr>
            <a:endParaRPr sz="3200">
              <a:solidFill>
                <a:prstClr val="black"/>
              </a:solidFill>
            </a:endParaRPr>
          </a:p>
        </p:txBody>
      </p:sp>
      <p:sp>
        <p:nvSpPr>
          <p:cNvPr id="5" name="Shape 417"/>
          <p:cNvSpPr/>
          <p:nvPr/>
        </p:nvSpPr>
        <p:spPr>
          <a:xfrm>
            <a:off x="1818592" y="6706515"/>
            <a:ext cx="1843177" cy="158751"/>
          </a:xfrm>
          <a:prstGeom prst="rect">
            <a:avLst/>
          </a:prstGeom>
          <a:solidFill>
            <a:schemeClr val="accent2"/>
          </a:solidFill>
          <a:ln w="12700">
            <a:miter lim="400000"/>
          </a:ln>
        </p:spPr>
        <p:txBody>
          <a:bodyPr lIns="0" tIns="0" rIns="0" bIns="0" anchor="ctr"/>
          <a:lstStyle/>
          <a:p>
            <a:pPr>
              <a:defRPr sz="3200"/>
            </a:pPr>
            <a:endParaRPr sz="3200">
              <a:solidFill>
                <a:prstClr val="black"/>
              </a:solidFill>
            </a:endParaRPr>
          </a:p>
        </p:txBody>
      </p:sp>
      <p:sp>
        <p:nvSpPr>
          <p:cNvPr id="6" name="Shape 418"/>
          <p:cNvSpPr/>
          <p:nvPr/>
        </p:nvSpPr>
        <p:spPr>
          <a:xfrm>
            <a:off x="3650412" y="6706515"/>
            <a:ext cx="1843177" cy="158751"/>
          </a:xfrm>
          <a:prstGeom prst="rect">
            <a:avLst/>
          </a:prstGeom>
          <a:solidFill>
            <a:schemeClr val="accent3"/>
          </a:solidFill>
          <a:ln w="12700">
            <a:miter lim="400000"/>
          </a:ln>
        </p:spPr>
        <p:txBody>
          <a:bodyPr lIns="0" tIns="0" rIns="0" bIns="0" anchor="ctr"/>
          <a:lstStyle/>
          <a:p>
            <a:pPr>
              <a:defRPr sz="3200"/>
            </a:pPr>
            <a:endParaRPr sz="3200">
              <a:solidFill>
                <a:prstClr val="black"/>
              </a:solidFill>
            </a:endParaRPr>
          </a:p>
        </p:txBody>
      </p:sp>
      <p:sp>
        <p:nvSpPr>
          <p:cNvPr id="7" name="Shape 419"/>
          <p:cNvSpPr/>
          <p:nvPr/>
        </p:nvSpPr>
        <p:spPr>
          <a:xfrm>
            <a:off x="5482231" y="6706515"/>
            <a:ext cx="1843178" cy="158751"/>
          </a:xfrm>
          <a:prstGeom prst="rect">
            <a:avLst/>
          </a:prstGeom>
          <a:solidFill>
            <a:schemeClr val="accent4"/>
          </a:solidFill>
          <a:ln w="12700">
            <a:miter lim="400000"/>
          </a:ln>
        </p:spPr>
        <p:txBody>
          <a:bodyPr lIns="0" tIns="0" rIns="0" bIns="0" anchor="ctr"/>
          <a:lstStyle/>
          <a:p>
            <a:pPr>
              <a:defRPr sz="3200"/>
            </a:pPr>
            <a:endParaRPr sz="3200">
              <a:solidFill>
                <a:prstClr val="black"/>
              </a:solidFill>
            </a:endParaRPr>
          </a:p>
        </p:txBody>
      </p:sp>
      <p:sp>
        <p:nvSpPr>
          <p:cNvPr id="8" name="Shape 420"/>
          <p:cNvSpPr/>
          <p:nvPr/>
        </p:nvSpPr>
        <p:spPr>
          <a:xfrm>
            <a:off x="7303985" y="6706515"/>
            <a:ext cx="1843177" cy="158751"/>
          </a:xfrm>
          <a:prstGeom prst="rect">
            <a:avLst/>
          </a:prstGeom>
          <a:solidFill>
            <a:schemeClr val="accent5"/>
          </a:solidFill>
          <a:ln w="12700">
            <a:miter lim="400000"/>
          </a:ln>
        </p:spPr>
        <p:txBody>
          <a:bodyPr lIns="0" tIns="0" rIns="0" bIns="0" anchor="ctr"/>
          <a:lstStyle/>
          <a:p>
            <a:pPr>
              <a:defRPr sz="3200"/>
            </a:pPr>
            <a:endParaRPr sz="3200">
              <a:solidFill>
                <a:prstClr val="black"/>
              </a:solidFill>
            </a:endParaRPr>
          </a:p>
        </p:txBody>
      </p:sp>
      <p:grpSp>
        <p:nvGrpSpPr>
          <p:cNvPr id="10" name="Group 431"/>
          <p:cNvGrpSpPr/>
          <p:nvPr/>
        </p:nvGrpSpPr>
        <p:grpSpPr>
          <a:xfrm>
            <a:off x="4076078" y="18924"/>
            <a:ext cx="1437253" cy="1767776"/>
            <a:chOff x="378732" y="0"/>
            <a:chExt cx="2879540" cy="3535550"/>
          </a:xfrm>
        </p:grpSpPr>
        <p:sp>
          <p:nvSpPr>
            <p:cNvPr id="11" name="Shape 422"/>
            <p:cNvSpPr/>
            <p:nvPr/>
          </p:nvSpPr>
          <p:spPr>
            <a:xfrm>
              <a:off x="378732" y="0"/>
              <a:ext cx="2047855" cy="3535550"/>
            </a:xfrm>
            <a:custGeom>
              <a:avLst/>
              <a:gdLst/>
              <a:ahLst/>
              <a:cxnLst>
                <a:cxn ang="0">
                  <a:pos x="wd2" y="hd2"/>
                </a:cxn>
                <a:cxn ang="5400000">
                  <a:pos x="wd2" y="hd2"/>
                </a:cxn>
                <a:cxn ang="10800000">
                  <a:pos x="wd2" y="hd2"/>
                </a:cxn>
                <a:cxn ang="16200000">
                  <a:pos x="wd2" y="hd2"/>
                </a:cxn>
              </a:cxnLst>
              <a:rect l="0" t="0" r="r" b="b"/>
              <a:pathLst>
                <a:path w="21600" h="21600" extrusionOk="0">
                  <a:moveTo>
                    <a:pt x="10785" y="16866"/>
                  </a:moveTo>
                  <a:lnTo>
                    <a:pt x="0" y="21600"/>
                  </a:lnTo>
                  <a:lnTo>
                    <a:pt x="0" y="0"/>
                  </a:lnTo>
                  <a:lnTo>
                    <a:pt x="21600" y="0"/>
                  </a:lnTo>
                  <a:lnTo>
                    <a:pt x="21600" y="21589"/>
                  </a:lnTo>
                  <a:lnTo>
                    <a:pt x="10785" y="16866"/>
                  </a:lnTo>
                  <a:close/>
                </a:path>
              </a:pathLst>
            </a:custGeom>
            <a:solidFill>
              <a:srgbClr val="FFFFFF"/>
            </a:solidFill>
            <a:ln w="12700" cap="flat">
              <a:noFill/>
              <a:miter lim="400000"/>
            </a:ln>
            <a:effectLst/>
          </p:spPr>
          <p:txBody>
            <a:bodyPr wrap="square" lIns="0" tIns="0" rIns="0" bIns="0" numCol="1" anchor="ctr">
              <a:noAutofit/>
            </a:bodyPr>
            <a:lstStyle/>
            <a:p>
              <a:pPr>
                <a:defRPr sz="3200"/>
              </a:pPr>
              <a:endParaRPr sz="3200">
                <a:solidFill>
                  <a:prstClr val="black"/>
                </a:solidFill>
              </a:endParaRPr>
            </a:p>
          </p:txBody>
        </p:sp>
        <p:sp>
          <p:nvSpPr>
            <p:cNvPr id="13" name="Shape 424"/>
            <p:cNvSpPr/>
            <p:nvPr/>
          </p:nvSpPr>
          <p:spPr>
            <a:xfrm>
              <a:off x="513648" y="1544187"/>
              <a:ext cx="2744624" cy="44717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spAutoFit/>
            </a:bodyPr>
            <a:lstStyle>
              <a:lvl1pPr>
                <a:lnSpc>
                  <a:spcPct val="70000"/>
                </a:lnSpc>
                <a:defRPr sz="2500">
                  <a:solidFill>
                    <a:srgbClr val="212830"/>
                  </a:solidFill>
                  <a:latin typeface="Roboto Regular"/>
                  <a:ea typeface="Roboto Regular"/>
                  <a:cs typeface="Roboto Regular"/>
                  <a:sym typeface="Roboto Regular"/>
                </a:defRPr>
              </a:lvl1pPr>
            </a:lstStyle>
            <a:p>
              <a:pPr>
                <a:defRPr sz="1800">
                  <a:solidFill>
                    <a:srgbClr val="000000"/>
                  </a:solidFill>
                </a:defRPr>
              </a:pPr>
              <a:endParaRPr sz="1100" dirty="0">
                <a:solidFill>
                  <a:srgbClr val="000000"/>
                </a:solidFill>
              </a:endParaRPr>
            </a:p>
          </p:txBody>
        </p:sp>
        <p:grpSp>
          <p:nvGrpSpPr>
            <p:cNvPr id="14" name="Group 430"/>
            <p:cNvGrpSpPr/>
            <p:nvPr/>
          </p:nvGrpSpPr>
          <p:grpSpPr>
            <a:xfrm>
              <a:off x="861128" y="629033"/>
              <a:ext cx="1106116" cy="162566"/>
              <a:chOff x="0" y="0"/>
              <a:chExt cx="1106114" cy="162564"/>
            </a:xfrm>
          </p:grpSpPr>
          <p:sp>
            <p:nvSpPr>
              <p:cNvPr id="15" name="Shape 425"/>
              <p:cNvSpPr/>
              <p:nvPr/>
            </p:nvSpPr>
            <p:spPr>
              <a:xfrm>
                <a:off x="0" y="0"/>
                <a:ext cx="162565" cy="16256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1"/>
              </a:solidFill>
              <a:ln w="12700" cap="flat">
                <a:noFill/>
                <a:miter lim="400000"/>
              </a:ln>
              <a:effectLst/>
            </p:spPr>
            <p:txBody>
              <a:bodyPr wrap="square" lIns="0" tIns="0" rIns="0" bIns="0" numCol="1" anchor="ctr">
                <a:noAutofit/>
              </a:bodyPr>
              <a:lstStyle/>
              <a:p>
                <a:pPr>
                  <a:defRPr sz="3200"/>
                </a:pPr>
                <a:endParaRPr sz="3200">
                  <a:solidFill>
                    <a:prstClr val="black"/>
                  </a:solidFill>
                </a:endParaRPr>
              </a:p>
            </p:txBody>
          </p:sp>
          <p:sp>
            <p:nvSpPr>
              <p:cNvPr id="16" name="Shape 426"/>
              <p:cNvSpPr/>
              <p:nvPr/>
            </p:nvSpPr>
            <p:spPr>
              <a:xfrm>
                <a:off x="235887" y="0"/>
                <a:ext cx="162566" cy="16256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2"/>
              </a:solidFill>
              <a:ln w="12700" cap="flat">
                <a:noFill/>
                <a:miter lim="400000"/>
              </a:ln>
              <a:effectLst/>
            </p:spPr>
            <p:txBody>
              <a:bodyPr wrap="square" lIns="0" tIns="0" rIns="0" bIns="0" numCol="1" anchor="ctr">
                <a:noAutofit/>
              </a:bodyPr>
              <a:lstStyle/>
              <a:p>
                <a:pPr>
                  <a:defRPr sz="3200"/>
                </a:pPr>
                <a:endParaRPr sz="3200">
                  <a:solidFill>
                    <a:prstClr val="black"/>
                  </a:solidFill>
                </a:endParaRPr>
              </a:p>
            </p:txBody>
          </p:sp>
          <p:sp>
            <p:nvSpPr>
              <p:cNvPr id="17" name="Shape 427"/>
              <p:cNvSpPr/>
              <p:nvPr/>
            </p:nvSpPr>
            <p:spPr>
              <a:xfrm>
                <a:off x="471775" y="0"/>
                <a:ext cx="162565" cy="16256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3"/>
              </a:solidFill>
              <a:ln w="12700" cap="flat">
                <a:noFill/>
                <a:miter lim="400000"/>
              </a:ln>
              <a:effectLst/>
            </p:spPr>
            <p:txBody>
              <a:bodyPr wrap="square" lIns="0" tIns="0" rIns="0" bIns="0" numCol="1" anchor="ctr">
                <a:noAutofit/>
              </a:bodyPr>
              <a:lstStyle/>
              <a:p>
                <a:pPr>
                  <a:defRPr sz="3200"/>
                </a:pPr>
                <a:endParaRPr sz="3200">
                  <a:solidFill>
                    <a:prstClr val="black"/>
                  </a:solidFill>
                </a:endParaRPr>
              </a:p>
            </p:txBody>
          </p:sp>
          <p:sp>
            <p:nvSpPr>
              <p:cNvPr id="18" name="Shape 428"/>
              <p:cNvSpPr/>
              <p:nvPr/>
            </p:nvSpPr>
            <p:spPr>
              <a:xfrm>
                <a:off x="707662" y="0"/>
                <a:ext cx="162566" cy="16256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4"/>
              </a:solidFill>
              <a:ln w="12700" cap="flat">
                <a:noFill/>
                <a:miter lim="400000"/>
              </a:ln>
              <a:effectLst/>
            </p:spPr>
            <p:txBody>
              <a:bodyPr wrap="square" lIns="0" tIns="0" rIns="0" bIns="0" numCol="1" anchor="ctr">
                <a:noAutofit/>
              </a:bodyPr>
              <a:lstStyle/>
              <a:p>
                <a:pPr>
                  <a:defRPr sz="3200"/>
                </a:pPr>
                <a:endParaRPr sz="3200">
                  <a:solidFill>
                    <a:prstClr val="black"/>
                  </a:solidFill>
                </a:endParaRPr>
              </a:p>
            </p:txBody>
          </p:sp>
          <p:sp>
            <p:nvSpPr>
              <p:cNvPr id="19" name="Shape 429"/>
              <p:cNvSpPr/>
              <p:nvPr/>
            </p:nvSpPr>
            <p:spPr>
              <a:xfrm>
                <a:off x="943550" y="0"/>
                <a:ext cx="162565" cy="16256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5"/>
              </a:solidFill>
              <a:ln w="12700" cap="flat">
                <a:noFill/>
                <a:miter lim="400000"/>
              </a:ln>
              <a:effectLst/>
            </p:spPr>
            <p:txBody>
              <a:bodyPr wrap="square" lIns="0" tIns="0" rIns="0" bIns="0" numCol="1" anchor="ctr">
                <a:noAutofit/>
              </a:bodyPr>
              <a:lstStyle/>
              <a:p>
                <a:pPr>
                  <a:defRPr sz="3200"/>
                </a:pPr>
                <a:endParaRPr sz="3200">
                  <a:solidFill>
                    <a:prstClr val="black"/>
                  </a:solidFill>
                </a:endParaRPr>
              </a:p>
            </p:txBody>
          </p:sp>
        </p:grpSp>
      </p:grpSp>
    </p:spTree>
    <p:extLst>
      <p:ext uri="{BB962C8B-B14F-4D97-AF65-F5344CB8AC3E}">
        <p14:creationId xmlns:p14="http://schemas.microsoft.com/office/powerpoint/2010/main" val="2832666548"/>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iterate>
                                    <p:tmAbs val="0"/>
                                  </p:iterate>
                                  <p:childTnLst>
                                    <p:set>
                                      <p:cBhvr>
                                        <p:cTn id="6" fill="hold"/>
                                        <p:tgtEl>
                                          <p:spTgt spid="10"/>
                                        </p:tgtEl>
                                        <p:attrNameLst>
                                          <p:attrName>style.visibility</p:attrName>
                                        </p:attrNameLst>
                                      </p:cBhvr>
                                      <p:to>
                                        <p:strVal val="visible"/>
                                      </p:to>
                                    </p:set>
                                    <p:anim calcmode="lin" valueType="num">
                                      <p:cBhvr>
                                        <p:cTn id="7" dur="1000" fill="hold"/>
                                        <p:tgtEl>
                                          <p:spTgt spid="10"/>
                                        </p:tgtEl>
                                        <p:attrNameLst>
                                          <p:attrName>ppt_x</p:attrName>
                                        </p:attrNameLst>
                                      </p:cBhvr>
                                      <p:tavLst>
                                        <p:tav tm="0">
                                          <p:val>
                                            <p:strVal val="#ppt_x"/>
                                          </p:val>
                                        </p:tav>
                                        <p:tav tm="100000">
                                          <p:val>
                                            <p:strVal val="#ppt_x"/>
                                          </p:val>
                                        </p:tav>
                                      </p:tavLst>
                                    </p:anim>
                                    <p:anim calcmode="lin" valueType="num">
                                      <p:cBhvr>
                                        <p:cTn id="8" dur="1000" fill="hold"/>
                                        <p:tgtEl>
                                          <p:spTgt spid="10"/>
                                        </p:tgtEl>
                                        <p:attrNameLst>
                                          <p:attrName>ppt_y</p:attrName>
                                        </p:attrNameLst>
                                      </p:cBhvr>
                                      <p:tavLst>
                                        <p:tav tm="0">
                                          <p:val>
                                            <p:strVal val="0-#ppt_h/2"/>
                                          </p:val>
                                        </p:tav>
                                        <p:tav tm="100000">
                                          <p:val>
                                            <p:strVal val="#ppt_y"/>
                                          </p:val>
                                        </p:tav>
                                      </p:tavLst>
                                    </p:anim>
                                  </p:childTnLst>
                                </p:cTn>
                              </p:par>
                            </p:childTnLst>
                          </p:cTn>
                        </p:par>
                        <p:par>
                          <p:cTn id="9" fill="hold">
                            <p:stCondLst>
                              <p:cond delay="1000"/>
                            </p:stCondLst>
                            <p:childTnLst>
                              <p:par>
                                <p:cTn id="10" presetID="2" presetClass="entr" presetSubtype="8" fill="hold" grpId="0" nodeType="after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additive="base">
                                        <p:cTn id="12" dur="500" fill="hold"/>
                                        <p:tgtEl>
                                          <p:spTgt spid="3"/>
                                        </p:tgtEl>
                                        <p:attrNameLst>
                                          <p:attrName>ppt_x</p:attrName>
                                        </p:attrNameLst>
                                      </p:cBhvr>
                                      <p:tavLst>
                                        <p:tav tm="0">
                                          <p:val>
                                            <p:strVal val="0-#ppt_w/2"/>
                                          </p:val>
                                        </p:tav>
                                        <p:tav tm="100000">
                                          <p:val>
                                            <p:strVal val="#ppt_x"/>
                                          </p:val>
                                        </p:tav>
                                      </p:tavLst>
                                    </p:anim>
                                    <p:anim calcmode="lin" valueType="num">
                                      <p:cBhvr additive="base">
                                        <p:cTn id="13" dur="500" fill="hold"/>
                                        <p:tgtEl>
                                          <p:spTgt spid="3"/>
                                        </p:tgtEl>
                                        <p:attrNameLst>
                                          <p:attrName>ppt_y</p:attrName>
                                        </p:attrNameLst>
                                      </p:cBhvr>
                                      <p:tavLst>
                                        <p:tav tm="0">
                                          <p:val>
                                            <p:strVal val="#ppt_y"/>
                                          </p:val>
                                        </p:tav>
                                        <p:tav tm="100000">
                                          <p:val>
                                            <p:strVal val="#ppt_y"/>
                                          </p:val>
                                        </p:tav>
                                      </p:tavLst>
                                    </p:anim>
                                  </p:childTnLst>
                                </p:cTn>
                              </p:par>
                            </p:childTnLst>
                          </p:cTn>
                        </p:par>
                        <p:par>
                          <p:cTn id="14" fill="hold">
                            <p:stCondLst>
                              <p:cond delay="1500"/>
                            </p:stCondLst>
                            <p:childTnLst>
                              <p:par>
                                <p:cTn id="15" presetID="2" presetClass="entr" presetSubtype="8" fill="hold" grpId="0" nodeType="afterEffect">
                                  <p:stCondLst>
                                    <p:cond delay="0"/>
                                  </p:stCondLst>
                                  <p:iterate>
                                    <p:tmAbs val="0"/>
                                  </p:iterate>
                                  <p:childTnLst>
                                    <p:set>
                                      <p:cBhvr>
                                        <p:cTn id="16" fill="hold"/>
                                        <p:tgtEl>
                                          <p:spTgt spid="8"/>
                                        </p:tgtEl>
                                        <p:attrNameLst>
                                          <p:attrName>style.visibility</p:attrName>
                                        </p:attrNameLst>
                                      </p:cBhvr>
                                      <p:to>
                                        <p:strVal val="visible"/>
                                      </p:to>
                                    </p:set>
                                    <p:anim calcmode="lin" valueType="num">
                                      <p:cBhvr>
                                        <p:cTn id="17" dur="350" fill="hold"/>
                                        <p:tgtEl>
                                          <p:spTgt spid="8"/>
                                        </p:tgtEl>
                                        <p:attrNameLst>
                                          <p:attrName>ppt_x</p:attrName>
                                        </p:attrNameLst>
                                      </p:cBhvr>
                                      <p:tavLst>
                                        <p:tav tm="0">
                                          <p:val>
                                            <p:strVal val="0-#ppt_w/2"/>
                                          </p:val>
                                        </p:tav>
                                        <p:tav tm="100000">
                                          <p:val>
                                            <p:strVal val="#ppt_x"/>
                                          </p:val>
                                        </p:tav>
                                      </p:tavLst>
                                    </p:anim>
                                    <p:anim calcmode="lin" valueType="num">
                                      <p:cBhvr>
                                        <p:cTn id="18" dur="350" fill="hold"/>
                                        <p:tgtEl>
                                          <p:spTgt spid="8"/>
                                        </p:tgtEl>
                                        <p:attrNameLst>
                                          <p:attrName>ppt_y</p:attrName>
                                        </p:attrNameLst>
                                      </p:cBhvr>
                                      <p:tavLst>
                                        <p:tav tm="0">
                                          <p:val>
                                            <p:strVal val="#ppt_y"/>
                                          </p:val>
                                        </p:tav>
                                        <p:tav tm="100000">
                                          <p:val>
                                            <p:strVal val="#ppt_y"/>
                                          </p:val>
                                        </p:tav>
                                      </p:tavLst>
                                    </p:anim>
                                  </p:childTnLst>
                                </p:cTn>
                              </p:par>
                            </p:childTnLst>
                          </p:cTn>
                        </p:par>
                        <p:par>
                          <p:cTn id="19" fill="hold">
                            <p:stCondLst>
                              <p:cond delay="1850"/>
                            </p:stCondLst>
                            <p:childTnLst>
                              <p:par>
                                <p:cTn id="20" presetID="2" presetClass="entr" presetSubtype="8" fill="hold" grpId="0" nodeType="afterEffect">
                                  <p:stCondLst>
                                    <p:cond delay="0"/>
                                  </p:stCondLst>
                                  <p:iterate>
                                    <p:tmAbs val="0"/>
                                  </p:iterate>
                                  <p:childTnLst>
                                    <p:set>
                                      <p:cBhvr>
                                        <p:cTn id="21" fill="hold"/>
                                        <p:tgtEl>
                                          <p:spTgt spid="7"/>
                                        </p:tgtEl>
                                        <p:attrNameLst>
                                          <p:attrName>style.visibility</p:attrName>
                                        </p:attrNameLst>
                                      </p:cBhvr>
                                      <p:to>
                                        <p:strVal val="visible"/>
                                      </p:to>
                                    </p:set>
                                    <p:anim calcmode="lin" valueType="num">
                                      <p:cBhvr>
                                        <p:cTn id="22" dur="350" fill="hold"/>
                                        <p:tgtEl>
                                          <p:spTgt spid="7"/>
                                        </p:tgtEl>
                                        <p:attrNameLst>
                                          <p:attrName>ppt_x</p:attrName>
                                        </p:attrNameLst>
                                      </p:cBhvr>
                                      <p:tavLst>
                                        <p:tav tm="0">
                                          <p:val>
                                            <p:strVal val="0-#ppt_w/2"/>
                                          </p:val>
                                        </p:tav>
                                        <p:tav tm="100000">
                                          <p:val>
                                            <p:strVal val="#ppt_x"/>
                                          </p:val>
                                        </p:tav>
                                      </p:tavLst>
                                    </p:anim>
                                    <p:anim calcmode="lin" valueType="num">
                                      <p:cBhvr>
                                        <p:cTn id="23" dur="350" fill="hold"/>
                                        <p:tgtEl>
                                          <p:spTgt spid="7"/>
                                        </p:tgtEl>
                                        <p:attrNameLst>
                                          <p:attrName>ppt_y</p:attrName>
                                        </p:attrNameLst>
                                      </p:cBhvr>
                                      <p:tavLst>
                                        <p:tav tm="0">
                                          <p:val>
                                            <p:strVal val="#ppt_y"/>
                                          </p:val>
                                        </p:tav>
                                        <p:tav tm="100000">
                                          <p:val>
                                            <p:strVal val="#ppt_y"/>
                                          </p:val>
                                        </p:tav>
                                      </p:tavLst>
                                    </p:anim>
                                  </p:childTnLst>
                                </p:cTn>
                              </p:par>
                            </p:childTnLst>
                          </p:cTn>
                        </p:par>
                        <p:par>
                          <p:cTn id="24" fill="hold">
                            <p:stCondLst>
                              <p:cond delay="2200"/>
                            </p:stCondLst>
                            <p:childTnLst>
                              <p:par>
                                <p:cTn id="25" presetID="2" presetClass="entr" presetSubtype="8" fill="hold" grpId="0" nodeType="afterEffect">
                                  <p:stCondLst>
                                    <p:cond delay="0"/>
                                  </p:stCondLst>
                                  <p:iterate>
                                    <p:tmAbs val="0"/>
                                  </p:iterate>
                                  <p:childTnLst>
                                    <p:set>
                                      <p:cBhvr>
                                        <p:cTn id="26" fill="hold"/>
                                        <p:tgtEl>
                                          <p:spTgt spid="6"/>
                                        </p:tgtEl>
                                        <p:attrNameLst>
                                          <p:attrName>style.visibility</p:attrName>
                                        </p:attrNameLst>
                                      </p:cBhvr>
                                      <p:to>
                                        <p:strVal val="visible"/>
                                      </p:to>
                                    </p:set>
                                    <p:anim calcmode="lin" valueType="num">
                                      <p:cBhvr>
                                        <p:cTn id="27" dur="350" fill="hold"/>
                                        <p:tgtEl>
                                          <p:spTgt spid="6"/>
                                        </p:tgtEl>
                                        <p:attrNameLst>
                                          <p:attrName>ppt_x</p:attrName>
                                        </p:attrNameLst>
                                      </p:cBhvr>
                                      <p:tavLst>
                                        <p:tav tm="0">
                                          <p:val>
                                            <p:strVal val="0-#ppt_w/2"/>
                                          </p:val>
                                        </p:tav>
                                        <p:tav tm="100000">
                                          <p:val>
                                            <p:strVal val="#ppt_x"/>
                                          </p:val>
                                        </p:tav>
                                      </p:tavLst>
                                    </p:anim>
                                    <p:anim calcmode="lin" valueType="num">
                                      <p:cBhvr>
                                        <p:cTn id="28" dur="350" fill="hold"/>
                                        <p:tgtEl>
                                          <p:spTgt spid="6"/>
                                        </p:tgtEl>
                                        <p:attrNameLst>
                                          <p:attrName>ppt_y</p:attrName>
                                        </p:attrNameLst>
                                      </p:cBhvr>
                                      <p:tavLst>
                                        <p:tav tm="0">
                                          <p:val>
                                            <p:strVal val="#ppt_y"/>
                                          </p:val>
                                        </p:tav>
                                        <p:tav tm="100000">
                                          <p:val>
                                            <p:strVal val="#ppt_y"/>
                                          </p:val>
                                        </p:tav>
                                      </p:tavLst>
                                    </p:anim>
                                  </p:childTnLst>
                                </p:cTn>
                              </p:par>
                            </p:childTnLst>
                          </p:cTn>
                        </p:par>
                        <p:par>
                          <p:cTn id="29" fill="hold">
                            <p:stCondLst>
                              <p:cond delay="2550"/>
                            </p:stCondLst>
                            <p:childTnLst>
                              <p:par>
                                <p:cTn id="30" presetID="2" presetClass="entr" presetSubtype="8" fill="hold" grpId="0" nodeType="afterEffect">
                                  <p:stCondLst>
                                    <p:cond delay="0"/>
                                  </p:stCondLst>
                                  <p:iterate>
                                    <p:tmAbs val="0"/>
                                  </p:iterate>
                                  <p:childTnLst>
                                    <p:set>
                                      <p:cBhvr>
                                        <p:cTn id="31" fill="hold"/>
                                        <p:tgtEl>
                                          <p:spTgt spid="5"/>
                                        </p:tgtEl>
                                        <p:attrNameLst>
                                          <p:attrName>style.visibility</p:attrName>
                                        </p:attrNameLst>
                                      </p:cBhvr>
                                      <p:to>
                                        <p:strVal val="visible"/>
                                      </p:to>
                                    </p:set>
                                    <p:anim calcmode="lin" valueType="num">
                                      <p:cBhvr>
                                        <p:cTn id="32" dur="350" fill="hold"/>
                                        <p:tgtEl>
                                          <p:spTgt spid="5"/>
                                        </p:tgtEl>
                                        <p:attrNameLst>
                                          <p:attrName>ppt_x</p:attrName>
                                        </p:attrNameLst>
                                      </p:cBhvr>
                                      <p:tavLst>
                                        <p:tav tm="0">
                                          <p:val>
                                            <p:strVal val="0-#ppt_w/2"/>
                                          </p:val>
                                        </p:tav>
                                        <p:tav tm="100000">
                                          <p:val>
                                            <p:strVal val="#ppt_x"/>
                                          </p:val>
                                        </p:tav>
                                      </p:tavLst>
                                    </p:anim>
                                    <p:anim calcmode="lin" valueType="num">
                                      <p:cBhvr>
                                        <p:cTn id="33" dur="350" fill="hold"/>
                                        <p:tgtEl>
                                          <p:spTgt spid="5"/>
                                        </p:tgtEl>
                                        <p:attrNameLst>
                                          <p:attrName>ppt_y</p:attrName>
                                        </p:attrNameLst>
                                      </p:cBhvr>
                                      <p:tavLst>
                                        <p:tav tm="0">
                                          <p:val>
                                            <p:strVal val="#ppt_y"/>
                                          </p:val>
                                        </p:tav>
                                        <p:tav tm="100000">
                                          <p:val>
                                            <p:strVal val="#ppt_y"/>
                                          </p:val>
                                        </p:tav>
                                      </p:tavLst>
                                    </p:anim>
                                  </p:childTnLst>
                                </p:cTn>
                              </p:par>
                            </p:childTnLst>
                          </p:cTn>
                        </p:par>
                        <p:par>
                          <p:cTn id="34" fill="hold">
                            <p:stCondLst>
                              <p:cond delay="2900"/>
                            </p:stCondLst>
                            <p:childTnLst>
                              <p:par>
                                <p:cTn id="35" presetID="2" presetClass="entr" presetSubtype="8" fill="hold" grpId="0" nodeType="afterEffect">
                                  <p:stCondLst>
                                    <p:cond delay="0"/>
                                  </p:stCondLst>
                                  <p:iterate>
                                    <p:tmAbs val="0"/>
                                  </p:iterate>
                                  <p:childTnLst>
                                    <p:set>
                                      <p:cBhvr>
                                        <p:cTn id="36" fill="hold"/>
                                        <p:tgtEl>
                                          <p:spTgt spid="4"/>
                                        </p:tgtEl>
                                        <p:attrNameLst>
                                          <p:attrName>style.visibility</p:attrName>
                                        </p:attrNameLst>
                                      </p:cBhvr>
                                      <p:to>
                                        <p:strVal val="visible"/>
                                      </p:to>
                                    </p:set>
                                    <p:anim calcmode="lin" valueType="num">
                                      <p:cBhvr>
                                        <p:cTn id="37" dur="350" fill="hold"/>
                                        <p:tgtEl>
                                          <p:spTgt spid="4"/>
                                        </p:tgtEl>
                                        <p:attrNameLst>
                                          <p:attrName>ppt_x</p:attrName>
                                        </p:attrNameLst>
                                      </p:cBhvr>
                                      <p:tavLst>
                                        <p:tav tm="0">
                                          <p:val>
                                            <p:strVal val="0-#ppt_w/2"/>
                                          </p:val>
                                        </p:tav>
                                        <p:tav tm="100000">
                                          <p:val>
                                            <p:strVal val="#ppt_x"/>
                                          </p:val>
                                        </p:tav>
                                      </p:tavLst>
                                    </p:anim>
                                    <p:anim calcmode="lin" valueType="num">
                                      <p:cBhvr>
                                        <p:cTn id="38" dur="3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advAuto="0"/>
      <p:bldP spid="5" grpId="0" animBg="1" advAuto="0"/>
      <p:bldP spid="6" grpId="0" animBg="1" advAuto="0"/>
      <p:bldP spid="7" grpId="0" animBg="1" advAuto="0"/>
      <p:bldP spid="8" grpId="0" animBg="1" advAuto="0"/>
      <p:bldP spid="10" grpId="0" animBg="1" advAuto="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64515" y="692697"/>
            <a:ext cx="1891674" cy="540059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bg2"/>
              </a:solidFill>
            </a:endParaRPr>
          </a:p>
        </p:txBody>
      </p:sp>
      <p:sp>
        <p:nvSpPr>
          <p:cNvPr id="5" name="Rectangle 4"/>
          <p:cNvSpPr/>
          <p:nvPr/>
        </p:nvSpPr>
        <p:spPr>
          <a:xfrm>
            <a:off x="564515" y="692697"/>
            <a:ext cx="1906206" cy="22323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bg2"/>
              </a:solidFill>
            </a:endParaRPr>
          </a:p>
        </p:txBody>
      </p:sp>
      <p:sp>
        <p:nvSpPr>
          <p:cNvPr id="6" name="TextBox 5"/>
          <p:cNvSpPr txBox="1"/>
          <p:nvPr/>
        </p:nvSpPr>
        <p:spPr>
          <a:xfrm>
            <a:off x="571781" y="1416237"/>
            <a:ext cx="1891674" cy="646331"/>
          </a:xfrm>
          <a:prstGeom prst="rect">
            <a:avLst/>
          </a:prstGeom>
          <a:noFill/>
          <a:effectLst/>
        </p:spPr>
        <p:txBody>
          <a:bodyPr wrap="square" rtlCol="0">
            <a:spAutoFit/>
          </a:bodyPr>
          <a:lstStyle/>
          <a:p>
            <a:pPr algn="ctr"/>
            <a:r>
              <a:rPr lang="en-US" sz="1800" dirty="0" smtClean="0">
                <a:solidFill>
                  <a:schemeClr val="bg2"/>
                </a:solidFill>
                <a:latin typeface="+mj-lt"/>
              </a:rPr>
              <a:t>Agriculture is critical for</a:t>
            </a:r>
            <a:endParaRPr lang="id-ID" sz="1800" dirty="0">
              <a:solidFill>
                <a:schemeClr val="bg2"/>
              </a:solidFill>
              <a:latin typeface="+mj-lt"/>
            </a:endParaRPr>
          </a:p>
        </p:txBody>
      </p:sp>
      <p:cxnSp>
        <p:nvCxnSpPr>
          <p:cNvPr id="7" name="Straight Connector 6"/>
          <p:cNvCxnSpPr/>
          <p:nvPr/>
        </p:nvCxnSpPr>
        <p:spPr>
          <a:xfrm>
            <a:off x="692796" y="3727967"/>
            <a:ext cx="1635112" cy="0"/>
          </a:xfrm>
          <a:prstGeom prst="line">
            <a:avLst/>
          </a:prstGeom>
          <a:ln w="12700">
            <a:solidFill>
              <a:schemeClr val="tx1">
                <a:lumMod val="50000"/>
                <a:lumOff val="50000"/>
                <a:alpha val="45000"/>
              </a:schemeClr>
            </a:solidFill>
          </a:ln>
          <a:effectLst/>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692796" y="4112642"/>
            <a:ext cx="1635112" cy="0"/>
          </a:xfrm>
          <a:prstGeom prst="line">
            <a:avLst/>
          </a:prstGeom>
          <a:ln w="12700">
            <a:solidFill>
              <a:schemeClr val="tx1">
                <a:lumMod val="50000"/>
                <a:lumOff val="50000"/>
                <a:alpha val="45000"/>
              </a:schemeClr>
            </a:solidFill>
          </a:ln>
          <a:effectLst/>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92796" y="4538306"/>
            <a:ext cx="1635112" cy="0"/>
          </a:xfrm>
          <a:prstGeom prst="line">
            <a:avLst/>
          </a:prstGeom>
          <a:ln w="12700">
            <a:solidFill>
              <a:schemeClr val="tx1">
                <a:lumMod val="50000"/>
                <a:lumOff val="50000"/>
                <a:alpha val="45000"/>
              </a:schemeClr>
            </a:solidFill>
          </a:ln>
          <a:effectLst/>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564515" y="4960146"/>
            <a:ext cx="1891674" cy="11331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00">
              <a:solidFill>
                <a:schemeClr val="bg2"/>
              </a:solidFill>
            </a:endParaRPr>
          </a:p>
        </p:txBody>
      </p:sp>
      <p:sp>
        <p:nvSpPr>
          <p:cNvPr id="12" name="TextBox 11"/>
          <p:cNvSpPr txBox="1"/>
          <p:nvPr/>
        </p:nvSpPr>
        <p:spPr>
          <a:xfrm>
            <a:off x="989349" y="3797430"/>
            <a:ext cx="880369" cy="253916"/>
          </a:xfrm>
          <a:prstGeom prst="rect">
            <a:avLst/>
          </a:prstGeom>
          <a:noFill/>
        </p:spPr>
        <p:txBody>
          <a:bodyPr wrap="none" rtlCol="0">
            <a:spAutoFit/>
          </a:bodyPr>
          <a:lstStyle/>
          <a:p>
            <a:r>
              <a:rPr lang="en-US" sz="1050" dirty="0" smtClean="0">
                <a:solidFill>
                  <a:schemeClr val="tx1">
                    <a:lumMod val="65000"/>
                    <a:lumOff val="35000"/>
                  </a:schemeClr>
                </a:solidFill>
              </a:rPr>
              <a:t>Employment</a:t>
            </a:r>
            <a:endParaRPr lang="id-ID" sz="1050" dirty="0">
              <a:solidFill>
                <a:schemeClr val="tx1">
                  <a:lumMod val="65000"/>
                  <a:lumOff val="35000"/>
                </a:schemeClr>
              </a:solidFill>
            </a:endParaRPr>
          </a:p>
        </p:txBody>
      </p:sp>
      <p:sp>
        <p:nvSpPr>
          <p:cNvPr id="13" name="TextBox 12"/>
          <p:cNvSpPr txBox="1"/>
          <p:nvPr/>
        </p:nvSpPr>
        <p:spPr>
          <a:xfrm>
            <a:off x="838213" y="4179870"/>
            <a:ext cx="1473480" cy="253916"/>
          </a:xfrm>
          <a:prstGeom prst="rect">
            <a:avLst/>
          </a:prstGeom>
          <a:noFill/>
        </p:spPr>
        <p:txBody>
          <a:bodyPr wrap="none" rtlCol="0">
            <a:spAutoFit/>
          </a:bodyPr>
          <a:lstStyle/>
          <a:p>
            <a:r>
              <a:rPr lang="en-US" sz="1050" dirty="0" smtClean="0">
                <a:solidFill>
                  <a:schemeClr val="tx1">
                    <a:lumMod val="65000"/>
                    <a:lumOff val="35000"/>
                  </a:schemeClr>
                </a:solidFill>
              </a:rPr>
              <a:t>Economic development</a:t>
            </a:r>
            <a:endParaRPr lang="id-ID" sz="1050" dirty="0">
              <a:solidFill>
                <a:schemeClr val="tx1">
                  <a:lumMod val="65000"/>
                  <a:lumOff val="35000"/>
                </a:schemeClr>
              </a:solidFill>
            </a:endParaRPr>
          </a:p>
        </p:txBody>
      </p:sp>
      <p:sp>
        <p:nvSpPr>
          <p:cNvPr id="14" name="TextBox 13"/>
          <p:cNvSpPr txBox="1"/>
          <p:nvPr/>
        </p:nvSpPr>
        <p:spPr>
          <a:xfrm>
            <a:off x="747649" y="4599346"/>
            <a:ext cx="1592103" cy="253916"/>
          </a:xfrm>
          <a:prstGeom prst="rect">
            <a:avLst/>
          </a:prstGeom>
          <a:noFill/>
        </p:spPr>
        <p:txBody>
          <a:bodyPr wrap="none" rtlCol="0">
            <a:spAutoFit/>
          </a:bodyPr>
          <a:lstStyle/>
          <a:p>
            <a:r>
              <a:rPr lang="en-US" sz="1050" dirty="0" smtClean="0">
                <a:solidFill>
                  <a:schemeClr val="tx1">
                    <a:lumMod val="65000"/>
                    <a:lumOff val="35000"/>
                  </a:schemeClr>
                </a:solidFill>
              </a:rPr>
              <a:t>Food  &amp; nutrition Security</a:t>
            </a:r>
            <a:endParaRPr lang="id-ID" sz="1050" dirty="0">
              <a:solidFill>
                <a:schemeClr val="tx1">
                  <a:lumMod val="65000"/>
                  <a:lumOff val="35000"/>
                </a:schemeClr>
              </a:solidFill>
            </a:endParaRPr>
          </a:p>
        </p:txBody>
      </p:sp>
      <p:sp>
        <p:nvSpPr>
          <p:cNvPr id="15" name="Rectangle 14"/>
          <p:cNvSpPr/>
          <p:nvPr/>
        </p:nvSpPr>
        <p:spPr>
          <a:xfrm>
            <a:off x="3491880" y="692697"/>
            <a:ext cx="1891674" cy="5400599"/>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bg2"/>
              </a:solidFill>
            </a:endParaRPr>
          </a:p>
        </p:txBody>
      </p:sp>
      <p:sp>
        <p:nvSpPr>
          <p:cNvPr id="16" name="Rectangle 15"/>
          <p:cNvSpPr/>
          <p:nvPr/>
        </p:nvSpPr>
        <p:spPr>
          <a:xfrm>
            <a:off x="3491880" y="692697"/>
            <a:ext cx="1891674" cy="2232299"/>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bg2"/>
              </a:solidFill>
            </a:endParaRPr>
          </a:p>
        </p:txBody>
      </p:sp>
      <p:sp>
        <p:nvSpPr>
          <p:cNvPr id="17" name="TextBox 16"/>
          <p:cNvSpPr txBox="1"/>
          <p:nvPr/>
        </p:nvSpPr>
        <p:spPr>
          <a:xfrm>
            <a:off x="3668929" y="1308811"/>
            <a:ext cx="1503891" cy="923330"/>
          </a:xfrm>
          <a:prstGeom prst="rect">
            <a:avLst/>
          </a:prstGeom>
          <a:noFill/>
          <a:effectLst/>
        </p:spPr>
        <p:txBody>
          <a:bodyPr wrap="square" rtlCol="0">
            <a:spAutoFit/>
          </a:bodyPr>
          <a:lstStyle/>
          <a:p>
            <a:pPr algn="ctr"/>
            <a:r>
              <a:rPr lang="en-US" dirty="0">
                <a:solidFill>
                  <a:schemeClr val="bg2"/>
                </a:solidFill>
                <a:latin typeface="+mj-lt"/>
              </a:rPr>
              <a:t>Important changes in key drivers</a:t>
            </a:r>
          </a:p>
        </p:txBody>
      </p:sp>
      <p:cxnSp>
        <p:nvCxnSpPr>
          <p:cNvPr id="18" name="Straight Connector 17"/>
          <p:cNvCxnSpPr/>
          <p:nvPr/>
        </p:nvCxnSpPr>
        <p:spPr>
          <a:xfrm>
            <a:off x="3620161" y="3727967"/>
            <a:ext cx="1635112" cy="0"/>
          </a:xfrm>
          <a:prstGeom prst="line">
            <a:avLst/>
          </a:prstGeom>
          <a:ln w="12700">
            <a:solidFill>
              <a:schemeClr val="tx1">
                <a:lumMod val="50000"/>
                <a:lumOff val="50000"/>
                <a:alpha val="45000"/>
              </a:schemeClr>
            </a:solidFill>
          </a:ln>
          <a:effectLst/>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3620161" y="4112642"/>
            <a:ext cx="1635112" cy="0"/>
          </a:xfrm>
          <a:prstGeom prst="line">
            <a:avLst/>
          </a:prstGeom>
          <a:ln w="12700">
            <a:solidFill>
              <a:schemeClr val="tx1">
                <a:lumMod val="50000"/>
                <a:lumOff val="50000"/>
                <a:alpha val="45000"/>
              </a:schemeClr>
            </a:solidFill>
          </a:ln>
          <a:effectLst/>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3620161" y="4538306"/>
            <a:ext cx="1635112" cy="0"/>
          </a:xfrm>
          <a:prstGeom prst="line">
            <a:avLst/>
          </a:prstGeom>
          <a:ln w="12700">
            <a:solidFill>
              <a:schemeClr val="tx1">
                <a:lumMod val="50000"/>
                <a:lumOff val="50000"/>
                <a:alpha val="45000"/>
              </a:schemeClr>
            </a:solidFill>
          </a:ln>
          <a:effectLst/>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3491880" y="4960145"/>
            <a:ext cx="1891674" cy="1133151"/>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00" dirty="0">
              <a:solidFill>
                <a:schemeClr val="bg2"/>
              </a:solidFill>
            </a:endParaRPr>
          </a:p>
        </p:txBody>
      </p:sp>
      <p:sp>
        <p:nvSpPr>
          <p:cNvPr id="22" name="TextBox 21"/>
          <p:cNvSpPr txBox="1"/>
          <p:nvPr/>
        </p:nvSpPr>
        <p:spPr>
          <a:xfrm>
            <a:off x="3668929" y="5256542"/>
            <a:ext cx="1453222" cy="523220"/>
          </a:xfrm>
          <a:prstGeom prst="rect">
            <a:avLst/>
          </a:prstGeom>
          <a:noFill/>
        </p:spPr>
        <p:txBody>
          <a:bodyPr wrap="square" rtlCol="0">
            <a:spAutoFit/>
          </a:bodyPr>
          <a:lstStyle/>
          <a:p>
            <a:pPr algn="ctr"/>
            <a:r>
              <a:rPr lang="id-ID" sz="1400" b="1" dirty="0">
                <a:solidFill>
                  <a:schemeClr val="bg2"/>
                </a:solidFill>
                <a:latin typeface="+mj-lt"/>
              </a:rPr>
              <a:t>Demand drivers changing rapidly</a:t>
            </a:r>
          </a:p>
        </p:txBody>
      </p:sp>
      <p:sp>
        <p:nvSpPr>
          <p:cNvPr id="23" name="TextBox 22"/>
          <p:cNvSpPr txBox="1"/>
          <p:nvPr/>
        </p:nvSpPr>
        <p:spPr>
          <a:xfrm>
            <a:off x="3916713" y="3797430"/>
            <a:ext cx="1082348" cy="253916"/>
          </a:xfrm>
          <a:prstGeom prst="rect">
            <a:avLst/>
          </a:prstGeom>
          <a:noFill/>
        </p:spPr>
        <p:txBody>
          <a:bodyPr wrap="none" rtlCol="0">
            <a:spAutoFit/>
          </a:bodyPr>
          <a:lstStyle/>
          <a:p>
            <a:r>
              <a:rPr lang="id-ID" sz="1050" dirty="0">
                <a:solidFill>
                  <a:schemeClr val="tx1">
                    <a:lumMod val="65000"/>
                    <a:lumOff val="35000"/>
                  </a:schemeClr>
                </a:solidFill>
              </a:rPr>
              <a:t>Land constraints</a:t>
            </a:r>
          </a:p>
        </p:txBody>
      </p:sp>
      <p:sp>
        <p:nvSpPr>
          <p:cNvPr id="24" name="TextBox 23"/>
          <p:cNvSpPr txBox="1"/>
          <p:nvPr/>
        </p:nvSpPr>
        <p:spPr>
          <a:xfrm>
            <a:off x="4045634" y="4179870"/>
            <a:ext cx="670382" cy="253916"/>
          </a:xfrm>
          <a:prstGeom prst="rect">
            <a:avLst/>
          </a:prstGeom>
          <a:noFill/>
        </p:spPr>
        <p:txBody>
          <a:bodyPr wrap="square" rtlCol="0">
            <a:spAutoFit/>
          </a:bodyPr>
          <a:lstStyle/>
          <a:p>
            <a:pPr algn="ctr"/>
            <a:r>
              <a:rPr lang="en-US" sz="1050" dirty="0" smtClean="0">
                <a:solidFill>
                  <a:schemeClr val="tx1">
                    <a:lumMod val="65000"/>
                    <a:lumOff val="35000"/>
                  </a:schemeClr>
                </a:solidFill>
              </a:rPr>
              <a:t>Trade</a:t>
            </a:r>
            <a:endParaRPr lang="id-ID" sz="1050" dirty="0">
              <a:solidFill>
                <a:schemeClr val="tx1">
                  <a:lumMod val="65000"/>
                  <a:lumOff val="35000"/>
                </a:schemeClr>
              </a:solidFill>
            </a:endParaRPr>
          </a:p>
        </p:txBody>
      </p:sp>
      <p:sp>
        <p:nvSpPr>
          <p:cNvPr id="25" name="TextBox 24"/>
          <p:cNvSpPr txBox="1"/>
          <p:nvPr/>
        </p:nvSpPr>
        <p:spPr>
          <a:xfrm>
            <a:off x="3916713" y="4599346"/>
            <a:ext cx="1026243" cy="253916"/>
          </a:xfrm>
          <a:prstGeom prst="rect">
            <a:avLst/>
          </a:prstGeom>
          <a:noFill/>
        </p:spPr>
        <p:txBody>
          <a:bodyPr wrap="none" rtlCol="0">
            <a:spAutoFit/>
          </a:bodyPr>
          <a:lstStyle/>
          <a:p>
            <a:r>
              <a:rPr lang="id-ID" sz="1050" dirty="0">
                <a:solidFill>
                  <a:schemeClr val="tx1">
                    <a:lumMod val="65000"/>
                    <a:lumOff val="35000"/>
                  </a:schemeClr>
                </a:solidFill>
              </a:rPr>
              <a:t>Climate change</a:t>
            </a:r>
          </a:p>
        </p:txBody>
      </p:sp>
      <p:sp>
        <p:nvSpPr>
          <p:cNvPr id="26" name="Rectangle 25"/>
          <p:cNvSpPr/>
          <p:nvPr/>
        </p:nvSpPr>
        <p:spPr>
          <a:xfrm>
            <a:off x="6516216" y="722953"/>
            <a:ext cx="1891674" cy="5400599"/>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bg2"/>
              </a:solidFill>
            </a:endParaRPr>
          </a:p>
        </p:txBody>
      </p:sp>
      <p:sp>
        <p:nvSpPr>
          <p:cNvPr id="27" name="Rectangle 26"/>
          <p:cNvSpPr/>
          <p:nvPr/>
        </p:nvSpPr>
        <p:spPr>
          <a:xfrm>
            <a:off x="6530748" y="689991"/>
            <a:ext cx="1891674" cy="2232299"/>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bg2"/>
              </a:solidFill>
            </a:endParaRPr>
          </a:p>
        </p:txBody>
      </p:sp>
      <p:sp>
        <p:nvSpPr>
          <p:cNvPr id="28" name="TextBox 27"/>
          <p:cNvSpPr txBox="1"/>
          <p:nvPr/>
        </p:nvSpPr>
        <p:spPr>
          <a:xfrm>
            <a:off x="6493256" y="1276280"/>
            <a:ext cx="1929166" cy="369332"/>
          </a:xfrm>
          <a:prstGeom prst="rect">
            <a:avLst/>
          </a:prstGeom>
          <a:noFill/>
          <a:effectLst/>
        </p:spPr>
        <p:txBody>
          <a:bodyPr wrap="square" rtlCol="0">
            <a:spAutoFit/>
          </a:bodyPr>
          <a:lstStyle/>
          <a:p>
            <a:pPr algn="ctr"/>
            <a:r>
              <a:rPr lang="en-US" dirty="0" smtClean="0">
                <a:solidFill>
                  <a:schemeClr val="bg2"/>
                </a:solidFill>
                <a:latin typeface="+mj-lt"/>
              </a:rPr>
              <a:t>Huge opportunity</a:t>
            </a:r>
            <a:endParaRPr lang="id-ID" sz="1800" dirty="0">
              <a:solidFill>
                <a:schemeClr val="bg2"/>
              </a:solidFill>
              <a:latin typeface="+mj-lt"/>
            </a:endParaRPr>
          </a:p>
        </p:txBody>
      </p:sp>
      <p:cxnSp>
        <p:nvCxnSpPr>
          <p:cNvPr id="29" name="Straight Connector 28"/>
          <p:cNvCxnSpPr/>
          <p:nvPr/>
        </p:nvCxnSpPr>
        <p:spPr>
          <a:xfrm>
            <a:off x="6644497" y="3758223"/>
            <a:ext cx="1635112" cy="0"/>
          </a:xfrm>
          <a:prstGeom prst="line">
            <a:avLst/>
          </a:prstGeom>
          <a:ln w="12700">
            <a:solidFill>
              <a:schemeClr val="tx1">
                <a:lumMod val="50000"/>
                <a:lumOff val="50000"/>
                <a:alpha val="45000"/>
              </a:schemeClr>
            </a:solidFill>
          </a:ln>
          <a:effectLst/>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6644497" y="4142898"/>
            <a:ext cx="1635112" cy="0"/>
          </a:xfrm>
          <a:prstGeom prst="line">
            <a:avLst/>
          </a:prstGeom>
          <a:ln w="12700">
            <a:solidFill>
              <a:schemeClr val="tx1">
                <a:lumMod val="50000"/>
                <a:lumOff val="50000"/>
                <a:alpha val="45000"/>
              </a:schemeClr>
            </a:solidFill>
          </a:ln>
          <a:effectLst/>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644497" y="4568562"/>
            <a:ext cx="1635112" cy="0"/>
          </a:xfrm>
          <a:prstGeom prst="line">
            <a:avLst/>
          </a:prstGeom>
          <a:ln w="12700">
            <a:solidFill>
              <a:schemeClr val="tx1">
                <a:lumMod val="50000"/>
                <a:lumOff val="50000"/>
                <a:alpha val="45000"/>
              </a:schemeClr>
            </a:solidFill>
          </a:ln>
          <a:effectLst/>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6516216" y="4990401"/>
            <a:ext cx="1891674" cy="1133151"/>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00">
              <a:solidFill>
                <a:schemeClr val="bg2"/>
              </a:solidFill>
            </a:endParaRPr>
          </a:p>
        </p:txBody>
      </p:sp>
      <p:sp>
        <p:nvSpPr>
          <p:cNvPr id="33" name="TextBox 32"/>
          <p:cNvSpPr txBox="1"/>
          <p:nvPr/>
        </p:nvSpPr>
        <p:spPr>
          <a:xfrm>
            <a:off x="6615987" y="5037588"/>
            <a:ext cx="1663622" cy="738664"/>
          </a:xfrm>
          <a:prstGeom prst="rect">
            <a:avLst/>
          </a:prstGeom>
          <a:noFill/>
        </p:spPr>
        <p:txBody>
          <a:bodyPr wrap="square" rtlCol="0">
            <a:spAutoFit/>
          </a:bodyPr>
          <a:lstStyle/>
          <a:p>
            <a:pPr algn="ctr"/>
            <a:r>
              <a:rPr lang="en-US" sz="1400" b="1" dirty="0" smtClean="0">
                <a:solidFill>
                  <a:schemeClr val="bg2"/>
                </a:solidFill>
                <a:latin typeface="+mj-lt"/>
              </a:rPr>
              <a:t>But we need proper regulatory environment</a:t>
            </a:r>
            <a:endParaRPr lang="id-ID" sz="1400" b="1" dirty="0">
              <a:solidFill>
                <a:schemeClr val="bg2"/>
              </a:solidFill>
              <a:latin typeface="+mj-lt"/>
            </a:endParaRPr>
          </a:p>
        </p:txBody>
      </p:sp>
      <p:sp>
        <p:nvSpPr>
          <p:cNvPr id="34" name="TextBox 33"/>
          <p:cNvSpPr txBox="1"/>
          <p:nvPr/>
        </p:nvSpPr>
        <p:spPr>
          <a:xfrm>
            <a:off x="6458534" y="3827686"/>
            <a:ext cx="1935145" cy="253916"/>
          </a:xfrm>
          <a:prstGeom prst="rect">
            <a:avLst/>
          </a:prstGeom>
          <a:noFill/>
        </p:spPr>
        <p:txBody>
          <a:bodyPr wrap="none" rtlCol="0">
            <a:spAutoFit/>
          </a:bodyPr>
          <a:lstStyle/>
          <a:p>
            <a:pPr algn="ctr"/>
            <a:r>
              <a:rPr lang="en-US" sz="1050" dirty="0" smtClean="0">
                <a:solidFill>
                  <a:schemeClr val="tx1">
                    <a:lumMod val="65000"/>
                    <a:lumOff val="35000"/>
                  </a:schemeClr>
                </a:solidFill>
              </a:rPr>
              <a:t>Gains in efficiency and potential</a:t>
            </a:r>
            <a:endParaRPr lang="id-ID" sz="1050" dirty="0">
              <a:solidFill>
                <a:schemeClr val="tx1">
                  <a:lumMod val="65000"/>
                  <a:lumOff val="35000"/>
                </a:schemeClr>
              </a:solidFill>
            </a:endParaRPr>
          </a:p>
        </p:txBody>
      </p:sp>
      <p:sp>
        <p:nvSpPr>
          <p:cNvPr id="35" name="TextBox 34"/>
          <p:cNvSpPr txBox="1"/>
          <p:nvPr/>
        </p:nvSpPr>
        <p:spPr>
          <a:xfrm>
            <a:off x="6530748" y="4509120"/>
            <a:ext cx="1748861" cy="415498"/>
          </a:xfrm>
          <a:prstGeom prst="rect">
            <a:avLst/>
          </a:prstGeom>
          <a:noFill/>
        </p:spPr>
        <p:txBody>
          <a:bodyPr wrap="square" rtlCol="0">
            <a:spAutoFit/>
          </a:bodyPr>
          <a:lstStyle/>
          <a:p>
            <a:pPr algn="ctr"/>
            <a:r>
              <a:rPr lang="en-US" sz="1050" dirty="0" smtClean="0">
                <a:solidFill>
                  <a:schemeClr val="tx1">
                    <a:lumMod val="65000"/>
                    <a:lumOff val="35000"/>
                  </a:schemeClr>
                </a:solidFill>
              </a:rPr>
              <a:t>Increase value added &amp; enable environment</a:t>
            </a:r>
            <a:endParaRPr lang="id-ID" sz="1050" dirty="0">
              <a:solidFill>
                <a:schemeClr val="tx1">
                  <a:lumMod val="65000"/>
                  <a:lumOff val="35000"/>
                </a:schemeClr>
              </a:solidFill>
            </a:endParaRPr>
          </a:p>
        </p:txBody>
      </p:sp>
      <p:sp>
        <p:nvSpPr>
          <p:cNvPr id="36" name="TextBox 35"/>
          <p:cNvSpPr txBox="1"/>
          <p:nvPr/>
        </p:nvSpPr>
        <p:spPr>
          <a:xfrm>
            <a:off x="6691764" y="4114522"/>
            <a:ext cx="1506329" cy="415498"/>
          </a:xfrm>
          <a:prstGeom prst="rect">
            <a:avLst/>
          </a:prstGeom>
          <a:noFill/>
        </p:spPr>
        <p:txBody>
          <a:bodyPr wrap="square" rtlCol="0">
            <a:spAutoFit/>
          </a:bodyPr>
          <a:lstStyle/>
          <a:p>
            <a:pPr algn="ctr"/>
            <a:r>
              <a:rPr lang="en-US" sz="1050" dirty="0" smtClean="0">
                <a:solidFill>
                  <a:schemeClr val="tx1">
                    <a:lumMod val="65000"/>
                    <a:lumOff val="35000"/>
                  </a:schemeClr>
                </a:solidFill>
              </a:rPr>
              <a:t>Sustainable Agricultural Intensification (</a:t>
            </a:r>
            <a:r>
              <a:rPr lang="id-ID" sz="1050" dirty="0" smtClean="0">
                <a:solidFill>
                  <a:schemeClr val="tx1">
                    <a:lumMod val="65000"/>
                    <a:lumOff val="35000"/>
                  </a:schemeClr>
                </a:solidFill>
              </a:rPr>
              <a:t>SAI</a:t>
            </a:r>
            <a:r>
              <a:rPr lang="en-US" sz="1050" dirty="0" smtClean="0">
                <a:solidFill>
                  <a:schemeClr val="tx1">
                    <a:lumMod val="65000"/>
                    <a:lumOff val="35000"/>
                  </a:schemeClr>
                </a:solidFill>
              </a:rPr>
              <a:t>)</a:t>
            </a:r>
            <a:endParaRPr lang="id-ID" sz="1050" dirty="0">
              <a:solidFill>
                <a:schemeClr val="tx1">
                  <a:lumMod val="65000"/>
                  <a:lumOff val="35000"/>
                </a:schemeClr>
              </a:solidFill>
            </a:endParaRPr>
          </a:p>
        </p:txBody>
      </p:sp>
      <p:grpSp>
        <p:nvGrpSpPr>
          <p:cNvPr id="49" name="Group 48"/>
          <p:cNvGrpSpPr/>
          <p:nvPr/>
        </p:nvGrpSpPr>
        <p:grpSpPr>
          <a:xfrm>
            <a:off x="4170596" y="3084079"/>
            <a:ext cx="534242" cy="518426"/>
            <a:chOff x="7961313" y="1244600"/>
            <a:chExt cx="482600" cy="468313"/>
          </a:xfrm>
          <a:solidFill>
            <a:schemeClr val="accent2"/>
          </a:solidFill>
        </p:grpSpPr>
        <p:sp>
          <p:nvSpPr>
            <p:cNvPr id="50" name="Freeform 17"/>
            <p:cNvSpPr>
              <a:spLocks noEditPoints="1"/>
            </p:cNvSpPr>
            <p:nvPr/>
          </p:nvSpPr>
          <p:spPr bwMode="auto">
            <a:xfrm>
              <a:off x="7961313" y="1244600"/>
              <a:ext cx="482600" cy="468313"/>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7 w 128"/>
                <a:gd name="T13" fmla="*/ 110 h 122"/>
                <a:gd name="T14" fmla="*/ 34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1" y="106"/>
                    <a:pt x="39" y="109"/>
                    <a:pt x="37" y="110"/>
                  </a:cubicBezTo>
                  <a:cubicBezTo>
                    <a:pt x="36" y="111"/>
                    <a:pt x="35" y="112"/>
                    <a:pt x="34"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4"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1"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chemeClr val="tx1">
                    <a:lumMod val="65000"/>
                    <a:lumOff val="35000"/>
                  </a:schemeClr>
                </a:solidFill>
              </a:endParaRPr>
            </a:p>
          </p:txBody>
        </p:sp>
        <p:sp>
          <p:nvSpPr>
            <p:cNvPr id="51" name="Freeform 18"/>
            <p:cNvSpPr>
              <a:spLocks noEditPoints="1"/>
            </p:cNvSpPr>
            <p:nvPr/>
          </p:nvSpPr>
          <p:spPr bwMode="auto">
            <a:xfrm>
              <a:off x="8021638" y="1306513"/>
              <a:ext cx="361950" cy="244475"/>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chemeClr val="tx1">
                    <a:lumMod val="65000"/>
                    <a:lumOff val="35000"/>
                  </a:schemeClr>
                </a:solidFill>
              </a:endParaRPr>
            </a:p>
          </p:txBody>
        </p:sp>
        <p:sp>
          <p:nvSpPr>
            <p:cNvPr id="52" name="Freeform 19"/>
            <p:cNvSpPr>
              <a:spLocks noEditPoints="1"/>
            </p:cNvSpPr>
            <p:nvPr/>
          </p:nvSpPr>
          <p:spPr bwMode="auto">
            <a:xfrm>
              <a:off x="8180388" y="1558925"/>
              <a:ext cx="44450" cy="46038"/>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chemeClr val="tx1">
                    <a:lumMod val="65000"/>
                    <a:lumOff val="35000"/>
                  </a:schemeClr>
                </a:solidFill>
              </a:endParaRPr>
            </a:p>
          </p:txBody>
        </p:sp>
        <p:sp>
          <p:nvSpPr>
            <p:cNvPr id="53" name="Freeform 20"/>
            <p:cNvSpPr>
              <a:spLocks/>
            </p:cNvSpPr>
            <p:nvPr/>
          </p:nvSpPr>
          <p:spPr bwMode="auto">
            <a:xfrm>
              <a:off x="8142288" y="1428750"/>
              <a:ext cx="44450" cy="92075"/>
            </a:xfrm>
            <a:custGeom>
              <a:avLst/>
              <a:gdLst>
                <a:gd name="T0" fmla="*/ 9 w 12"/>
                <a:gd name="T1" fmla="*/ 0 h 24"/>
                <a:gd name="T2" fmla="*/ 3 w 12"/>
                <a:gd name="T3" fmla="*/ 0 h 24"/>
                <a:gd name="T4" fmla="*/ 0 w 12"/>
                <a:gd name="T5" fmla="*/ 3 h 24"/>
                <a:gd name="T6" fmla="*/ 0 w 12"/>
                <a:gd name="T7" fmla="*/ 21 h 24"/>
                <a:gd name="T8" fmla="*/ 3 w 12"/>
                <a:gd name="T9" fmla="*/ 24 h 24"/>
                <a:gd name="T10" fmla="*/ 9 w 12"/>
                <a:gd name="T11" fmla="*/ 24 h 24"/>
                <a:gd name="T12" fmla="*/ 12 w 12"/>
                <a:gd name="T13" fmla="*/ 21 h 24"/>
                <a:gd name="T14" fmla="*/ 12 w 12"/>
                <a:gd name="T15" fmla="*/ 3 h 24"/>
                <a:gd name="T16" fmla="*/ 9 w 12"/>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4">
                  <a:moveTo>
                    <a:pt x="9" y="0"/>
                  </a:moveTo>
                  <a:cubicBezTo>
                    <a:pt x="3" y="0"/>
                    <a:pt x="3" y="0"/>
                    <a:pt x="3" y="0"/>
                  </a:cubicBezTo>
                  <a:cubicBezTo>
                    <a:pt x="1" y="0"/>
                    <a:pt x="0" y="1"/>
                    <a:pt x="0" y="3"/>
                  </a:cubicBezTo>
                  <a:cubicBezTo>
                    <a:pt x="0" y="21"/>
                    <a:pt x="0" y="21"/>
                    <a:pt x="0" y="21"/>
                  </a:cubicBezTo>
                  <a:cubicBezTo>
                    <a:pt x="0" y="22"/>
                    <a:pt x="1" y="24"/>
                    <a:pt x="3" y="24"/>
                  </a:cubicBezTo>
                  <a:cubicBezTo>
                    <a:pt x="9" y="24"/>
                    <a:pt x="9" y="24"/>
                    <a:pt x="9" y="24"/>
                  </a:cubicBezTo>
                  <a:cubicBezTo>
                    <a:pt x="11" y="24"/>
                    <a:pt x="12" y="22"/>
                    <a:pt x="12" y="21"/>
                  </a:cubicBezTo>
                  <a:cubicBezTo>
                    <a:pt x="12" y="3"/>
                    <a:pt x="12" y="3"/>
                    <a:pt x="12" y="3"/>
                  </a:cubicBezTo>
                  <a:cubicBezTo>
                    <a:pt x="12" y="1"/>
                    <a:pt x="11" y="0"/>
                    <a:pt x="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chemeClr val="tx1">
                    <a:lumMod val="65000"/>
                    <a:lumOff val="35000"/>
                  </a:schemeClr>
                </a:solidFill>
              </a:endParaRPr>
            </a:p>
          </p:txBody>
        </p:sp>
        <p:sp>
          <p:nvSpPr>
            <p:cNvPr id="54" name="Freeform 21"/>
            <p:cNvSpPr>
              <a:spLocks/>
            </p:cNvSpPr>
            <p:nvPr/>
          </p:nvSpPr>
          <p:spPr bwMode="auto">
            <a:xfrm>
              <a:off x="8293100" y="1336675"/>
              <a:ext cx="44450" cy="184150"/>
            </a:xfrm>
            <a:custGeom>
              <a:avLst/>
              <a:gdLst>
                <a:gd name="T0" fmla="*/ 9 w 12"/>
                <a:gd name="T1" fmla="*/ 0 h 48"/>
                <a:gd name="T2" fmla="*/ 3 w 12"/>
                <a:gd name="T3" fmla="*/ 0 h 48"/>
                <a:gd name="T4" fmla="*/ 0 w 12"/>
                <a:gd name="T5" fmla="*/ 3 h 48"/>
                <a:gd name="T6" fmla="*/ 0 w 12"/>
                <a:gd name="T7" fmla="*/ 45 h 48"/>
                <a:gd name="T8" fmla="*/ 3 w 12"/>
                <a:gd name="T9" fmla="*/ 48 h 48"/>
                <a:gd name="T10" fmla="*/ 9 w 12"/>
                <a:gd name="T11" fmla="*/ 48 h 48"/>
                <a:gd name="T12" fmla="*/ 12 w 12"/>
                <a:gd name="T13" fmla="*/ 45 h 48"/>
                <a:gd name="T14" fmla="*/ 12 w 12"/>
                <a:gd name="T15" fmla="*/ 3 h 48"/>
                <a:gd name="T16" fmla="*/ 9 w 12"/>
                <a:gd name="T1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48">
                  <a:moveTo>
                    <a:pt x="9" y="0"/>
                  </a:moveTo>
                  <a:cubicBezTo>
                    <a:pt x="3" y="0"/>
                    <a:pt x="3" y="0"/>
                    <a:pt x="3" y="0"/>
                  </a:cubicBezTo>
                  <a:cubicBezTo>
                    <a:pt x="1" y="0"/>
                    <a:pt x="0" y="1"/>
                    <a:pt x="0" y="3"/>
                  </a:cubicBezTo>
                  <a:cubicBezTo>
                    <a:pt x="0" y="45"/>
                    <a:pt x="0" y="45"/>
                    <a:pt x="0" y="45"/>
                  </a:cubicBezTo>
                  <a:cubicBezTo>
                    <a:pt x="0" y="47"/>
                    <a:pt x="1" y="48"/>
                    <a:pt x="3" y="48"/>
                  </a:cubicBezTo>
                  <a:cubicBezTo>
                    <a:pt x="9" y="48"/>
                    <a:pt x="9" y="48"/>
                    <a:pt x="9" y="48"/>
                  </a:cubicBezTo>
                  <a:cubicBezTo>
                    <a:pt x="11" y="48"/>
                    <a:pt x="12" y="47"/>
                    <a:pt x="12" y="45"/>
                  </a:cubicBezTo>
                  <a:cubicBezTo>
                    <a:pt x="12" y="3"/>
                    <a:pt x="12" y="3"/>
                    <a:pt x="12" y="3"/>
                  </a:cubicBezTo>
                  <a:cubicBezTo>
                    <a:pt x="12" y="1"/>
                    <a:pt x="11" y="0"/>
                    <a:pt x="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chemeClr val="tx1">
                    <a:lumMod val="65000"/>
                    <a:lumOff val="35000"/>
                  </a:schemeClr>
                </a:solidFill>
              </a:endParaRPr>
            </a:p>
          </p:txBody>
        </p:sp>
        <p:sp>
          <p:nvSpPr>
            <p:cNvPr id="55" name="Freeform 22"/>
            <p:cNvSpPr>
              <a:spLocks/>
            </p:cNvSpPr>
            <p:nvPr/>
          </p:nvSpPr>
          <p:spPr bwMode="auto">
            <a:xfrm>
              <a:off x="8216900" y="1398588"/>
              <a:ext cx="46037" cy="122238"/>
            </a:xfrm>
            <a:custGeom>
              <a:avLst/>
              <a:gdLst>
                <a:gd name="T0" fmla="*/ 9 w 12"/>
                <a:gd name="T1" fmla="*/ 0 h 32"/>
                <a:gd name="T2" fmla="*/ 3 w 12"/>
                <a:gd name="T3" fmla="*/ 0 h 32"/>
                <a:gd name="T4" fmla="*/ 0 w 12"/>
                <a:gd name="T5" fmla="*/ 3 h 32"/>
                <a:gd name="T6" fmla="*/ 0 w 12"/>
                <a:gd name="T7" fmla="*/ 29 h 32"/>
                <a:gd name="T8" fmla="*/ 3 w 12"/>
                <a:gd name="T9" fmla="*/ 32 h 32"/>
                <a:gd name="T10" fmla="*/ 9 w 12"/>
                <a:gd name="T11" fmla="*/ 32 h 32"/>
                <a:gd name="T12" fmla="*/ 12 w 12"/>
                <a:gd name="T13" fmla="*/ 29 h 32"/>
                <a:gd name="T14" fmla="*/ 12 w 12"/>
                <a:gd name="T15" fmla="*/ 3 h 32"/>
                <a:gd name="T16" fmla="*/ 9 w 1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32">
                  <a:moveTo>
                    <a:pt x="9" y="0"/>
                  </a:moveTo>
                  <a:cubicBezTo>
                    <a:pt x="3" y="0"/>
                    <a:pt x="3" y="0"/>
                    <a:pt x="3" y="0"/>
                  </a:cubicBezTo>
                  <a:cubicBezTo>
                    <a:pt x="1" y="0"/>
                    <a:pt x="0" y="1"/>
                    <a:pt x="0" y="3"/>
                  </a:cubicBezTo>
                  <a:cubicBezTo>
                    <a:pt x="0" y="29"/>
                    <a:pt x="0" y="29"/>
                    <a:pt x="0" y="29"/>
                  </a:cubicBezTo>
                  <a:cubicBezTo>
                    <a:pt x="0" y="31"/>
                    <a:pt x="1" y="32"/>
                    <a:pt x="3" y="32"/>
                  </a:cubicBezTo>
                  <a:cubicBezTo>
                    <a:pt x="9" y="32"/>
                    <a:pt x="9" y="32"/>
                    <a:pt x="9" y="32"/>
                  </a:cubicBezTo>
                  <a:cubicBezTo>
                    <a:pt x="11" y="32"/>
                    <a:pt x="12" y="31"/>
                    <a:pt x="12" y="29"/>
                  </a:cubicBezTo>
                  <a:cubicBezTo>
                    <a:pt x="12" y="3"/>
                    <a:pt x="12" y="3"/>
                    <a:pt x="12" y="3"/>
                  </a:cubicBezTo>
                  <a:cubicBezTo>
                    <a:pt x="12" y="1"/>
                    <a:pt x="11" y="0"/>
                    <a:pt x="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chemeClr val="tx1">
                    <a:lumMod val="65000"/>
                    <a:lumOff val="35000"/>
                  </a:schemeClr>
                </a:solidFill>
              </a:endParaRPr>
            </a:p>
          </p:txBody>
        </p:sp>
        <p:sp>
          <p:nvSpPr>
            <p:cNvPr id="56" name="Freeform 23"/>
            <p:cNvSpPr>
              <a:spLocks/>
            </p:cNvSpPr>
            <p:nvPr/>
          </p:nvSpPr>
          <p:spPr bwMode="auto">
            <a:xfrm>
              <a:off x="8066088" y="1368425"/>
              <a:ext cx="46037" cy="152400"/>
            </a:xfrm>
            <a:custGeom>
              <a:avLst/>
              <a:gdLst>
                <a:gd name="T0" fmla="*/ 9 w 12"/>
                <a:gd name="T1" fmla="*/ 0 h 40"/>
                <a:gd name="T2" fmla="*/ 3 w 12"/>
                <a:gd name="T3" fmla="*/ 0 h 40"/>
                <a:gd name="T4" fmla="*/ 0 w 12"/>
                <a:gd name="T5" fmla="*/ 3 h 40"/>
                <a:gd name="T6" fmla="*/ 0 w 12"/>
                <a:gd name="T7" fmla="*/ 37 h 40"/>
                <a:gd name="T8" fmla="*/ 3 w 12"/>
                <a:gd name="T9" fmla="*/ 40 h 40"/>
                <a:gd name="T10" fmla="*/ 9 w 12"/>
                <a:gd name="T11" fmla="*/ 40 h 40"/>
                <a:gd name="T12" fmla="*/ 12 w 12"/>
                <a:gd name="T13" fmla="*/ 37 h 40"/>
                <a:gd name="T14" fmla="*/ 12 w 12"/>
                <a:gd name="T15" fmla="*/ 3 h 40"/>
                <a:gd name="T16" fmla="*/ 9 w 12"/>
                <a:gd name="T1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40">
                  <a:moveTo>
                    <a:pt x="9" y="0"/>
                  </a:moveTo>
                  <a:cubicBezTo>
                    <a:pt x="3" y="0"/>
                    <a:pt x="3" y="0"/>
                    <a:pt x="3" y="0"/>
                  </a:cubicBezTo>
                  <a:cubicBezTo>
                    <a:pt x="1" y="0"/>
                    <a:pt x="0" y="1"/>
                    <a:pt x="0" y="3"/>
                  </a:cubicBezTo>
                  <a:cubicBezTo>
                    <a:pt x="0" y="37"/>
                    <a:pt x="0" y="37"/>
                    <a:pt x="0" y="37"/>
                  </a:cubicBezTo>
                  <a:cubicBezTo>
                    <a:pt x="0" y="39"/>
                    <a:pt x="1" y="40"/>
                    <a:pt x="3" y="40"/>
                  </a:cubicBezTo>
                  <a:cubicBezTo>
                    <a:pt x="9" y="40"/>
                    <a:pt x="9" y="40"/>
                    <a:pt x="9" y="40"/>
                  </a:cubicBezTo>
                  <a:cubicBezTo>
                    <a:pt x="11" y="40"/>
                    <a:pt x="12" y="39"/>
                    <a:pt x="12" y="37"/>
                  </a:cubicBezTo>
                  <a:cubicBezTo>
                    <a:pt x="12" y="3"/>
                    <a:pt x="12" y="3"/>
                    <a:pt x="12" y="3"/>
                  </a:cubicBezTo>
                  <a:cubicBezTo>
                    <a:pt x="12" y="1"/>
                    <a:pt x="11" y="0"/>
                    <a:pt x="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chemeClr val="tx1">
                    <a:lumMod val="65000"/>
                    <a:lumOff val="35000"/>
                  </a:schemeClr>
                </a:solidFill>
              </a:endParaRPr>
            </a:p>
          </p:txBody>
        </p:sp>
      </p:grpSp>
      <p:grpSp>
        <p:nvGrpSpPr>
          <p:cNvPr id="57" name="Group 56"/>
          <p:cNvGrpSpPr/>
          <p:nvPr/>
        </p:nvGrpSpPr>
        <p:grpSpPr>
          <a:xfrm>
            <a:off x="7146236" y="3102032"/>
            <a:ext cx="544278" cy="533131"/>
            <a:chOff x="4849813" y="501081"/>
            <a:chExt cx="1104900" cy="1054100"/>
          </a:xfrm>
          <a:solidFill>
            <a:schemeClr val="accent4"/>
          </a:solidFill>
        </p:grpSpPr>
        <p:sp>
          <p:nvSpPr>
            <p:cNvPr id="58" name="Freeform 5"/>
            <p:cNvSpPr>
              <a:spLocks noEditPoints="1"/>
            </p:cNvSpPr>
            <p:nvPr/>
          </p:nvSpPr>
          <p:spPr bwMode="auto">
            <a:xfrm>
              <a:off x="4849813" y="501081"/>
              <a:ext cx="1104900" cy="1054100"/>
            </a:xfrm>
            <a:custGeom>
              <a:avLst/>
              <a:gdLst>
                <a:gd name="T0" fmla="*/ 482 w 526"/>
                <a:gd name="T1" fmla="*/ 0 h 502"/>
                <a:gd name="T2" fmla="*/ 44 w 526"/>
                <a:gd name="T3" fmla="*/ 0 h 502"/>
                <a:gd name="T4" fmla="*/ 0 w 526"/>
                <a:gd name="T5" fmla="*/ 45 h 502"/>
                <a:gd name="T6" fmla="*/ 0 w 526"/>
                <a:gd name="T7" fmla="*/ 384 h 502"/>
                <a:gd name="T8" fmla="*/ 44 w 526"/>
                <a:gd name="T9" fmla="*/ 428 h 502"/>
                <a:gd name="T10" fmla="*/ 177 w 526"/>
                <a:gd name="T11" fmla="*/ 428 h 502"/>
                <a:gd name="T12" fmla="*/ 154 w 526"/>
                <a:gd name="T13" fmla="*/ 454 h 502"/>
                <a:gd name="T14" fmla="*/ 141 w 526"/>
                <a:gd name="T15" fmla="*/ 467 h 502"/>
                <a:gd name="T16" fmla="*/ 140 w 526"/>
                <a:gd name="T17" fmla="*/ 487 h 502"/>
                <a:gd name="T18" fmla="*/ 173 w 526"/>
                <a:gd name="T19" fmla="*/ 502 h 502"/>
                <a:gd name="T20" fmla="*/ 352 w 526"/>
                <a:gd name="T21" fmla="*/ 502 h 502"/>
                <a:gd name="T22" fmla="*/ 386 w 526"/>
                <a:gd name="T23" fmla="*/ 487 h 502"/>
                <a:gd name="T24" fmla="*/ 384 w 526"/>
                <a:gd name="T25" fmla="*/ 467 h 502"/>
                <a:gd name="T26" fmla="*/ 372 w 526"/>
                <a:gd name="T27" fmla="*/ 453 h 502"/>
                <a:gd name="T28" fmla="*/ 348 w 526"/>
                <a:gd name="T29" fmla="*/ 428 h 502"/>
                <a:gd name="T30" fmla="*/ 482 w 526"/>
                <a:gd name="T31" fmla="*/ 428 h 502"/>
                <a:gd name="T32" fmla="*/ 526 w 526"/>
                <a:gd name="T33" fmla="*/ 384 h 502"/>
                <a:gd name="T34" fmla="*/ 526 w 526"/>
                <a:gd name="T35" fmla="*/ 45 h 502"/>
                <a:gd name="T36" fmla="*/ 482 w 526"/>
                <a:gd name="T37" fmla="*/ 0 h 502"/>
                <a:gd name="T38" fmla="*/ 360 w 526"/>
                <a:gd name="T39" fmla="*/ 465 h 502"/>
                <a:gd name="T40" fmla="*/ 371 w 526"/>
                <a:gd name="T41" fmla="*/ 476 h 502"/>
                <a:gd name="T42" fmla="*/ 371 w 526"/>
                <a:gd name="T43" fmla="*/ 480 h 502"/>
                <a:gd name="T44" fmla="*/ 352 w 526"/>
                <a:gd name="T45" fmla="*/ 485 h 502"/>
                <a:gd name="T46" fmla="*/ 173 w 526"/>
                <a:gd name="T47" fmla="*/ 485 h 502"/>
                <a:gd name="T48" fmla="*/ 155 w 526"/>
                <a:gd name="T49" fmla="*/ 480 h 502"/>
                <a:gd name="T50" fmla="*/ 154 w 526"/>
                <a:gd name="T51" fmla="*/ 476 h 502"/>
                <a:gd name="T52" fmla="*/ 154 w 526"/>
                <a:gd name="T53" fmla="*/ 477 h 502"/>
                <a:gd name="T54" fmla="*/ 165 w 526"/>
                <a:gd name="T55" fmla="*/ 465 h 502"/>
                <a:gd name="T56" fmla="*/ 196 w 526"/>
                <a:gd name="T57" fmla="*/ 428 h 502"/>
                <a:gd name="T58" fmla="*/ 329 w 526"/>
                <a:gd name="T59" fmla="*/ 428 h 502"/>
                <a:gd name="T60" fmla="*/ 360 w 526"/>
                <a:gd name="T61" fmla="*/ 465 h 502"/>
                <a:gd name="T62" fmla="*/ 493 w 526"/>
                <a:gd name="T63" fmla="*/ 384 h 502"/>
                <a:gd name="T64" fmla="*/ 482 w 526"/>
                <a:gd name="T65" fmla="*/ 395 h 502"/>
                <a:gd name="T66" fmla="*/ 44 w 526"/>
                <a:gd name="T67" fmla="*/ 395 h 502"/>
                <a:gd name="T68" fmla="*/ 32 w 526"/>
                <a:gd name="T69" fmla="*/ 384 h 502"/>
                <a:gd name="T70" fmla="*/ 32 w 526"/>
                <a:gd name="T71" fmla="*/ 45 h 502"/>
                <a:gd name="T72" fmla="*/ 44 w 526"/>
                <a:gd name="T73" fmla="*/ 33 h 502"/>
                <a:gd name="T74" fmla="*/ 482 w 526"/>
                <a:gd name="T75" fmla="*/ 33 h 502"/>
                <a:gd name="T76" fmla="*/ 493 w 526"/>
                <a:gd name="T77" fmla="*/ 45 h 502"/>
                <a:gd name="T78" fmla="*/ 493 w 526"/>
                <a:gd name="T79" fmla="*/ 38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26" h="502">
                  <a:moveTo>
                    <a:pt x="482" y="0"/>
                  </a:moveTo>
                  <a:cubicBezTo>
                    <a:pt x="44" y="0"/>
                    <a:pt x="44" y="0"/>
                    <a:pt x="44" y="0"/>
                  </a:cubicBezTo>
                  <a:cubicBezTo>
                    <a:pt x="19" y="0"/>
                    <a:pt x="0" y="20"/>
                    <a:pt x="0" y="45"/>
                  </a:cubicBezTo>
                  <a:cubicBezTo>
                    <a:pt x="0" y="384"/>
                    <a:pt x="0" y="384"/>
                    <a:pt x="0" y="384"/>
                  </a:cubicBezTo>
                  <a:cubicBezTo>
                    <a:pt x="0" y="408"/>
                    <a:pt x="19" y="428"/>
                    <a:pt x="44" y="428"/>
                  </a:cubicBezTo>
                  <a:cubicBezTo>
                    <a:pt x="177" y="428"/>
                    <a:pt x="177" y="428"/>
                    <a:pt x="177" y="428"/>
                  </a:cubicBezTo>
                  <a:cubicBezTo>
                    <a:pt x="170" y="437"/>
                    <a:pt x="159" y="448"/>
                    <a:pt x="154" y="454"/>
                  </a:cubicBezTo>
                  <a:cubicBezTo>
                    <a:pt x="148" y="459"/>
                    <a:pt x="144" y="463"/>
                    <a:pt x="141" y="467"/>
                  </a:cubicBezTo>
                  <a:cubicBezTo>
                    <a:pt x="138" y="471"/>
                    <a:pt x="136" y="480"/>
                    <a:pt x="140" y="487"/>
                  </a:cubicBezTo>
                  <a:cubicBezTo>
                    <a:pt x="144" y="494"/>
                    <a:pt x="152" y="502"/>
                    <a:pt x="173" y="502"/>
                  </a:cubicBezTo>
                  <a:cubicBezTo>
                    <a:pt x="352" y="502"/>
                    <a:pt x="352" y="502"/>
                    <a:pt x="352" y="502"/>
                  </a:cubicBezTo>
                  <a:cubicBezTo>
                    <a:pt x="374" y="502"/>
                    <a:pt x="382" y="494"/>
                    <a:pt x="386" y="487"/>
                  </a:cubicBezTo>
                  <a:cubicBezTo>
                    <a:pt x="389" y="480"/>
                    <a:pt x="388" y="471"/>
                    <a:pt x="384" y="467"/>
                  </a:cubicBezTo>
                  <a:cubicBezTo>
                    <a:pt x="382" y="463"/>
                    <a:pt x="378" y="459"/>
                    <a:pt x="372" y="453"/>
                  </a:cubicBezTo>
                  <a:cubicBezTo>
                    <a:pt x="367" y="448"/>
                    <a:pt x="355" y="437"/>
                    <a:pt x="348" y="428"/>
                  </a:cubicBezTo>
                  <a:cubicBezTo>
                    <a:pt x="482" y="428"/>
                    <a:pt x="482" y="428"/>
                    <a:pt x="482" y="428"/>
                  </a:cubicBezTo>
                  <a:cubicBezTo>
                    <a:pt x="506" y="428"/>
                    <a:pt x="526" y="408"/>
                    <a:pt x="526" y="384"/>
                  </a:cubicBezTo>
                  <a:cubicBezTo>
                    <a:pt x="526" y="45"/>
                    <a:pt x="526" y="45"/>
                    <a:pt x="526" y="45"/>
                  </a:cubicBezTo>
                  <a:cubicBezTo>
                    <a:pt x="526" y="20"/>
                    <a:pt x="506" y="0"/>
                    <a:pt x="482" y="0"/>
                  </a:cubicBezTo>
                  <a:close/>
                  <a:moveTo>
                    <a:pt x="360" y="465"/>
                  </a:moveTo>
                  <a:cubicBezTo>
                    <a:pt x="365" y="470"/>
                    <a:pt x="370" y="474"/>
                    <a:pt x="371" y="476"/>
                  </a:cubicBezTo>
                  <a:cubicBezTo>
                    <a:pt x="371" y="476"/>
                    <a:pt x="372" y="478"/>
                    <a:pt x="371" y="480"/>
                  </a:cubicBezTo>
                  <a:cubicBezTo>
                    <a:pt x="368" y="483"/>
                    <a:pt x="362" y="485"/>
                    <a:pt x="352" y="485"/>
                  </a:cubicBezTo>
                  <a:cubicBezTo>
                    <a:pt x="173" y="485"/>
                    <a:pt x="173" y="485"/>
                    <a:pt x="173" y="485"/>
                  </a:cubicBezTo>
                  <a:cubicBezTo>
                    <a:pt x="164" y="485"/>
                    <a:pt x="157" y="483"/>
                    <a:pt x="155" y="480"/>
                  </a:cubicBezTo>
                  <a:cubicBezTo>
                    <a:pt x="154" y="478"/>
                    <a:pt x="155" y="476"/>
                    <a:pt x="154" y="476"/>
                  </a:cubicBezTo>
                  <a:cubicBezTo>
                    <a:pt x="154" y="476"/>
                    <a:pt x="154" y="476"/>
                    <a:pt x="154" y="477"/>
                  </a:cubicBezTo>
                  <a:cubicBezTo>
                    <a:pt x="156" y="474"/>
                    <a:pt x="161" y="470"/>
                    <a:pt x="165" y="465"/>
                  </a:cubicBezTo>
                  <a:cubicBezTo>
                    <a:pt x="180" y="451"/>
                    <a:pt x="191" y="439"/>
                    <a:pt x="196" y="428"/>
                  </a:cubicBezTo>
                  <a:cubicBezTo>
                    <a:pt x="329" y="428"/>
                    <a:pt x="329" y="428"/>
                    <a:pt x="329" y="428"/>
                  </a:cubicBezTo>
                  <a:cubicBezTo>
                    <a:pt x="334" y="439"/>
                    <a:pt x="346" y="451"/>
                    <a:pt x="360" y="465"/>
                  </a:cubicBezTo>
                  <a:close/>
                  <a:moveTo>
                    <a:pt x="493" y="384"/>
                  </a:moveTo>
                  <a:cubicBezTo>
                    <a:pt x="493" y="390"/>
                    <a:pt x="488" y="395"/>
                    <a:pt x="482" y="395"/>
                  </a:cubicBezTo>
                  <a:cubicBezTo>
                    <a:pt x="44" y="395"/>
                    <a:pt x="44" y="395"/>
                    <a:pt x="44" y="395"/>
                  </a:cubicBezTo>
                  <a:cubicBezTo>
                    <a:pt x="38" y="395"/>
                    <a:pt x="32" y="390"/>
                    <a:pt x="32" y="384"/>
                  </a:cubicBezTo>
                  <a:cubicBezTo>
                    <a:pt x="32" y="45"/>
                    <a:pt x="32" y="45"/>
                    <a:pt x="32" y="45"/>
                  </a:cubicBezTo>
                  <a:cubicBezTo>
                    <a:pt x="32" y="38"/>
                    <a:pt x="38" y="33"/>
                    <a:pt x="44" y="33"/>
                  </a:cubicBezTo>
                  <a:cubicBezTo>
                    <a:pt x="482" y="33"/>
                    <a:pt x="482" y="33"/>
                    <a:pt x="482" y="33"/>
                  </a:cubicBezTo>
                  <a:cubicBezTo>
                    <a:pt x="488" y="33"/>
                    <a:pt x="493" y="38"/>
                    <a:pt x="493" y="45"/>
                  </a:cubicBezTo>
                  <a:lnTo>
                    <a:pt x="493" y="3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chemeClr val="tx1">
                    <a:lumMod val="65000"/>
                    <a:lumOff val="35000"/>
                  </a:schemeClr>
                </a:solidFill>
              </a:endParaRPr>
            </a:p>
          </p:txBody>
        </p:sp>
        <p:sp>
          <p:nvSpPr>
            <p:cNvPr id="59" name="Freeform 6"/>
            <p:cNvSpPr>
              <a:spLocks noEditPoints="1"/>
            </p:cNvSpPr>
            <p:nvPr/>
          </p:nvSpPr>
          <p:spPr bwMode="auto">
            <a:xfrm>
              <a:off x="4986338" y="640781"/>
              <a:ext cx="828675" cy="552450"/>
            </a:xfrm>
            <a:custGeom>
              <a:avLst/>
              <a:gdLst>
                <a:gd name="T0" fmla="*/ 367 w 395"/>
                <a:gd name="T1" fmla="*/ 0 h 264"/>
                <a:gd name="T2" fmla="*/ 28 w 395"/>
                <a:gd name="T3" fmla="*/ 0 h 264"/>
                <a:gd name="T4" fmla="*/ 0 w 395"/>
                <a:gd name="T5" fmla="*/ 28 h 264"/>
                <a:gd name="T6" fmla="*/ 0 w 395"/>
                <a:gd name="T7" fmla="*/ 236 h 264"/>
                <a:gd name="T8" fmla="*/ 28 w 395"/>
                <a:gd name="T9" fmla="*/ 264 h 264"/>
                <a:gd name="T10" fmla="*/ 367 w 395"/>
                <a:gd name="T11" fmla="*/ 264 h 264"/>
                <a:gd name="T12" fmla="*/ 395 w 395"/>
                <a:gd name="T13" fmla="*/ 236 h 264"/>
                <a:gd name="T14" fmla="*/ 395 w 395"/>
                <a:gd name="T15" fmla="*/ 28 h 264"/>
                <a:gd name="T16" fmla="*/ 367 w 395"/>
                <a:gd name="T17" fmla="*/ 0 h 264"/>
                <a:gd name="T18" fmla="*/ 379 w 395"/>
                <a:gd name="T19" fmla="*/ 236 h 264"/>
                <a:gd name="T20" fmla="*/ 367 w 395"/>
                <a:gd name="T21" fmla="*/ 247 h 264"/>
                <a:gd name="T22" fmla="*/ 28 w 395"/>
                <a:gd name="T23" fmla="*/ 247 h 264"/>
                <a:gd name="T24" fmla="*/ 17 w 395"/>
                <a:gd name="T25" fmla="*/ 236 h 264"/>
                <a:gd name="T26" fmla="*/ 17 w 395"/>
                <a:gd name="T27" fmla="*/ 28 h 264"/>
                <a:gd name="T28" fmla="*/ 28 w 395"/>
                <a:gd name="T29" fmla="*/ 17 h 264"/>
                <a:gd name="T30" fmla="*/ 367 w 395"/>
                <a:gd name="T31" fmla="*/ 17 h 264"/>
                <a:gd name="T32" fmla="*/ 379 w 395"/>
                <a:gd name="T33" fmla="*/ 28 h 264"/>
                <a:gd name="T34" fmla="*/ 379 w 395"/>
                <a:gd name="T35" fmla="*/ 23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5" h="264">
                  <a:moveTo>
                    <a:pt x="367" y="0"/>
                  </a:moveTo>
                  <a:cubicBezTo>
                    <a:pt x="28" y="0"/>
                    <a:pt x="28" y="0"/>
                    <a:pt x="28" y="0"/>
                  </a:cubicBezTo>
                  <a:cubicBezTo>
                    <a:pt x="13" y="0"/>
                    <a:pt x="0" y="13"/>
                    <a:pt x="0" y="28"/>
                  </a:cubicBezTo>
                  <a:cubicBezTo>
                    <a:pt x="0" y="236"/>
                    <a:pt x="0" y="236"/>
                    <a:pt x="0" y="236"/>
                  </a:cubicBezTo>
                  <a:cubicBezTo>
                    <a:pt x="0" y="251"/>
                    <a:pt x="13" y="264"/>
                    <a:pt x="28" y="264"/>
                  </a:cubicBezTo>
                  <a:cubicBezTo>
                    <a:pt x="367" y="264"/>
                    <a:pt x="367" y="264"/>
                    <a:pt x="367" y="264"/>
                  </a:cubicBezTo>
                  <a:cubicBezTo>
                    <a:pt x="383" y="264"/>
                    <a:pt x="395" y="251"/>
                    <a:pt x="395" y="236"/>
                  </a:cubicBezTo>
                  <a:cubicBezTo>
                    <a:pt x="395" y="28"/>
                    <a:pt x="395" y="28"/>
                    <a:pt x="395" y="28"/>
                  </a:cubicBezTo>
                  <a:cubicBezTo>
                    <a:pt x="395" y="13"/>
                    <a:pt x="383" y="0"/>
                    <a:pt x="367" y="0"/>
                  </a:cubicBezTo>
                  <a:close/>
                  <a:moveTo>
                    <a:pt x="379" y="236"/>
                  </a:moveTo>
                  <a:cubicBezTo>
                    <a:pt x="379" y="242"/>
                    <a:pt x="374" y="247"/>
                    <a:pt x="367" y="247"/>
                  </a:cubicBezTo>
                  <a:cubicBezTo>
                    <a:pt x="28" y="247"/>
                    <a:pt x="28" y="247"/>
                    <a:pt x="28" y="247"/>
                  </a:cubicBezTo>
                  <a:cubicBezTo>
                    <a:pt x="22" y="247"/>
                    <a:pt x="17" y="242"/>
                    <a:pt x="17" y="236"/>
                  </a:cubicBezTo>
                  <a:cubicBezTo>
                    <a:pt x="17" y="28"/>
                    <a:pt x="17" y="28"/>
                    <a:pt x="17" y="28"/>
                  </a:cubicBezTo>
                  <a:cubicBezTo>
                    <a:pt x="17" y="22"/>
                    <a:pt x="22" y="17"/>
                    <a:pt x="28" y="17"/>
                  </a:cubicBezTo>
                  <a:cubicBezTo>
                    <a:pt x="367" y="17"/>
                    <a:pt x="367" y="17"/>
                    <a:pt x="367" y="17"/>
                  </a:cubicBezTo>
                  <a:cubicBezTo>
                    <a:pt x="374" y="17"/>
                    <a:pt x="379" y="22"/>
                    <a:pt x="379" y="28"/>
                  </a:cubicBezTo>
                  <a:lnTo>
                    <a:pt x="379" y="2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chemeClr val="tx1">
                    <a:lumMod val="65000"/>
                    <a:lumOff val="35000"/>
                  </a:schemeClr>
                </a:solidFill>
              </a:endParaRPr>
            </a:p>
          </p:txBody>
        </p:sp>
        <p:sp>
          <p:nvSpPr>
            <p:cNvPr id="60" name="Freeform 7"/>
            <p:cNvSpPr>
              <a:spLocks noEditPoints="1"/>
            </p:cNvSpPr>
            <p:nvPr/>
          </p:nvSpPr>
          <p:spPr bwMode="auto">
            <a:xfrm>
              <a:off x="5349875" y="1209106"/>
              <a:ext cx="104775" cy="104775"/>
            </a:xfrm>
            <a:custGeom>
              <a:avLst/>
              <a:gdLst>
                <a:gd name="T0" fmla="*/ 25 w 50"/>
                <a:gd name="T1" fmla="*/ 0 h 50"/>
                <a:gd name="T2" fmla="*/ 0 w 50"/>
                <a:gd name="T3" fmla="*/ 25 h 50"/>
                <a:gd name="T4" fmla="*/ 25 w 50"/>
                <a:gd name="T5" fmla="*/ 50 h 50"/>
                <a:gd name="T6" fmla="*/ 50 w 50"/>
                <a:gd name="T7" fmla="*/ 25 h 50"/>
                <a:gd name="T8" fmla="*/ 25 w 50"/>
                <a:gd name="T9" fmla="*/ 0 h 50"/>
                <a:gd name="T10" fmla="*/ 25 w 50"/>
                <a:gd name="T11" fmla="*/ 33 h 50"/>
                <a:gd name="T12" fmla="*/ 17 w 50"/>
                <a:gd name="T13" fmla="*/ 25 h 50"/>
                <a:gd name="T14" fmla="*/ 25 w 50"/>
                <a:gd name="T15" fmla="*/ 17 h 50"/>
                <a:gd name="T16" fmla="*/ 33 w 50"/>
                <a:gd name="T17" fmla="*/ 25 h 50"/>
                <a:gd name="T18" fmla="*/ 25 w 50"/>
                <a:gd name="T19" fmla="*/ 3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25" y="0"/>
                  </a:moveTo>
                  <a:cubicBezTo>
                    <a:pt x="11" y="0"/>
                    <a:pt x="0" y="12"/>
                    <a:pt x="0" y="25"/>
                  </a:cubicBezTo>
                  <a:cubicBezTo>
                    <a:pt x="0" y="39"/>
                    <a:pt x="11" y="50"/>
                    <a:pt x="25" y="50"/>
                  </a:cubicBezTo>
                  <a:cubicBezTo>
                    <a:pt x="38" y="50"/>
                    <a:pt x="50" y="39"/>
                    <a:pt x="50" y="25"/>
                  </a:cubicBezTo>
                  <a:cubicBezTo>
                    <a:pt x="50" y="12"/>
                    <a:pt x="38" y="0"/>
                    <a:pt x="25" y="0"/>
                  </a:cubicBezTo>
                  <a:close/>
                  <a:moveTo>
                    <a:pt x="25" y="33"/>
                  </a:moveTo>
                  <a:cubicBezTo>
                    <a:pt x="20" y="33"/>
                    <a:pt x="17" y="30"/>
                    <a:pt x="17" y="25"/>
                  </a:cubicBezTo>
                  <a:cubicBezTo>
                    <a:pt x="17" y="21"/>
                    <a:pt x="20" y="17"/>
                    <a:pt x="25" y="17"/>
                  </a:cubicBezTo>
                  <a:cubicBezTo>
                    <a:pt x="29" y="17"/>
                    <a:pt x="33" y="21"/>
                    <a:pt x="33" y="25"/>
                  </a:cubicBezTo>
                  <a:cubicBezTo>
                    <a:pt x="33" y="30"/>
                    <a:pt x="29" y="33"/>
                    <a:pt x="25"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chemeClr val="tx1">
                    <a:lumMod val="65000"/>
                    <a:lumOff val="35000"/>
                  </a:schemeClr>
                </a:solidFill>
              </a:endParaRPr>
            </a:p>
          </p:txBody>
        </p:sp>
        <p:sp>
          <p:nvSpPr>
            <p:cNvPr id="61" name="Freeform 8"/>
            <p:cNvSpPr>
              <a:spLocks noEditPoints="1"/>
            </p:cNvSpPr>
            <p:nvPr/>
          </p:nvSpPr>
          <p:spPr bwMode="auto">
            <a:xfrm>
              <a:off x="5480050" y="866206"/>
              <a:ext cx="280988" cy="280988"/>
            </a:xfrm>
            <a:custGeom>
              <a:avLst/>
              <a:gdLst>
                <a:gd name="T0" fmla="*/ 67 w 134"/>
                <a:gd name="T1" fmla="*/ 134 h 134"/>
                <a:gd name="T2" fmla="*/ 0 w 134"/>
                <a:gd name="T3" fmla="*/ 67 h 134"/>
                <a:gd name="T4" fmla="*/ 67 w 134"/>
                <a:gd name="T5" fmla="*/ 0 h 134"/>
                <a:gd name="T6" fmla="*/ 134 w 134"/>
                <a:gd name="T7" fmla="*/ 67 h 134"/>
                <a:gd name="T8" fmla="*/ 67 w 134"/>
                <a:gd name="T9" fmla="*/ 134 h 134"/>
                <a:gd name="T10" fmla="*/ 67 w 134"/>
                <a:gd name="T11" fmla="*/ 10 h 134"/>
                <a:gd name="T12" fmla="*/ 10 w 134"/>
                <a:gd name="T13" fmla="*/ 67 h 134"/>
                <a:gd name="T14" fmla="*/ 67 w 134"/>
                <a:gd name="T15" fmla="*/ 124 h 134"/>
                <a:gd name="T16" fmla="*/ 124 w 134"/>
                <a:gd name="T17" fmla="*/ 67 h 134"/>
                <a:gd name="T18" fmla="*/ 67 w 134"/>
                <a:gd name="T19" fmla="*/ 1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134">
                  <a:moveTo>
                    <a:pt x="67" y="134"/>
                  </a:moveTo>
                  <a:cubicBezTo>
                    <a:pt x="30" y="134"/>
                    <a:pt x="0" y="104"/>
                    <a:pt x="0" y="67"/>
                  </a:cubicBezTo>
                  <a:cubicBezTo>
                    <a:pt x="0" y="30"/>
                    <a:pt x="30" y="0"/>
                    <a:pt x="67" y="0"/>
                  </a:cubicBezTo>
                  <a:cubicBezTo>
                    <a:pt x="104" y="0"/>
                    <a:pt x="134" y="30"/>
                    <a:pt x="134" y="67"/>
                  </a:cubicBezTo>
                  <a:cubicBezTo>
                    <a:pt x="134" y="104"/>
                    <a:pt x="104" y="134"/>
                    <a:pt x="67" y="134"/>
                  </a:cubicBezTo>
                  <a:close/>
                  <a:moveTo>
                    <a:pt x="67" y="10"/>
                  </a:moveTo>
                  <a:cubicBezTo>
                    <a:pt x="35" y="10"/>
                    <a:pt x="10" y="35"/>
                    <a:pt x="10" y="67"/>
                  </a:cubicBezTo>
                  <a:cubicBezTo>
                    <a:pt x="10" y="98"/>
                    <a:pt x="35" y="124"/>
                    <a:pt x="67" y="124"/>
                  </a:cubicBezTo>
                  <a:cubicBezTo>
                    <a:pt x="98" y="124"/>
                    <a:pt x="124" y="98"/>
                    <a:pt x="124" y="67"/>
                  </a:cubicBezTo>
                  <a:cubicBezTo>
                    <a:pt x="124" y="35"/>
                    <a:pt x="98" y="10"/>
                    <a:pt x="67"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chemeClr val="tx1">
                    <a:lumMod val="65000"/>
                    <a:lumOff val="35000"/>
                  </a:schemeClr>
                </a:solidFill>
              </a:endParaRPr>
            </a:p>
          </p:txBody>
        </p:sp>
        <p:sp>
          <p:nvSpPr>
            <p:cNvPr id="62" name="Freeform 9"/>
            <p:cNvSpPr>
              <a:spLocks noEditPoints="1"/>
            </p:cNvSpPr>
            <p:nvPr/>
          </p:nvSpPr>
          <p:spPr bwMode="auto">
            <a:xfrm>
              <a:off x="5545138" y="931293"/>
              <a:ext cx="150813" cy="150813"/>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0 h 72"/>
                <a:gd name="T12" fmla="*/ 10 w 72"/>
                <a:gd name="T13" fmla="*/ 36 h 72"/>
                <a:gd name="T14" fmla="*/ 36 w 72"/>
                <a:gd name="T15" fmla="*/ 62 h 72"/>
                <a:gd name="T16" fmla="*/ 62 w 72"/>
                <a:gd name="T17" fmla="*/ 36 h 72"/>
                <a:gd name="T18" fmla="*/ 36 w 72"/>
                <a:gd name="T19" fmla="*/ 1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0"/>
                  </a:moveTo>
                  <a:cubicBezTo>
                    <a:pt x="22" y="10"/>
                    <a:pt x="10" y="21"/>
                    <a:pt x="10" y="36"/>
                  </a:cubicBezTo>
                  <a:cubicBezTo>
                    <a:pt x="10" y="50"/>
                    <a:pt x="22" y="62"/>
                    <a:pt x="36" y="62"/>
                  </a:cubicBezTo>
                  <a:cubicBezTo>
                    <a:pt x="50" y="62"/>
                    <a:pt x="62" y="50"/>
                    <a:pt x="62" y="36"/>
                  </a:cubicBezTo>
                  <a:cubicBezTo>
                    <a:pt x="62" y="21"/>
                    <a:pt x="50" y="10"/>
                    <a:pt x="36"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chemeClr val="tx1">
                    <a:lumMod val="65000"/>
                    <a:lumOff val="35000"/>
                  </a:schemeClr>
                </a:solidFill>
              </a:endParaRPr>
            </a:p>
          </p:txBody>
        </p:sp>
        <p:sp>
          <p:nvSpPr>
            <p:cNvPr id="63" name="Freeform 10"/>
            <p:cNvSpPr>
              <a:spLocks/>
            </p:cNvSpPr>
            <p:nvPr/>
          </p:nvSpPr>
          <p:spPr bwMode="auto">
            <a:xfrm>
              <a:off x="5316538" y="702693"/>
              <a:ext cx="371475" cy="396875"/>
            </a:xfrm>
            <a:custGeom>
              <a:avLst/>
              <a:gdLst>
                <a:gd name="T0" fmla="*/ 155 w 177"/>
                <a:gd name="T1" fmla="*/ 0 h 189"/>
                <a:gd name="T2" fmla="*/ 134 w 177"/>
                <a:gd name="T3" fmla="*/ 0 h 189"/>
                <a:gd name="T4" fmla="*/ 104 w 177"/>
                <a:gd name="T5" fmla="*/ 28 h 189"/>
                <a:gd name="T6" fmla="*/ 91 w 177"/>
                <a:gd name="T7" fmla="*/ 33 h 189"/>
                <a:gd name="T8" fmla="*/ 72 w 177"/>
                <a:gd name="T9" fmla="*/ 26 h 189"/>
                <a:gd name="T10" fmla="*/ 50 w 177"/>
                <a:gd name="T11" fmla="*/ 35 h 189"/>
                <a:gd name="T12" fmla="*/ 35 w 177"/>
                <a:gd name="T13" fmla="*/ 50 h 189"/>
                <a:gd name="T14" fmla="*/ 26 w 177"/>
                <a:gd name="T15" fmla="*/ 72 h 189"/>
                <a:gd name="T16" fmla="*/ 33 w 177"/>
                <a:gd name="T17" fmla="*/ 91 h 189"/>
                <a:gd name="T18" fmla="*/ 28 w 177"/>
                <a:gd name="T19" fmla="*/ 104 h 189"/>
                <a:gd name="T20" fmla="*/ 0 w 177"/>
                <a:gd name="T21" fmla="*/ 134 h 189"/>
                <a:gd name="T22" fmla="*/ 0 w 177"/>
                <a:gd name="T23" fmla="*/ 155 h 189"/>
                <a:gd name="T24" fmla="*/ 28 w 177"/>
                <a:gd name="T25" fmla="*/ 186 h 189"/>
                <a:gd name="T26" fmla="*/ 29 w 177"/>
                <a:gd name="T27" fmla="*/ 189 h 189"/>
                <a:gd name="T28" fmla="*/ 52 w 177"/>
                <a:gd name="T29" fmla="*/ 189 h 189"/>
                <a:gd name="T30" fmla="*/ 44 w 177"/>
                <a:gd name="T31" fmla="*/ 165 h 189"/>
                <a:gd name="T32" fmla="*/ 31 w 177"/>
                <a:gd name="T33" fmla="*/ 165 h 189"/>
                <a:gd name="T34" fmla="*/ 21 w 177"/>
                <a:gd name="T35" fmla="*/ 155 h 189"/>
                <a:gd name="T36" fmla="*/ 21 w 177"/>
                <a:gd name="T37" fmla="*/ 134 h 189"/>
                <a:gd name="T38" fmla="*/ 31 w 177"/>
                <a:gd name="T39" fmla="*/ 124 h 189"/>
                <a:gd name="T40" fmla="*/ 44 w 177"/>
                <a:gd name="T41" fmla="*/ 124 h 189"/>
                <a:gd name="T42" fmla="*/ 59 w 177"/>
                <a:gd name="T43" fmla="*/ 88 h 189"/>
                <a:gd name="T44" fmla="*/ 50 w 177"/>
                <a:gd name="T45" fmla="*/ 79 h 189"/>
                <a:gd name="T46" fmla="*/ 50 w 177"/>
                <a:gd name="T47" fmla="*/ 64 h 189"/>
                <a:gd name="T48" fmla="*/ 64 w 177"/>
                <a:gd name="T49" fmla="*/ 50 h 189"/>
                <a:gd name="T50" fmla="*/ 72 w 177"/>
                <a:gd name="T51" fmla="*/ 47 h 189"/>
                <a:gd name="T52" fmla="*/ 79 w 177"/>
                <a:gd name="T53" fmla="*/ 50 h 189"/>
                <a:gd name="T54" fmla="*/ 88 w 177"/>
                <a:gd name="T55" fmla="*/ 59 h 189"/>
                <a:gd name="T56" fmla="*/ 124 w 177"/>
                <a:gd name="T57" fmla="*/ 43 h 189"/>
                <a:gd name="T58" fmla="*/ 124 w 177"/>
                <a:gd name="T59" fmla="*/ 31 h 189"/>
                <a:gd name="T60" fmla="*/ 134 w 177"/>
                <a:gd name="T61" fmla="*/ 21 h 189"/>
                <a:gd name="T62" fmla="*/ 155 w 177"/>
                <a:gd name="T63" fmla="*/ 21 h 189"/>
                <a:gd name="T64" fmla="*/ 165 w 177"/>
                <a:gd name="T65" fmla="*/ 31 h 189"/>
                <a:gd name="T66" fmla="*/ 165 w 177"/>
                <a:gd name="T67" fmla="*/ 43 h 189"/>
                <a:gd name="T68" fmla="*/ 177 w 177"/>
                <a:gd name="T69" fmla="*/ 47 h 189"/>
                <a:gd name="T70" fmla="*/ 177 w 177"/>
                <a:gd name="T71" fmla="*/ 9 h 189"/>
                <a:gd name="T72" fmla="*/ 155 w 177"/>
                <a:gd name="T73"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7" h="189">
                  <a:moveTo>
                    <a:pt x="155" y="0"/>
                  </a:moveTo>
                  <a:cubicBezTo>
                    <a:pt x="134" y="0"/>
                    <a:pt x="134" y="0"/>
                    <a:pt x="134" y="0"/>
                  </a:cubicBezTo>
                  <a:cubicBezTo>
                    <a:pt x="118" y="0"/>
                    <a:pt x="105" y="12"/>
                    <a:pt x="104" y="28"/>
                  </a:cubicBezTo>
                  <a:cubicBezTo>
                    <a:pt x="99" y="29"/>
                    <a:pt x="95" y="31"/>
                    <a:pt x="91" y="33"/>
                  </a:cubicBezTo>
                  <a:cubicBezTo>
                    <a:pt x="86" y="28"/>
                    <a:pt x="79" y="26"/>
                    <a:pt x="72" y="26"/>
                  </a:cubicBezTo>
                  <a:cubicBezTo>
                    <a:pt x="63" y="26"/>
                    <a:pt x="56" y="29"/>
                    <a:pt x="50" y="35"/>
                  </a:cubicBezTo>
                  <a:cubicBezTo>
                    <a:pt x="35" y="50"/>
                    <a:pt x="35" y="50"/>
                    <a:pt x="35" y="50"/>
                  </a:cubicBezTo>
                  <a:cubicBezTo>
                    <a:pt x="29" y="56"/>
                    <a:pt x="26" y="63"/>
                    <a:pt x="26" y="72"/>
                  </a:cubicBezTo>
                  <a:cubicBezTo>
                    <a:pt x="26" y="79"/>
                    <a:pt x="29" y="86"/>
                    <a:pt x="33" y="91"/>
                  </a:cubicBezTo>
                  <a:cubicBezTo>
                    <a:pt x="31" y="95"/>
                    <a:pt x="29" y="99"/>
                    <a:pt x="28" y="104"/>
                  </a:cubicBezTo>
                  <a:cubicBezTo>
                    <a:pt x="12" y="105"/>
                    <a:pt x="0" y="118"/>
                    <a:pt x="0" y="134"/>
                  </a:cubicBezTo>
                  <a:cubicBezTo>
                    <a:pt x="0" y="155"/>
                    <a:pt x="0" y="155"/>
                    <a:pt x="0" y="155"/>
                  </a:cubicBezTo>
                  <a:cubicBezTo>
                    <a:pt x="0" y="171"/>
                    <a:pt x="12" y="184"/>
                    <a:pt x="28" y="186"/>
                  </a:cubicBezTo>
                  <a:cubicBezTo>
                    <a:pt x="28" y="187"/>
                    <a:pt x="29" y="188"/>
                    <a:pt x="29" y="189"/>
                  </a:cubicBezTo>
                  <a:cubicBezTo>
                    <a:pt x="52" y="189"/>
                    <a:pt x="52" y="189"/>
                    <a:pt x="52" y="189"/>
                  </a:cubicBezTo>
                  <a:cubicBezTo>
                    <a:pt x="48" y="182"/>
                    <a:pt x="45" y="174"/>
                    <a:pt x="44" y="165"/>
                  </a:cubicBezTo>
                  <a:cubicBezTo>
                    <a:pt x="31" y="165"/>
                    <a:pt x="31" y="165"/>
                    <a:pt x="31" y="165"/>
                  </a:cubicBezTo>
                  <a:cubicBezTo>
                    <a:pt x="25" y="165"/>
                    <a:pt x="21" y="161"/>
                    <a:pt x="21" y="155"/>
                  </a:cubicBezTo>
                  <a:cubicBezTo>
                    <a:pt x="21" y="134"/>
                    <a:pt x="21" y="134"/>
                    <a:pt x="21" y="134"/>
                  </a:cubicBezTo>
                  <a:cubicBezTo>
                    <a:pt x="21" y="129"/>
                    <a:pt x="25" y="124"/>
                    <a:pt x="31" y="124"/>
                  </a:cubicBezTo>
                  <a:cubicBezTo>
                    <a:pt x="44" y="124"/>
                    <a:pt x="44" y="124"/>
                    <a:pt x="44" y="124"/>
                  </a:cubicBezTo>
                  <a:cubicBezTo>
                    <a:pt x="46" y="111"/>
                    <a:pt x="52" y="99"/>
                    <a:pt x="59" y="88"/>
                  </a:cubicBezTo>
                  <a:cubicBezTo>
                    <a:pt x="50" y="79"/>
                    <a:pt x="50" y="79"/>
                    <a:pt x="50" y="79"/>
                  </a:cubicBezTo>
                  <a:cubicBezTo>
                    <a:pt x="46" y="75"/>
                    <a:pt x="46" y="68"/>
                    <a:pt x="50" y="64"/>
                  </a:cubicBezTo>
                  <a:cubicBezTo>
                    <a:pt x="64" y="50"/>
                    <a:pt x="64" y="50"/>
                    <a:pt x="64" y="50"/>
                  </a:cubicBezTo>
                  <a:cubicBezTo>
                    <a:pt x="66" y="48"/>
                    <a:pt x="69" y="47"/>
                    <a:pt x="72" y="47"/>
                  </a:cubicBezTo>
                  <a:cubicBezTo>
                    <a:pt x="74" y="47"/>
                    <a:pt x="77" y="48"/>
                    <a:pt x="79" y="50"/>
                  </a:cubicBezTo>
                  <a:cubicBezTo>
                    <a:pt x="88" y="59"/>
                    <a:pt x="88" y="59"/>
                    <a:pt x="88" y="59"/>
                  </a:cubicBezTo>
                  <a:cubicBezTo>
                    <a:pt x="99" y="52"/>
                    <a:pt x="111" y="46"/>
                    <a:pt x="124" y="43"/>
                  </a:cubicBezTo>
                  <a:cubicBezTo>
                    <a:pt x="124" y="31"/>
                    <a:pt x="124" y="31"/>
                    <a:pt x="124" y="31"/>
                  </a:cubicBezTo>
                  <a:cubicBezTo>
                    <a:pt x="124" y="25"/>
                    <a:pt x="129" y="21"/>
                    <a:pt x="134" y="21"/>
                  </a:cubicBezTo>
                  <a:cubicBezTo>
                    <a:pt x="155" y="21"/>
                    <a:pt x="155" y="21"/>
                    <a:pt x="155" y="21"/>
                  </a:cubicBezTo>
                  <a:cubicBezTo>
                    <a:pt x="161" y="21"/>
                    <a:pt x="165" y="25"/>
                    <a:pt x="165" y="31"/>
                  </a:cubicBezTo>
                  <a:cubicBezTo>
                    <a:pt x="165" y="43"/>
                    <a:pt x="165" y="43"/>
                    <a:pt x="165" y="43"/>
                  </a:cubicBezTo>
                  <a:cubicBezTo>
                    <a:pt x="169" y="44"/>
                    <a:pt x="173" y="45"/>
                    <a:pt x="177" y="47"/>
                  </a:cubicBezTo>
                  <a:cubicBezTo>
                    <a:pt x="177" y="9"/>
                    <a:pt x="177" y="9"/>
                    <a:pt x="177" y="9"/>
                  </a:cubicBezTo>
                  <a:cubicBezTo>
                    <a:pt x="171" y="3"/>
                    <a:pt x="163" y="0"/>
                    <a:pt x="15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chemeClr val="tx1">
                    <a:lumMod val="65000"/>
                    <a:lumOff val="35000"/>
                  </a:schemeClr>
                </a:solidFill>
              </a:endParaRPr>
            </a:p>
          </p:txBody>
        </p:sp>
      </p:grpSp>
      <p:sp>
        <p:nvSpPr>
          <p:cNvPr id="65" name="TextBox 64"/>
          <p:cNvSpPr txBox="1"/>
          <p:nvPr/>
        </p:nvSpPr>
        <p:spPr>
          <a:xfrm>
            <a:off x="727768" y="5145310"/>
            <a:ext cx="1453222" cy="523220"/>
          </a:xfrm>
          <a:prstGeom prst="rect">
            <a:avLst/>
          </a:prstGeom>
          <a:noFill/>
        </p:spPr>
        <p:txBody>
          <a:bodyPr wrap="square" rtlCol="0">
            <a:spAutoFit/>
          </a:bodyPr>
          <a:lstStyle/>
          <a:p>
            <a:pPr algn="ctr"/>
            <a:r>
              <a:rPr lang="en-US" sz="1400" b="1" dirty="0" smtClean="0">
                <a:solidFill>
                  <a:schemeClr val="bg2"/>
                </a:solidFill>
                <a:latin typeface="+mj-lt"/>
              </a:rPr>
              <a:t>Needs to be inclusive</a:t>
            </a:r>
            <a:endParaRPr lang="id-ID" sz="1400" b="1" dirty="0">
              <a:solidFill>
                <a:schemeClr val="bg2"/>
              </a:solidFill>
              <a:latin typeface="+mj-lt"/>
            </a:endParaRP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0769" y="3056991"/>
            <a:ext cx="585334" cy="479268"/>
          </a:xfrm>
          <a:prstGeom prst="rect">
            <a:avLst/>
          </a:prstGeom>
        </p:spPr>
      </p:pic>
    </p:spTree>
    <p:extLst>
      <p:ext uri="{BB962C8B-B14F-4D97-AF65-F5344CB8AC3E}">
        <p14:creationId xmlns:p14="http://schemas.microsoft.com/office/powerpoint/2010/main" val="37859617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6"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Horizontal)">
                                      <p:cBhvr>
                                        <p:cTn id="7" dur="500"/>
                                        <p:tgtEl>
                                          <p:spTgt spid="4"/>
                                        </p:tgtEl>
                                      </p:cBhvr>
                                    </p:animEffect>
                                  </p:childTnLst>
                                </p:cTn>
                              </p:par>
                              <p:par>
                                <p:cTn id="8" presetID="16" presetClass="entr" presetSubtype="26"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barn(inHorizontal)">
                                      <p:cBhvr>
                                        <p:cTn id="10" dur="500"/>
                                        <p:tgtEl>
                                          <p:spTgt spid="15"/>
                                        </p:tgtEl>
                                      </p:cBhvr>
                                    </p:animEffect>
                                  </p:childTnLst>
                                </p:cTn>
                              </p:par>
                              <p:par>
                                <p:cTn id="11" presetID="16" presetClass="entr" presetSubtype="26"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barn(inHorizontal)">
                                      <p:cBhvr>
                                        <p:cTn id="13" dur="500"/>
                                        <p:tgtEl>
                                          <p:spTgt spid="26"/>
                                        </p:tgtEl>
                                      </p:cBhvr>
                                    </p:animEffect>
                                  </p:childTnLst>
                                </p:cTn>
                              </p:par>
                            </p:childTnLst>
                          </p:cTn>
                        </p:par>
                        <p:par>
                          <p:cTn id="14" fill="hold">
                            <p:stCondLst>
                              <p:cond delay="500"/>
                            </p:stCondLst>
                            <p:childTnLst>
                              <p:par>
                                <p:cTn id="15" presetID="22" presetClass="entr" presetSubtype="1"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wipe(up)">
                                      <p:cBhvr>
                                        <p:cTn id="17" dur="500"/>
                                        <p:tgtEl>
                                          <p:spTgt spid="5"/>
                                        </p:tgtEl>
                                      </p:cBhvr>
                                    </p:animEffect>
                                  </p:childTnLst>
                                </p:cTn>
                              </p:par>
                              <p:par>
                                <p:cTn id="18" presetID="22" presetClass="entr" presetSubtype="1" fill="hold" grpId="0" nodeType="with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wipe(up)">
                                      <p:cBhvr>
                                        <p:cTn id="20" dur="500"/>
                                        <p:tgtEl>
                                          <p:spTgt spid="16"/>
                                        </p:tgtEl>
                                      </p:cBhvr>
                                    </p:animEffect>
                                  </p:childTnLst>
                                </p:cTn>
                              </p:par>
                              <p:par>
                                <p:cTn id="21" presetID="22" presetClass="entr" presetSubtype="1" fill="hold" grpId="0" nodeType="with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wipe(up)">
                                      <p:cBhvr>
                                        <p:cTn id="23" dur="500"/>
                                        <p:tgtEl>
                                          <p:spTgt spid="27"/>
                                        </p:tgtEl>
                                      </p:cBhvr>
                                    </p:animEffect>
                                  </p:childTnLst>
                                </p:cTn>
                              </p:par>
                              <p:par>
                                <p:cTn id="24" presetID="22" presetClass="entr" presetSubtype="4" fill="hold" grpId="0"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down)">
                                      <p:cBhvr>
                                        <p:cTn id="26" dur="500"/>
                                        <p:tgtEl>
                                          <p:spTgt spid="10"/>
                                        </p:tgtEl>
                                      </p:cBhvr>
                                    </p:animEffect>
                                  </p:childTnLst>
                                </p:cTn>
                              </p:par>
                              <p:par>
                                <p:cTn id="27" presetID="22" presetClass="entr" presetSubtype="4" fill="hold" grpId="0" nodeType="withEffect">
                                  <p:stCondLst>
                                    <p:cond delay="0"/>
                                  </p:stCondLst>
                                  <p:childTnLst>
                                    <p:set>
                                      <p:cBhvr>
                                        <p:cTn id="28" dur="1" fill="hold">
                                          <p:stCondLst>
                                            <p:cond delay="0"/>
                                          </p:stCondLst>
                                        </p:cTn>
                                        <p:tgtEl>
                                          <p:spTgt spid="21"/>
                                        </p:tgtEl>
                                        <p:attrNameLst>
                                          <p:attrName>style.visibility</p:attrName>
                                        </p:attrNameLst>
                                      </p:cBhvr>
                                      <p:to>
                                        <p:strVal val="visible"/>
                                      </p:to>
                                    </p:set>
                                    <p:animEffect transition="in" filter="wipe(down)">
                                      <p:cBhvr>
                                        <p:cTn id="29" dur="500"/>
                                        <p:tgtEl>
                                          <p:spTgt spid="21"/>
                                        </p:tgtEl>
                                      </p:cBhvr>
                                    </p:animEffect>
                                  </p:childTnLst>
                                </p:cTn>
                              </p:par>
                              <p:par>
                                <p:cTn id="30" presetID="22" presetClass="entr" presetSubtype="4" fill="hold" grpId="0" nodeType="withEffect">
                                  <p:stCondLst>
                                    <p:cond delay="0"/>
                                  </p:stCondLst>
                                  <p:childTnLst>
                                    <p:set>
                                      <p:cBhvr>
                                        <p:cTn id="31" dur="1" fill="hold">
                                          <p:stCondLst>
                                            <p:cond delay="0"/>
                                          </p:stCondLst>
                                        </p:cTn>
                                        <p:tgtEl>
                                          <p:spTgt spid="32"/>
                                        </p:tgtEl>
                                        <p:attrNameLst>
                                          <p:attrName>style.visibility</p:attrName>
                                        </p:attrNameLst>
                                      </p:cBhvr>
                                      <p:to>
                                        <p:strVal val="visible"/>
                                      </p:to>
                                    </p:set>
                                    <p:animEffect transition="in" filter="wipe(down)">
                                      <p:cBhvr>
                                        <p:cTn id="32" dur="500"/>
                                        <p:tgtEl>
                                          <p:spTgt spid="32"/>
                                        </p:tgtEl>
                                      </p:cBhvr>
                                    </p:animEffect>
                                  </p:childTnLst>
                                </p:cTn>
                              </p:par>
                            </p:childTnLst>
                          </p:cTn>
                        </p:par>
                        <p:par>
                          <p:cTn id="33" fill="hold">
                            <p:stCondLst>
                              <p:cond delay="1000"/>
                            </p:stCondLst>
                            <p:childTnLst>
                              <p:par>
                                <p:cTn id="34" presetID="10" presetClass="entr" presetSubtype="0" fill="hold" grpId="0" nodeType="afterEffect">
                                  <p:stCondLst>
                                    <p:cond delay="0"/>
                                  </p:stCondLst>
                                  <p:childTnLst>
                                    <p:set>
                                      <p:cBhvr>
                                        <p:cTn id="35" dur="1" fill="hold">
                                          <p:stCondLst>
                                            <p:cond delay="0"/>
                                          </p:stCondLst>
                                        </p:cTn>
                                        <p:tgtEl>
                                          <p:spTgt spid="6"/>
                                        </p:tgtEl>
                                        <p:attrNameLst>
                                          <p:attrName>style.visibility</p:attrName>
                                        </p:attrNameLst>
                                      </p:cBhvr>
                                      <p:to>
                                        <p:strVal val="visible"/>
                                      </p:to>
                                    </p:set>
                                    <p:animEffect transition="in" filter="fade">
                                      <p:cBhvr>
                                        <p:cTn id="36" dur="500"/>
                                        <p:tgtEl>
                                          <p:spTgt spid="6"/>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8"/>
                                        </p:tgtEl>
                                        <p:attrNameLst>
                                          <p:attrName>style.visibility</p:attrName>
                                        </p:attrNameLst>
                                      </p:cBhvr>
                                      <p:to>
                                        <p:strVal val="visible"/>
                                      </p:to>
                                    </p:set>
                                    <p:animEffect transition="in" filter="fade">
                                      <p:cBhvr>
                                        <p:cTn id="42" dur="500"/>
                                        <p:tgtEl>
                                          <p:spTgt spid="28"/>
                                        </p:tgtEl>
                                      </p:cBhvr>
                                    </p:animEffect>
                                  </p:childTnLst>
                                </p:cTn>
                              </p:par>
                              <p:par>
                                <p:cTn id="43" presetID="53" presetClass="entr" presetSubtype="16" fill="hold" nodeType="withEffect">
                                  <p:stCondLst>
                                    <p:cond delay="0"/>
                                  </p:stCondLst>
                                  <p:childTnLst>
                                    <p:set>
                                      <p:cBhvr>
                                        <p:cTn id="44" dur="1" fill="hold">
                                          <p:stCondLst>
                                            <p:cond delay="0"/>
                                          </p:stCondLst>
                                        </p:cTn>
                                        <p:tgtEl>
                                          <p:spTgt spid="49"/>
                                        </p:tgtEl>
                                        <p:attrNameLst>
                                          <p:attrName>style.visibility</p:attrName>
                                        </p:attrNameLst>
                                      </p:cBhvr>
                                      <p:to>
                                        <p:strVal val="visible"/>
                                      </p:to>
                                    </p:set>
                                    <p:anim calcmode="lin" valueType="num">
                                      <p:cBhvr>
                                        <p:cTn id="45" dur="500" fill="hold"/>
                                        <p:tgtEl>
                                          <p:spTgt spid="49"/>
                                        </p:tgtEl>
                                        <p:attrNameLst>
                                          <p:attrName>ppt_w</p:attrName>
                                        </p:attrNameLst>
                                      </p:cBhvr>
                                      <p:tavLst>
                                        <p:tav tm="0">
                                          <p:val>
                                            <p:fltVal val="0"/>
                                          </p:val>
                                        </p:tav>
                                        <p:tav tm="100000">
                                          <p:val>
                                            <p:strVal val="#ppt_w"/>
                                          </p:val>
                                        </p:tav>
                                      </p:tavLst>
                                    </p:anim>
                                    <p:anim calcmode="lin" valueType="num">
                                      <p:cBhvr>
                                        <p:cTn id="46" dur="500" fill="hold"/>
                                        <p:tgtEl>
                                          <p:spTgt spid="49"/>
                                        </p:tgtEl>
                                        <p:attrNameLst>
                                          <p:attrName>ppt_h</p:attrName>
                                        </p:attrNameLst>
                                      </p:cBhvr>
                                      <p:tavLst>
                                        <p:tav tm="0">
                                          <p:val>
                                            <p:fltVal val="0"/>
                                          </p:val>
                                        </p:tav>
                                        <p:tav tm="100000">
                                          <p:val>
                                            <p:strVal val="#ppt_h"/>
                                          </p:val>
                                        </p:tav>
                                      </p:tavLst>
                                    </p:anim>
                                    <p:animEffect transition="in" filter="fade">
                                      <p:cBhvr>
                                        <p:cTn id="47" dur="500"/>
                                        <p:tgtEl>
                                          <p:spTgt spid="49"/>
                                        </p:tgtEl>
                                      </p:cBhvr>
                                    </p:animEffect>
                                  </p:childTnLst>
                                </p:cTn>
                              </p:par>
                              <p:par>
                                <p:cTn id="48" presetID="53" presetClass="entr" presetSubtype="16" fill="hold" nodeType="withEffect">
                                  <p:stCondLst>
                                    <p:cond delay="0"/>
                                  </p:stCondLst>
                                  <p:childTnLst>
                                    <p:set>
                                      <p:cBhvr>
                                        <p:cTn id="49" dur="1" fill="hold">
                                          <p:stCondLst>
                                            <p:cond delay="0"/>
                                          </p:stCondLst>
                                        </p:cTn>
                                        <p:tgtEl>
                                          <p:spTgt spid="57"/>
                                        </p:tgtEl>
                                        <p:attrNameLst>
                                          <p:attrName>style.visibility</p:attrName>
                                        </p:attrNameLst>
                                      </p:cBhvr>
                                      <p:to>
                                        <p:strVal val="visible"/>
                                      </p:to>
                                    </p:set>
                                    <p:anim calcmode="lin" valueType="num">
                                      <p:cBhvr>
                                        <p:cTn id="50" dur="500" fill="hold"/>
                                        <p:tgtEl>
                                          <p:spTgt spid="57"/>
                                        </p:tgtEl>
                                        <p:attrNameLst>
                                          <p:attrName>ppt_w</p:attrName>
                                        </p:attrNameLst>
                                      </p:cBhvr>
                                      <p:tavLst>
                                        <p:tav tm="0">
                                          <p:val>
                                            <p:fltVal val="0"/>
                                          </p:val>
                                        </p:tav>
                                        <p:tav tm="100000">
                                          <p:val>
                                            <p:strVal val="#ppt_w"/>
                                          </p:val>
                                        </p:tav>
                                      </p:tavLst>
                                    </p:anim>
                                    <p:anim calcmode="lin" valueType="num">
                                      <p:cBhvr>
                                        <p:cTn id="51" dur="500" fill="hold"/>
                                        <p:tgtEl>
                                          <p:spTgt spid="57"/>
                                        </p:tgtEl>
                                        <p:attrNameLst>
                                          <p:attrName>ppt_h</p:attrName>
                                        </p:attrNameLst>
                                      </p:cBhvr>
                                      <p:tavLst>
                                        <p:tav tm="0">
                                          <p:val>
                                            <p:fltVal val="0"/>
                                          </p:val>
                                        </p:tav>
                                        <p:tav tm="100000">
                                          <p:val>
                                            <p:strVal val="#ppt_h"/>
                                          </p:val>
                                        </p:tav>
                                      </p:tavLst>
                                    </p:anim>
                                    <p:animEffect transition="in" filter="fade">
                                      <p:cBhvr>
                                        <p:cTn id="52" dur="500"/>
                                        <p:tgtEl>
                                          <p:spTgt spid="57"/>
                                        </p:tgtEl>
                                      </p:cBhvr>
                                    </p:animEffect>
                                  </p:childTnLst>
                                </p:cTn>
                              </p:par>
                            </p:childTnLst>
                          </p:cTn>
                        </p:par>
                        <p:par>
                          <p:cTn id="53" fill="hold">
                            <p:stCondLst>
                              <p:cond delay="1500"/>
                            </p:stCondLst>
                            <p:childTnLst>
                              <p:par>
                                <p:cTn id="54" presetID="16" presetClass="entr" presetSubtype="37" fill="hold" nodeType="afterEffect">
                                  <p:stCondLst>
                                    <p:cond delay="0"/>
                                  </p:stCondLst>
                                  <p:childTnLst>
                                    <p:set>
                                      <p:cBhvr>
                                        <p:cTn id="55" dur="1" fill="hold">
                                          <p:stCondLst>
                                            <p:cond delay="0"/>
                                          </p:stCondLst>
                                        </p:cTn>
                                        <p:tgtEl>
                                          <p:spTgt spid="7"/>
                                        </p:tgtEl>
                                        <p:attrNameLst>
                                          <p:attrName>style.visibility</p:attrName>
                                        </p:attrNameLst>
                                      </p:cBhvr>
                                      <p:to>
                                        <p:strVal val="visible"/>
                                      </p:to>
                                    </p:set>
                                    <p:animEffect transition="in" filter="barn(outVertical)">
                                      <p:cBhvr>
                                        <p:cTn id="56" dur="500"/>
                                        <p:tgtEl>
                                          <p:spTgt spid="7"/>
                                        </p:tgtEl>
                                      </p:cBhvr>
                                    </p:animEffect>
                                  </p:childTnLst>
                                </p:cTn>
                              </p:par>
                              <p:par>
                                <p:cTn id="57" presetID="16" presetClass="entr" presetSubtype="37" fill="hold" nodeType="withEffect">
                                  <p:stCondLst>
                                    <p:cond delay="0"/>
                                  </p:stCondLst>
                                  <p:childTnLst>
                                    <p:set>
                                      <p:cBhvr>
                                        <p:cTn id="58" dur="1" fill="hold">
                                          <p:stCondLst>
                                            <p:cond delay="0"/>
                                          </p:stCondLst>
                                        </p:cTn>
                                        <p:tgtEl>
                                          <p:spTgt spid="8"/>
                                        </p:tgtEl>
                                        <p:attrNameLst>
                                          <p:attrName>style.visibility</p:attrName>
                                        </p:attrNameLst>
                                      </p:cBhvr>
                                      <p:to>
                                        <p:strVal val="visible"/>
                                      </p:to>
                                    </p:set>
                                    <p:animEffect transition="in" filter="barn(outVertical)">
                                      <p:cBhvr>
                                        <p:cTn id="59" dur="500"/>
                                        <p:tgtEl>
                                          <p:spTgt spid="8"/>
                                        </p:tgtEl>
                                      </p:cBhvr>
                                    </p:animEffect>
                                  </p:childTnLst>
                                </p:cTn>
                              </p:par>
                              <p:par>
                                <p:cTn id="60" presetID="16" presetClass="entr" presetSubtype="37" fill="hold" nodeType="withEffect">
                                  <p:stCondLst>
                                    <p:cond delay="0"/>
                                  </p:stCondLst>
                                  <p:childTnLst>
                                    <p:set>
                                      <p:cBhvr>
                                        <p:cTn id="61" dur="1" fill="hold">
                                          <p:stCondLst>
                                            <p:cond delay="0"/>
                                          </p:stCondLst>
                                        </p:cTn>
                                        <p:tgtEl>
                                          <p:spTgt spid="9"/>
                                        </p:tgtEl>
                                        <p:attrNameLst>
                                          <p:attrName>style.visibility</p:attrName>
                                        </p:attrNameLst>
                                      </p:cBhvr>
                                      <p:to>
                                        <p:strVal val="visible"/>
                                      </p:to>
                                    </p:set>
                                    <p:animEffect transition="in" filter="barn(outVertical)">
                                      <p:cBhvr>
                                        <p:cTn id="62" dur="500"/>
                                        <p:tgtEl>
                                          <p:spTgt spid="9"/>
                                        </p:tgtEl>
                                      </p:cBhvr>
                                    </p:animEffect>
                                  </p:childTnLst>
                                </p:cTn>
                              </p:par>
                              <p:par>
                                <p:cTn id="63" presetID="16" presetClass="entr" presetSubtype="37" fill="hold" nodeType="withEffect">
                                  <p:stCondLst>
                                    <p:cond delay="0"/>
                                  </p:stCondLst>
                                  <p:childTnLst>
                                    <p:set>
                                      <p:cBhvr>
                                        <p:cTn id="64" dur="1" fill="hold">
                                          <p:stCondLst>
                                            <p:cond delay="0"/>
                                          </p:stCondLst>
                                        </p:cTn>
                                        <p:tgtEl>
                                          <p:spTgt spid="18"/>
                                        </p:tgtEl>
                                        <p:attrNameLst>
                                          <p:attrName>style.visibility</p:attrName>
                                        </p:attrNameLst>
                                      </p:cBhvr>
                                      <p:to>
                                        <p:strVal val="visible"/>
                                      </p:to>
                                    </p:set>
                                    <p:animEffect transition="in" filter="barn(outVertical)">
                                      <p:cBhvr>
                                        <p:cTn id="65" dur="500"/>
                                        <p:tgtEl>
                                          <p:spTgt spid="18"/>
                                        </p:tgtEl>
                                      </p:cBhvr>
                                    </p:animEffect>
                                  </p:childTnLst>
                                </p:cTn>
                              </p:par>
                              <p:par>
                                <p:cTn id="66" presetID="16" presetClass="entr" presetSubtype="37" fill="hold" nodeType="withEffect">
                                  <p:stCondLst>
                                    <p:cond delay="0"/>
                                  </p:stCondLst>
                                  <p:childTnLst>
                                    <p:set>
                                      <p:cBhvr>
                                        <p:cTn id="67" dur="1" fill="hold">
                                          <p:stCondLst>
                                            <p:cond delay="0"/>
                                          </p:stCondLst>
                                        </p:cTn>
                                        <p:tgtEl>
                                          <p:spTgt spid="19"/>
                                        </p:tgtEl>
                                        <p:attrNameLst>
                                          <p:attrName>style.visibility</p:attrName>
                                        </p:attrNameLst>
                                      </p:cBhvr>
                                      <p:to>
                                        <p:strVal val="visible"/>
                                      </p:to>
                                    </p:set>
                                    <p:animEffect transition="in" filter="barn(outVertical)">
                                      <p:cBhvr>
                                        <p:cTn id="68" dur="500"/>
                                        <p:tgtEl>
                                          <p:spTgt spid="19"/>
                                        </p:tgtEl>
                                      </p:cBhvr>
                                    </p:animEffect>
                                  </p:childTnLst>
                                </p:cTn>
                              </p:par>
                              <p:par>
                                <p:cTn id="69" presetID="16" presetClass="entr" presetSubtype="37" fill="hold" nodeType="withEffect">
                                  <p:stCondLst>
                                    <p:cond delay="0"/>
                                  </p:stCondLst>
                                  <p:childTnLst>
                                    <p:set>
                                      <p:cBhvr>
                                        <p:cTn id="70" dur="1" fill="hold">
                                          <p:stCondLst>
                                            <p:cond delay="0"/>
                                          </p:stCondLst>
                                        </p:cTn>
                                        <p:tgtEl>
                                          <p:spTgt spid="20"/>
                                        </p:tgtEl>
                                        <p:attrNameLst>
                                          <p:attrName>style.visibility</p:attrName>
                                        </p:attrNameLst>
                                      </p:cBhvr>
                                      <p:to>
                                        <p:strVal val="visible"/>
                                      </p:to>
                                    </p:set>
                                    <p:animEffect transition="in" filter="barn(outVertical)">
                                      <p:cBhvr>
                                        <p:cTn id="71" dur="500"/>
                                        <p:tgtEl>
                                          <p:spTgt spid="20"/>
                                        </p:tgtEl>
                                      </p:cBhvr>
                                    </p:animEffect>
                                  </p:childTnLst>
                                </p:cTn>
                              </p:par>
                              <p:par>
                                <p:cTn id="72" presetID="16" presetClass="entr" presetSubtype="37" fill="hold" nodeType="withEffect">
                                  <p:stCondLst>
                                    <p:cond delay="0"/>
                                  </p:stCondLst>
                                  <p:childTnLst>
                                    <p:set>
                                      <p:cBhvr>
                                        <p:cTn id="73" dur="1" fill="hold">
                                          <p:stCondLst>
                                            <p:cond delay="0"/>
                                          </p:stCondLst>
                                        </p:cTn>
                                        <p:tgtEl>
                                          <p:spTgt spid="29"/>
                                        </p:tgtEl>
                                        <p:attrNameLst>
                                          <p:attrName>style.visibility</p:attrName>
                                        </p:attrNameLst>
                                      </p:cBhvr>
                                      <p:to>
                                        <p:strVal val="visible"/>
                                      </p:to>
                                    </p:set>
                                    <p:animEffect transition="in" filter="barn(outVertical)">
                                      <p:cBhvr>
                                        <p:cTn id="74" dur="500"/>
                                        <p:tgtEl>
                                          <p:spTgt spid="29"/>
                                        </p:tgtEl>
                                      </p:cBhvr>
                                    </p:animEffect>
                                  </p:childTnLst>
                                </p:cTn>
                              </p:par>
                              <p:par>
                                <p:cTn id="75" presetID="16" presetClass="entr" presetSubtype="37" fill="hold" nodeType="withEffect">
                                  <p:stCondLst>
                                    <p:cond delay="0"/>
                                  </p:stCondLst>
                                  <p:childTnLst>
                                    <p:set>
                                      <p:cBhvr>
                                        <p:cTn id="76" dur="1" fill="hold">
                                          <p:stCondLst>
                                            <p:cond delay="0"/>
                                          </p:stCondLst>
                                        </p:cTn>
                                        <p:tgtEl>
                                          <p:spTgt spid="30"/>
                                        </p:tgtEl>
                                        <p:attrNameLst>
                                          <p:attrName>style.visibility</p:attrName>
                                        </p:attrNameLst>
                                      </p:cBhvr>
                                      <p:to>
                                        <p:strVal val="visible"/>
                                      </p:to>
                                    </p:set>
                                    <p:animEffect transition="in" filter="barn(outVertical)">
                                      <p:cBhvr>
                                        <p:cTn id="77" dur="500"/>
                                        <p:tgtEl>
                                          <p:spTgt spid="30"/>
                                        </p:tgtEl>
                                      </p:cBhvr>
                                    </p:animEffect>
                                  </p:childTnLst>
                                </p:cTn>
                              </p:par>
                              <p:par>
                                <p:cTn id="78" presetID="16" presetClass="entr" presetSubtype="37" fill="hold" nodeType="withEffect">
                                  <p:stCondLst>
                                    <p:cond delay="0"/>
                                  </p:stCondLst>
                                  <p:childTnLst>
                                    <p:set>
                                      <p:cBhvr>
                                        <p:cTn id="79" dur="1" fill="hold">
                                          <p:stCondLst>
                                            <p:cond delay="0"/>
                                          </p:stCondLst>
                                        </p:cTn>
                                        <p:tgtEl>
                                          <p:spTgt spid="31"/>
                                        </p:tgtEl>
                                        <p:attrNameLst>
                                          <p:attrName>style.visibility</p:attrName>
                                        </p:attrNameLst>
                                      </p:cBhvr>
                                      <p:to>
                                        <p:strVal val="visible"/>
                                      </p:to>
                                    </p:set>
                                    <p:animEffect transition="in" filter="barn(outVertical)">
                                      <p:cBhvr>
                                        <p:cTn id="80" dur="500"/>
                                        <p:tgtEl>
                                          <p:spTgt spid="31"/>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12"/>
                                        </p:tgtEl>
                                        <p:attrNameLst>
                                          <p:attrName>style.visibility</p:attrName>
                                        </p:attrNameLst>
                                      </p:cBhvr>
                                      <p:to>
                                        <p:strVal val="visible"/>
                                      </p:to>
                                    </p:set>
                                    <p:animEffect transition="in" filter="fade">
                                      <p:cBhvr>
                                        <p:cTn id="83" dur="500"/>
                                        <p:tgtEl>
                                          <p:spTgt spid="12"/>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23"/>
                                        </p:tgtEl>
                                        <p:attrNameLst>
                                          <p:attrName>style.visibility</p:attrName>
                                        </p:attrNameLst>
                                      </p:cBhvr>
                                      <p:to>
                                        <p:strVal val="visible"/>
                                      </p:to>
                                    </p:set>
                                    <p:animEffect transition="in" filter="fade">
                                      <p:cBhvr>
                                        <p:cTn id="86" dur="500"/>
                                        <p:tgtEl>
                                          <p:spTgt spid="23"/>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34"/>
                                        </p:tgtEl>
                                        <p:attrNameLst>
                                          <p:attrName>style.visibility</p:attrName>
                                        </p:attrNameLst>
                                      </p:cBhvr>
                                      <p:to>
                                        <p:strVal val="visible"/>
                                      </p:to>
                                    </p:set>
                                    <p:animEffect transition="in" filter="fade">
                                      <p:cBhvr>
                                        <p:cTn id="89" dur="500"/>
                                        <p:tgtEl>
                                          <p:spTgt spid="34"/>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13"/>
                                        </p:tgtEl>
                                        <p:attrNameLst>
                                          <p:attrName>style.visibility</p:attrName>
                                        </p:attrNameLst>
                                      </p:cBhvr>
                                      <p:to>
                                        <p:strVal val="visible"/>
                                      </p:to>
                                    </p:set>
                                    <p:animEffect transition="in" filter="fade">
                                      <p:cBhvr>
                                        <p:cTn id="92" dur="500"/>
                                        <p:tgtEl>
                                          <p:spTgt spid="13"/>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24"/>
                                        </p:tgtEl>
                                        <p:attrNameLst>
                                          <p:attrName>style.visibility</p:attrName>
                                        </p:attrNameLst>
                                      </p:cBhvr>
                                      <p:to>
                                        <p:strVal val="visible"/>
                                      </p:to>
                                    </p:set>
                                    <p:animEffect transition="in" filter="fade">
                                      <p:cBhvr>
                                        <p:cTn id="95" dur="500"/>
                                        <p:tgtEl>
                                          <p:spTgt spid="24"/>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35"/>
                                        </p:tgtEl>
                                        <p:attrNameLst>
                                          <p:attrName>style.visibility</p:attrName>
                                        </p:attrNameLst>
                                      </p:cBhvr>
                                      <p:to>
                                        <p:strVal val="visible"/>
                                      </p:to>
                                    </p:set>
                                    <p:animEffect transition="in" filter="fade">
                                      <p:cBhvr>
                                        <p:cTn id="98" dur="500"/>
                                        <p:tgtEl>
                                          <p:spTgt spid="35"/>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14"/>
                                        </p:tgtEl>
                                        <p:attrNameLst>
                                          <p:attrName>style.visibility</p:attrName>
                                        </p:attrNameLst>
                                      </p:cBhvr>
                                      <p:to>
                                        <p:strVal val="visible"/>
                                      </p:to>
                                    </p:set>
                                    <p:animEffect transition="in" filter="fade">
                                      <p:cBhvr>
                                        <p:cTn id="101" dur="500"/>
                                        <p:tgtEl>
                                          <p:spTgt spid="14"/>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25"/>
                                        </p:tgtEl>
                                        <p:attrNameLst>
                                          <p:attrName>style.visibility</p:attrName>
                                        </p:attrNameLst>
                                      </p:cBhvr>
                                      <p:to>
                                        <p:strVal val="visible"/>
                                      </p:to>
                                    </p:set>
                                    <p:animEffect transition="in" filter="fade">
                                      <p:cBhvr>
                                        <p:cTn id="104" dur="500"/>
                                        <p:tgtEl>
                                          <p:spTgt spid="25"/>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36"/>
                                        </p:tgtEl>
                                        <p:attrNameLst>
                                          <p:attrName>style.visibility</p:attrName>
                                        </p:attrNameLst>
                                      </p:cBhvr>
                                      <p:to>
                                        <p:strVal val="visible"/>
                                      </p:to>
                                    </p:set>
                                    <p:animEffect transition="in" filter="fade">
                                      <p:cBhvr>
                                        <p:cTn id="107" dur="500"/>
                                        <p:tgtEl>
                                          <p:spTgt spid="36"/>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22"/>
                                        </p:tgtEl>
                                        <p:attrNameLst>
                                          <p:attrName>style.visibility</p:attrName>
                                        </p:attrNameLst>
                                      </p:cBhvr>
                                      <p:to>
                                        <p:strVal val="visible"/>
                                      </p:to>
                                    </p:set>
                                    <p:animEffect transition="in" filter="fade">
                                      <p:cBhvr>
                                        <p:cTn id="110" dur="500"/>
                                        <p:tgtEl>
                                          <p:spTgt spid="22"/>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33"/>
                                        </p:tgtEl>
                                        <p:attrNameLst>
                                          <p:attrName>style.visibility</p:attrName>
                                        </p:attrNameLst>
                                      </p:cBhvr>
                                      <p:to>
                                        <p:strVal val="visible"/>
                                      </p:to>
                                    </p:set>
                                    <p:animEffect transition="in" filter="fade">
                                      <p:cBhvr>
                                        <p:cTn id="113" dur="500"/>
                                        <p:tgtEl>
                                          <p:spTgt spid="33"/>
                                        </p:tgtEl>
                                      </p:cBhvr>
                                    </p:animEffect>
                                  </p:childTnLst>
                                </p:cTn>
                              </p:par>
                              <p:par>
                                <p:cTn id="114" presetID="10" presetClass="entr" presetSubtype="0" fill="hold" grpId="0" nodeType="withEffect">
                                  <p:stCondLst>
                                    <p:cond delay="0"/>
                                  </p:stCondLst>
                                  <p:childTnLst>
                                    <p:set>
                                      <p:cBhvr>
                                        <p:cTn id="115" dur="1" fill="hold">
                                          <p:stCondLst>
                                            <p:cond delay="0"/>
                                          </p:stCondLst>
                                        </p:cTn>
                                        <p:tgtEl>
                                          <p:spTgt spid="65"/>
                                        </p:tgtEl>
                                        <p:attrNameLst>
                                          <p:attrName>style.visibility</p:attrName>
                                        </p:attrNameLst>
                                      </p:cBhvr>
                                      <p:to>
                                        <p:strVal val="visible"/>
                                      </p:to>
                                    </p:set>
                                    <p:animEffect transition="in" filter="fade">
                                      <p:cBhvr>
                                        <p:cTn id="116"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p:bldP spid="10" grpId="0" animBg="1"/>
      <p:bldP spid="12" grpId="0"/>
      <p:bldP spid="13" grpId="0"/>
      <p:bldP spid="14" grpId="0"/>
      <p:bldP spid="15" grpId="0" animBg="1"/>
      <p:bldP spid="16" grpId="0" animBg="1"/>
      <p:bldP spid="17" grpId="0"/>
      <p:bldP spid="21" grpId="0" animBg="1"/>
      <p:bldP spid="22" grpId="0"/>
      <p:bldP spid="23" grpId="0"/>
      <p:bldP spid="24" grpId="0"/>
      <p:bldP spid="25" grpId="0"/>
      <p:bldP spid="26" grpId="0" animBg="1"/>
      <p:bldP spid="27" grpId="0" animBg="1"/>
      <p:bldP spid="28" grpId="0"/>
      <p:bldP spid="32" grpId="0" animBg="1"/>
      <p:bldP spid="33" grpId="0"/>
      <p:bldP spid="34" grpId="0"/>
      <p:bldP spid="35" grpId="0"/>
      <p:bldP spid="36" grpId="0"/>
      <p:bldP spid="65"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751497D4-CBBE-4892-ABDA-4C92B62757A6}" type="slidenum">
              <a:rPr lang="id-ID" smtClean="0">
                <a:solidFill>
                  <a:prstClr val="black">
                    <a:tint val="75000"/>
                  </a:prstClr>
                </a:solidFill>
              </a:rPr>
              <a:pPr/>
              <a:t>45</a:t>
            </a:fld>
            <a:endParaRPr lang="id-ID">
              <a:solidFill>
                <a:prstClr val="black">
                  <a:tint val="75000"/>
                </a:prstClr>
              </a:solidFill>
            </a:endParaRPr>
          </a:p>
        </p:txBody>
      </p:sp>
      <p:sp>
        <p:nvSpPr>
          <p:cNvPr id="5" name="Rectangle 4"/>
          <p:cNvSpPr/>
          <p:nvPr/>
        </p:nvSpPr>
        <p:spPr>
          <a:xfrm>
            <a:off x="0" y="-40411"/>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id-ID" sz="1350">
              <a:solidFill>
                <a:prstClr val="white"/>
              </a:solidFill>
            </a:endParaRPr>
          </a:p>
        </p:txBody>
      </p:sp>
      <p:sp>
        <p:nvSpPr>
          <p:cNvPr id="6" name="TextBox 5"/>
          <p:cNvSpPr txBox="1"/>
          <p:nvPr/>
        </p:nvSpPr>
        <p:spPr>
          <a:xfrm>
            <a:off x="2270208" y="2384069"/>
            <a:ext cx="4570305" cy="523220"/>
          </a:xfrm>
          <a:prstGeom prst="rect">
            <a:avLst/>
          </a:prstGeom>
          <a:noFill/>
        </p:spPr>
        <p:txBody>
          <a:bodyPr wrap="square" rtlCol="0">
            <a:spAutoFit/>
          </a:bodyPr>
          <a:lstStyle/>
          <a:p>
            <a:pPr algn="ctr" defTabSz="685800"/>
            <a:r>
              <a:rPr lang="en-US" sz="2800" dirty="0" smtClean="0">
                <a:solidFill>
                  <a:srgbClr val="FFFFFF"/>
                </a:solidFill>
              </a:rPr>
              <a:t>Features</a:t>
            </a:r>
            <a:endParaRPr lang="id-ID" sz="2800" dirty="0">
              <a:solidFill>
                <a:srgbClr val="FFFFFF"/>
              </a:solidFill>
            </a:endParaRPr>
          </a:p>
        </p:txBody>
      </p:sp>
      <p:cxnSp>
        <p:nvCxnSpPr>
          <p:cNvPr id="7" name="Straight Connector 6"/>
          <p:cNvCxnSpPr/>
          <p:nvPr/>
        </p:nvCxnSpPr>
        <p:spPr>
          <a:xfrm>
            <a:off x="2935362" y="2997765"/>
            <a:ext cx="32400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9170" y="2217174"/>
            <a:ext cx="7554678" cy="1531354"/>
          </a:xfrm>
          <a:prstGeom prst="rect">
            <a:avLst/>
          </a:prstGeom>
        </p:spPr>
      </p:pic>
      <p:grpSp>
        <p:nvGrpSpPr>
          <p:cNvPr id="12" name="Group 11"/>
          <p:cNvGrpSpPr/>
          <p:nvPr/>
        </p:nvGrpSpPr>
        <p:grpSpPr>
          <a:xfrm>
            <a:off x="4396509" y="2907289"/>
            <a:ext cx="4497532" cy="3631624"/>
            <a:chOff x="4849813" y="501081"/>
            <a:chExt cx="1104900" cy="1054100"/>
          </a:xfrm>
          <a:solidFill>
            <a:schemeClr val="bg1">
              <a:alpha val="19000"/>
            </a:schemeClr>
          </a:solidFill>
        </p:grpSpPr>
        <p:sp>
          <p:nvSpPr>
            <p:cNvPr id="13" name="Freeform 5"/>
            <p:cNvSpPr>
              <a:spLocks noEditPoints="1"/>
            </p:cNvSpPr>
            <p:nvPr/>
          </p:nvSpPr>
          <p:spPr bwMode="auto">
            <a:xfrm>
              <a:off x="4849813" y="501081"/>
              <a:ext cx="1104900" cy="1054100"/>
            </a:xfrm>
            <a:custGeom>
              <a:avLst/>
              <a:gdLst>
                <a:gd name="T0" fmla="*/ 482 w 526"/>
                <a:gd name="T1" fmla="*/ 0 h 502"/>
                <a:gd name="T2" fmla="*/ 44 w 526"/>
                <a:gd name="T3" fmla="*/ 0 h 502"/>
                <a:gd name="T4" fmla="*/ 0 w 526"/>
                <a:gd name="T5" fmla="*/ 45 h 502"/>
                <a:gd name="T6" fmla="*/ 0 w 526"/>
                <a:gd name="T7" fmla="*/ 384 h 502"/>
                <a:gd name="T8" fmla="*/ 44 w 526"/>
                <a:gd name="T9" fmla="*/ 428 h 502"/>
                <a:gd name="T10" fmla="*/ 177 w 526"/>
                <a:gd name="T11" fmla="*/ 428 h 502"/>
                <a:gd name="T12" fmla="*/ 154 w 526"/>
                <a:gd name="T13" fmla="*/ 454 h 502"/>
                <a:gd name="T14" fmla="*/ 141 w 526"/>
                <a:gd name="T15" fmla="*/ 467 h 502"/>
                <a:gd name="T16" fmla="*/ 140 w 526"/>
                <a:gd name="T17" fmla="*/ 487 h 502"/>
                <a:gd name="T18" fmla="*/ 173 w 526"/>
                <a:gd name="T19" fmla="*/ 502 h 502"/>
                <a:gd name="T20" fmla="*/ 352 w 526"/>
                <a:gd name="T21" fmla="*/ 502 h 502"/>
                <a:gd name="T22" fmla="*/ 386 w 526"/>
                <a:gd name="T23" fmla="*/ 487 h 502"/>
                <a:gd name="T24" fmla="*/ 384 w 526"/>
                <a:gd name="T25" fmla="*/ 467 h 502"/>
                <a:gd name="T26" fmla="*/ 372 w 526"/>
                <a:gd name="T27" fmla="*/ 453 h 502"/>
                <a:gd name="T28" fmla="*/ 348 w 526"/>
                <a:gd name="T29" fmla="*/ 428 h 502"/>
                <a:gd name="T30" fmla="*/ 482 w 526"/>
                <a:gd name="T31" fmla="*/ 428 h 502"/>
                <a:gd name="T32" fmla="*/ 526 w 526"/>
                <a:gd name="T33" fmla="*/ 384 h 502"/>
                <a:gd name="T34" fmla="*/ 526 w 526"/>
                <a:gd name="T35" fmla="*/ 45 h 502"/>
                <a:gd name="T36" fmla="*/ 482 w 526"/>
                <a:gd name="T37" fmla="*/ 0 h 502"/>
                <a:gd name="T38" fmla="*/ 360 w 526"/>
                <a:gd name="T39" fmla="*/ 465 h 502"/>
                <a:gd name="T40" fmla="*/ 371 w 526"/>
                <a:gd name="T41" fmla="*/ 476 h 502"/>
                <a:gd name="T42" fmla="*/ 371 w 526"/>
                <a:gd name="T43" fmla="*/ 480 h 502"/>
                <a:gd name="T44" fmla="*/ 352 w 526"/>
                <a:gd name="T45" fmla="*/ 485 h 502"/>
                <a:gd name="T46" fmla="*/ 173 w 526"/>
                <a:gd name="T47" fmla="*/ 485 h 502"/>
                <a:gd name="T48" fmla="*/ 155 w 526"/>
                <a:gd name="T49" fmla="*/ 480 h 502"/>
                <a:gd name="T50" fmla="*/ 154 w 526"/>
                <a:gd name="T51" fmla="*/ 476 h 502"/>
                <a:gd name="T52" fmla="*/ 154 w 526"/>
                <a:gd name="T53" fmla="*/ 477 h 502"/>
                <a:gd name="T54" fmla="*/ 165 w 526"/>
                <a:gd name="T55" fmla="*/ 465 h 502"/>
                <a:gd name="T56" fmla="*/ 196 w 526"/>
                <a:gd name="T57" fmla="*/ 428 h 502"/>
                <a:gd name="T58" fmla="*/ 329 w 526"/>
                <a:gd name="T59" fmla="*/ 428 h 502"/>
                <a:gd name="T60" fmla="*/ 360 w 526"/>
                <a:gd name="T61" fmla="*/ 465 h 502"/>
                <a:gd name="T62" fmla="*/ 493 w 526"/>
                <a:gd name="T63" fmla="*/ 384 h 502"/>
                <a:gd name="T64" fmla="*/ 482 w 526"/>
                <a:gd name="T65" fmla="*/ 395 h 502"/>
                <a:gd name="T66" fmla="*/ 44 w 526"/>
                <a:gd name="T67" fmla="*/ 395 h 502"/>
                <a:gd name="T68" fmla="*/ 32 w 526"/>
                <a:gd name="T69" fmla="*/ 384 h 502"/>
                <a:gd name="T70" fmla="*/ 32 w 526"/>
                <a:gd name="T71" fmla="*/ 45 h 502"/>
                <a:gd name="T72" fmla="*/ 44 w 526"/>
                <a:gd name="T73" fmla="*/ 33 h 502"/>
                <a:gd name="T74" fmla="*/ 482 w 526"/>
                <a:gd name="T75" fmla="*/ 33 h 502"/>
                <a:gd name="T76" fmla="*/ 493 w 526"/>
                <a:gd name="T77" fmla="*/ 45 h 502"/>
                <a:gd name="T78" fmla="*/ 493 w 526"/>
                <a:gd name="T79" fmla="*/ 384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26" h="502">
                  <a:moveTo>
                    <a:pt x="482" y="0"/>
                  </a:moveTo>
                  <a:cubicBezTo>
                    <a:pt x="44" y="0"/>
                    <a:pt x="44" y="0"/>
                    <a:pt x="44" y="0"/>
                  </a:cubicBezTo>
                  <a:cubicBezTo>
                    <a:pt x="19" y="0"/>
                    <a:pt x="0" y="20"/>
                    <a:pt x="0" y="45"/>
                  </a:cubicBezTo>
                  <a:cubicBezTo>
                    <a:pt x="0" y="384"/>
                    <a:pt x="0" y="384"/>
                    <a:pt x="0" y="384"/>
                  </a:cubicBezTo>
                  <a:cubicBezTo>
                    <a:pt x="0" y="408"/>
                    <a:pt x="19" y="428"/>
                    <a:pt x="44" y="428"/>
                  </a:cubicBezTo>
                  <a:cubicBezTo>
                    <a:pt x="177" y="428"/>
                    <a:pt x="177" y="428"/>
                    <a:pt x="177" y="428"/>
                  </a:cubicBezTo>
                  <a:cubicBezTo>
                    <a:pt x="170" y="437"/>
                    <a:pt x="159" y="448"/>
                    <a:pt x="154" y="454"/>
                  </a:cubicBezTo>
                  <a:cubicBezTo>
                    <a:pt x="148" y="459"/>
                    <a:pt x="144" y="463"/>
                    <a:pt x="141" y="467"/>
                  </a:cubicBezTo>
                  <a:cubicBezTo>
                    <a:pt x="138" y="471"/>
                    <a:pt x="136" y="480"/>
                    <a:pt x="140" y="487"/>
                  </a:cubicBezTo>
                  <a:cubicBezTo>
                    <a:pt x="144" y="494"/>
                    <a:pt x="152" y="502"/>
                    <a:pt x="173" y="502"/>
                  </a:cubicBezTo>
                  <a:cubicBezTo>
                    <a:pt x="352" y="502"/>
                    <a:pt x="352" y="502"/>
                    <a:pt x="352" y="502"/>
                  </a:cubicBezTo>
                  <a:cubicBezTo>
                    <a:pt x="374" y="502"/>
                    <a:pt x="382" y="494"/>
                    <a:pt x="386" y="487"/>
                  </a:cubicBezTo>
                  <a:cubicBezTo>
                    <a:pt x="389" y="480"/>
                    <a:pt x="388" y="471"/>
                    <a:pt x="384" y="467"/>
                  </a:cubicBezTo>
                  <a:cubicBezTo>
                    <a:pt x="382" y="463"/>
                    <a:pt x="378" y="459"/>
                    <a:pt x="372" y="453"/>
                  </a:cubicBezTo>
                  <a:cubicBezTo>
                    <a:pt x="367" y="448"/>
                    <a:pt x="355" y="437"/>
                    <a:pt x="348" y="428"/>
                  </a:cubicBezTo>
                  <a:cubicBezTo>
                    <a:pt x="482" y="428"/>
                    <a:pt x="482" y="428"/>
                    <a:pt x="482" y="428"/>
                  </a:cubicBezTo>
                  <a:cubicBezTo>
                    <a:pt x="506" y="428"/>
                    <a:pt x="526" y="408"/>
                    <a:pt x="526" y="384"/>
                  </a:cubicBezTo>
                  <a:cubicBezTo>
                    <a:pt x="526" y="45"/>
                    <a:pt x="526" y="45"/>
                    <a:pt x="526" y="45"/>
                  </a:cubicBezTo>
                  <a:cubicBezTo>
                    <a:pt x="526" y="20"/>
                    <a:pt x="506" y="0"/>
                    <a:pt x="482" y="0"/>
                  </a:cubicBezTo>
                  <a:close/>
                  <a:moveTo>
                    <a:pt x="360" y="465"/>
                  </a:moveTo>
                  <a:cubicBezTo>
                    <a:pt x="365" y="470"/>
                    <a:pt x="370" y="474"/>
                    <a:pt x="371" y="476"/>
                  </a:cubicBezTo>
                  <a:cubicBezTo>
                    <a:pt x="371" y="476"/>
                    <a:pt x="372" y="478"/>
                    <a:pt x="371" y="480"/>
                  </a:cubicBezTo>
                  <a:cubicBezTo>
                    <a:pt x="368" y="483"/>
                    <a:pt x="362" y="485"/>
                    <a:pt x="352" y="485"/>
                  </a:cubicBezTo>
                  <a:cubicBezTo>
                    <a:pt x="173" y="485"/>
                    <a:pt x="173" y="485"/>
                    <a:pt x="173" y="485"/>
                  </a:cubicBezTo>
                  <a:cubicBezTo>
                    <a:pt x="164" y="485"/>
                    <a:pt x="157" y="483"/>
                    <a:pt x="155" y="480"/>
                  </a:cubicBezTo>
                  <a:cubicBezTo>
                    <a:pt x="154" y="478"/>
                    <a:pt x="155" y="476"/>
                    <a:pt x="154" y="476"/>
                  </a:cubicBezTo>
                  <a:cubicBezTo>
                    <a:pt x="154" y="476"/>
                    <a:pt x="154" y="476"/>
                    <a:pt x="154" y="477"/>
                  </a:cubicBezTo>
                  <a:cubicBezTo>
                    <a:pt x="156" y="474"/>
                    <a:pt x="161" y="470"/>
                    <a:pt x="165" y="465"/>
                  </a:cubicBezTo>
                  <a:cubicBezTo>
                    <a:pt x="180" y="451"/>
                    <a:pt x="191" y="439"/>
                    <a:pt x="196" y="428"/>
                  </a:cubicBezTo>
                  <a:cubicBezTo>
                    <a:pt x="329" y="428"/>
                    <a:pt x="329" y="428"/>
                    <a:pt x="329" y="428"/>
                  </a:cubicBezTo>
                  <a:cubicBezTo>
                    <a:pt x="334" y="439"/>
                    <a:pt x="346" y="451"/>
                    <a:pt x="360" y="465"/>
                  </a:cubicBezTo>
                  <a:close/>
                  <a:moveTo>
                    <a:pt x="493" y="384"/>
                  </a:moveTo>
                  <a:cubicBezTo>
                    <a:pt x="493" y="390"/>
                    <a:pt x="488" y="395"/>
                    <a:pt x="482" y="395"/>
                  </a:cubicBezTo>
                  <a:cubicBezTo>
                    <a:pt x="44" y="395"/>
                    <a:pt x="44" y="395"/>
                    <a:pt x="44" y="395"/>
                  </a:cubicBezTo>
                  <a:cubicBezTo>
                    <a:pt x="38" y="395"/>
                    <a:pt x="32" y="390"/>
                    <a:pt x="32" y="384"/>
                  </a:cubicBezTo>
                  <a:cubicBezTo>
                    <a:pt x="32" y="45"/>
                    <a:pt x="32" y="45"/>
                    <a:pt x="32" y="45"/>
                  </a:cubicBezTo>
                  <a:cubicBezTo>
                    <a:pt x="32" y="38"/>
                    <a:pt x="38" y="33"/>
                    <a:pt x="44" y="33"/>
                  </a:cubicBezTo>
                  <a:cubicBezTo>
                    <a:pt x="482" y="33"/>
                    <a:pt x="482" y="33"/>
                    <a:pt x="482" y="33"/>
                  </a:cubicBezTo>
                  <a:cubicBezTo>
                    <a:pt x="488" y="33"/>
                    <a:pt x="493" y="38"/>
                    <a:pt x="493" y="45"/>
                  </a:cubicBezTo>
                  <a:lnTo>
                    <a:pt x="493" y="38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id-ID" sz="1350">
                <a:solidFill>
                  <a:prstClr val="black"/>
                </a:solidFill>
              </a:endParaRPr>
            </a:p>
          </p:txBody>
        </p:sp>
        <p:sp>
          <p:nvSpPr>
            <p:cNvPr id="14" name="Freeform 6"/>
            <p:cNvSpPr>
              <a:spLocks noEditPoints="1"/>
            </p:cNvSpPr>
            <p:nvPr/>
          </p:nvSpPr>
          <p:spPr bwMode="auto">
            <a:xfrm>
              <a:off x="4986338" y="640781"/>
              <a:ext cx="828675" cy="552450"/>
            </a:xfrm>
            <a:custGeom>
              <a:avLst/>
              <a:gdLst>
                <a:gd name="T0" fmla="*/ 367 w 395"/>
                <a:gd name="T1" fmla="*/ 0 h 264"/>
                <a:gd name="T2" fmla="*/ 28 w 395"/>
                <a:gd name="T3" fmla="*/ 0 h 264"/>
                <a:gd name="T4" fmla="*/ 0 w 395"/>
                <a:gd name="T5" fmla="*/ 28 h 264"/>
                <a:gd name="T6" fmla="*/ 0 w 395"/>
                <a:gd name="T7" fmla="*/ 236 h 264"/>
                <a:gd name="T8" fmla="*/ 28 w 395"/>
                <a:gd name="T9" fmla="*/ 264 h 264"/>
                <a:gd name="T10" fmla="*/ 367 w 395"/>
                <a:gd name="T11" fmla="*/ 264 h 264"/>
                <a:gd name="T12" fmla="*/ 395 w 395"/>
                <a:gd name="T13" fmla="*/ 236 h 264"/>
                <a:gd name="T14" fmla="*/ 395 w 395"/>
                <a:gd name="T15" fmla="*/ 28 h 264"/>
                <a:gd name="T16" fmla="*/ 367 w 395"/>
                <a:gd name="T17" fmla="*/ 0 h 264"/>
                <a:gd name="T18" fmla="*/ 379 w 395"/>
                <a:gd name="T19" fmla="*/ 236 h 264"/>
                <a:gd name="T20" fmla="*/ 367 w 395"/>
                <a:gd name="T21" fmla="*/ 247 h 264"/>
                <a:gd name="T22" fmla="*/ 28 w 395"/>
                <a:gd name="T23" fmla="*/ 247 h 264"/>
                <a:gd name="T24" fmla="*/ 17 w 395"/>
                <a:gd name="T25" fmla="*/ 236 h 264"/>
                <a:gd name="T26" fmla="*/ 17 w 395"/>
                <a:gd name="T27" fmla="*/ 28 h 264"/>
                <a:gd name="T28" fmla="*/ 28 w 395"/>
                <a:gd name="T29" fmla="*/ 17 h 264"/>
                <a:gd name="T30" fmla="*/ 367 w 395"/>
                <a:gd name="T31" fmla="*/ 17 h 264"/>
                <a:gd name="T32" fmla="*/ 379 w 395"/>
                <a:gd name="T33" fmla="*/ 28 h 264"/>
                <a:gd name="T34" fmla="*/ 379 w 395"/>
                <a:gd name="T35" fmla="*/ 236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5" h="264">
                  <a:moveTo>
                    <a:pt x="367" y="0"/>
                  </a:moveTo>
                  <a:cubicBezTo>
                    <a:pt x="28" y="0"/>
                    <a:pt x="28" y="0"/>
                    <a:pt x="28" y="0"/>
                  </a:cubicBezTo>
                  <a:cubicBezTo>
                    <a:pt x="13" y="0"/>
                    <a:pt x="0" y="13"/>
                    <a:pt x="0" y="28"/>
                  </a:cubicBezTo>
                  <a:cubicBezTo>
                    <a:pt x="0" y="236"/>
                    <a:pt x="0" y="236"/>
                    <a:pt x="0" y="236"/>
                  </a:cubicBezTo>
                  <a:cubicBezTo>
                    <a:pt x="0" y="251"/>
                    <a:pt x="13" y="264"/>
                    <a:pt x="28" y="264"/>
                  </a:cubicBezTo>
                  <a:cubicBezTo>
                    <a:pt x="367" y="264"/>
                    <a:pt x="367" y="264"/>
                    <a:pt x="367" y="264"/>
                  </a:cubicBezTo>
                  <a:cubicBezTo>
                    <a:pt x="383" y="264"/>
                    <a:pt x="395" y="251"/>
                    <a:pt x="395" y="236"/>
                  </a:cubicBezTo>
                  <a:cubicBezTo>
                    <a:pt x="395" y="28"/>
                    <a:pt x="395" y="28"/>
                    <a:pt x="395" y="28"/>
                  </a:cubicBezTo>
                  <a:cubicBezTo>
                    <a:pt x="395" y="13"/>
                    <a:pt x="383" y="0"/>
                    <a:pt x="367" y="0"/>
                  </a:cubicBezTo>
                  <a:close/>
                  <a:moveTo>
                    <a:pt x="379" y="236"/>
                  </a:moveTo>
                  <a:cubicBezTo>
                    <a:pt x="379" y="242"/>
                    <a:pt x="374" y="247"/>
                    <a:pt x="367" y="247"/>
                  </a:cubicBezTo>
                  <a:cubicBezTo>
                    <a:pt x="28" y="247"/>
                    <a:pt x="28" y="247"/>
                    <a:pt x="28" y="247"/>
                  </a:cubicBezTo>
                  <a:cubicBezTo>
                    <a:pt x="22" y="247"/>
                    <a:pt x="17" y="242"/>
                    <a:pt x="17" y="236"/>
                  </a:cubicBezTo>
                  <a:cubicBezTo>
                    <a:pt x="17" y="28"/>
                    <a:pt x="17" y="28"/>
                    <a:pt x="17" y="28"/>
                  </a:cubicBezTo>
                  <a:cubicBezTo>
                    <a:pt x="17" y="22"/>
                    <a:pt x="22" y="17"/>
                    <a:pt x="28" y="17"/>
                  </a:cubicBezTo>
                  <a:cubicBezTo>
                    <a:pt x="367" y="17"/>
                    <a:pt x="367" y="17"/>
                    <a:pt x="367" y="17"/>
                  </a:cubicBezTo>
                  <a:cubicBezTo>
                    <a:pt x="374" y="17"/>
                    <a:pt x="379" y="22"/>
                    <a:pt x="379" y="28"/>
                  </a:cubicBezTo>
                  <a:lnTo>
                    <a:pt x="379" y="2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id-ID" sz="1350">
                <a:solidFill>
                  <a:prstClr val="black"/>
                </a:solidFill>
              </a:endParaRPr>
            </a:p>
          </p:txBody>
        </p:sp>
        <p:sp>
          <p:nvSpPr>
            <p:cNvPr id="15" name="Freeform 7"/>
            <p:cNvSpPr>
              <a:spLocks noEditPoints="1"/>
            </p:cNvSpPr>
            <p:nvPr/>
          </p:nvSpPr>
          <p:spPr bwMode="auto">
            <a:xfrm>
              <a:off x="5349875" y="1209106"/>
              <a:ext cx="104775" cy="104775"/>
            </a:xfrm>
            <a:custGeom>
              <a:avLst/>
              <a:gdLst>
                <a:gd name="T0" fmla="*/ 25 w 50"/>
                <a:gd name="T1" fmla="*/ 0 h 50"/>
                <a:gd name="T2" fmla="*/ 0 w 50"/>
                <a:gd name="T3" fmla="*/ 25 h 50"/>
                <a:gd name="T4" fmla="*/ 25 w 50"/>
                <a:gd name="T5" fmla="*/ 50 h 50"/>
                <a:gd name="T6" fmla="*/ 50 w 50"/>
                <a:gd name="T7" fmla="*/ 25 h 50"/>
                <a:gd name="T8" fmla="*/ 25 w 50"/>
                <a:gd name="T9" fmla="*/ 0 h 50"/>
                <a:gd name="T10" fmla="*/ 25 w 50"/>
                <a:gd name="T11" fmla="*/ 33 h 50"/>
                <a:gd name="T12" fmla="*/ 17 w 50"/>
                <a:gd name="T13" fmla="*/ 25 h 50"/>
                <a:gd name="T14" fmla="*/ 25 w 50"/>
                <a:gd name="T15" fmla="*/ 17 h 50"/>
                <a:gd name="T16" fmla="*/ 33 w 50"/>
                <a:gd name="T17" fmla="*/ 25 h 50"/>
                <a:gd name="T18" fmla="*/ 25 w 50"/>
                <a:gd name="T19" fmla="*/ 3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0">
                  <a:moveTo>
                    <a:pt x="25" y="0"/>
                  </a:moveTo>
                  <a:cubicBezTo>
                    <a:pt x="11" y="0"/>
                    <a:pt x="0" y="12"/>
                    <a:pt x="0" y="25"/>
                  </a:cubicBezTo>
                  <a:cubicBezTo>
                    <a:pt x="0" y="39"/>
                    <a:pt x="11" y="50"/>
                    <a:pt x="25" y="50"/>
                  </a:cubicBezTo>
                  <a:cubicBezTo>
                    <a:pt x="38" y="50"/>
                    <a:pt x="50" y="39"/>
                    <a:pt x="50" y="25"/>
                  </a:cubicBezTo>
                  <a:cubicBezTo>
                    <a:pt x="50" y="12"/>
                    <a:pt x="38" y="0"/>
                    <a:pt x="25" y="0"/>
                  </a:cubicBezTo>
                  <a:close/>
                  <a:moveTo>
                    <a:pt x="25" y="33"/>
                  </a:moveTo>
                  <a:cubicBezTo>
                    <a:pt x="20" y="33"/>
                    <a:pt x="17" y="30"/>
                    <a:pt x="17" y="25"/>
                  </a:cubicBezTo>
                  <a:cubicBezTo>
                    <a:pt x="17" y="21"/>
                    <a:pt x="20" y="17"/>
                    <a:pt x="25" y="17"/>
                  </a:cubicBezTo>
                  <a:cubicBezTo>
                    <a:pt x="29" y="17"/>
                    <a:pt x="33" y="21"/>
                    <a:pt x="33" y="25"/>
                  </a:cubicBezTo>
                  <a:cubicBezTo>
                    <a:pt x="33" y="30"/>
                    <a:pt x="29" y="33"/>
                    <a:pt x="25" y="3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id-ID" sz="1350">
                <a:solidFill>
                  <a:prstClr val="black"/>
                </a:solidFill>
              </a:endParaRPr>
            </a:p>
          </p:txBody>
        </p:sp>
        <p:sp>
          <p:nvSpPr>
            <p:cNvPr id="16" name="Freeform 8"/>
            <p:cNvSpPr>
              <a:spLocks noEditPoints="1"/>
            </p:cNvSpPr>
            <p:nvPr/>
          </p:nvSpPr>
          <p:spPr bwMode="auto">
            <a:xfrm>
              <a:off x="5480050" y="866206"/>
              <a:ext cx="280988" cy="280988"/>
            </a:xfrm>
            <a:custGeom>
              <a:avLst/>
              <a:gdLst>
                <a:gd name="T0" fmla="*/ 67 w 134"/>
                <a:gd name="T1" fmla="*/ 134 h 134"/>
                <a:gd name="T2" fmla="*/ 0 w 134"/>
                <a:gd name="T3" fmla="*/ 67 h 134"/>
                <a:gd name="T4" fmla="*/ 67 w 134"/>
                <a:gd name="T5" fmla="*/ 0 h 134"/>
                <a:gd name="T6" fmla="*/ 134 w 134"/>
                <a:gd name="T7" fmla="*/ 67 h 134"/>
                <a:gd name="T8" fmla="*/ 67 w 134"/>
                <a:gd name="T9" fmla="*/ 134 h 134"/>
                <a:gd name="T10" fmla="*/ 67 w 134"/>
                <a:gd name="T11" fmla="*/ 10 h 134"/>
                <a:gd name="T12" fmla="*/ 10 w 134"/>
                <a:gd name="T13" fmla="*/ 67 h 134"/>
                <a:gd name="T14" fmla="*/ 67 w 134"/>
                <a:gd name="T15" fmla="*/ 124 h 134"/>
                <a:gd name="T16" fmla="*/ 124 w 134"/>
                <a:gd name="T17" fmla="*/ 67 h 134"/>
                <a:gd name="T18" fmla="*/ 67 w 134"/>
                <a:gd name="T19" fmla="*/ 1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134">
                  <a:moveTo>
                    <a:pt x="67" y="134"/>
                  </a:moveTo>
                  <a:cubicBezTo>
                    <a:pt x="30" y="134"/>
                    <a:pt x="0" y="104"/>
                    <a:pt x="0" y="67"/>
                  </a:cubicBezTo>
                  <a:cubicBezTo>
                    <a:pt x="0" y="30"/>
                    <a:pt x="30" y="0"/>
                    <a:pt x="67" y="0"/>
                  </a:cubicBezTo>
                  <a:cubicBezTo>
                    <a:pt x="104" y="0"/>
                    <a:pt x="134" y="30"/>
                    <a:pt x="134" y="67"/>
                  </a:cubicBezTo>
                  <a:cubicBezTo>
                    <a:pt x="134" y="104"/>
                    <a:pt x="104" y="134"/>
                    <a:pt x="67" y="134"/>
                  </a:cubicBezTo>
                  <a:close/>
                  <a:moveTo>
                    <a:pt x="67" y="10"/>
                  </a:moveTo>
                  <a:cubicBezTo>
                    <a:pt x="35" y="10"/>
                    <a:pt x="10" y="35"/>
                    <a:pt x="10" y="67"/>
                  </a:cubicBezTo>
                  <a:cubicBezTo>
                    <a:pt x="10" y="98"/>
                    <a:pt x="35" y="124"/>
                    <a:pt x="67" y="124"/>
                  </a:cubicBezTo>
                  <a:cubicBezTo>
                    <a:pt x="98" y="124"/>
                    <a:pt x="124" y="98"/>
                    <a:pt x="124" y="67"/>
                  </a:cubicBezTo>
                  <a:cubicBezTo>
                    <a:pt x="124" y="35"/>
                    <a:pt x="98" y="10"/>
                    <a:pt x="67"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id-ID" sz="1350">
                <a:solidFill>
                  <a:prstClr val="black"/>
                </a:solidFill>
              </a:endParaRPr>
            </a:p>
          </p:txBody>
        </p:sp>
        <p:sp>
          <p:nvSpPr>
            <p:cNvPr id="17" name="Freeform 9"/>
            <p:cNvSpPr>
              <a:spLocks noEditPoints="1"/>
            </p:cNvSpPr>
            <p:nvPr/>
          </p:nvSpPr>
          <p:spPr bwMode="auto">
            <a:xfrm>
              <a:off x="5545138" y="931293"/>
              <a:ext cx="150813" cy="150813"/>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0 h 72"/>
                <a:gd name="T12" fmla="*/ 10 w 72"/>
                <a:gd name="T13" fmla="*/ 36 h 72"/>
                <a:gd name="T14" fmla="*/ 36 w 72"/>
                <a:gd name="T15" fmla="*/ 62 h 72"/>
                <a:gd name="T16" fmla="*/ 62 w 72"/>
                <a:gd name="T17" fmla="*/ 36 h 72"/>
                <a:gd name="T18" fmla="*/ 36 w 72"/>
                <a:gd name="T19" fmla="*/ 1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0"/>
                  </a:moveTo>
                  <a:cubicBezTo>
                    <a:pt x="22" y="10"/>
                    <a:pt x="10" y="21"/>
                    <a:pt x="10" y="36"/>
                  </a:cubicBezTo>
                  <a:cubicBezTo>
                    <a:pt x="10" y="50"/>
                    <a:pt x="22" y="62"/>
                    <a:pt x="36" y="62"/>
                  </a:cubicBezTo>
                  <a:cubicBezTo>
                    <a:pt x="50" y="62"/>
                    <a:pt x="62" y="50"/>
                    <a:pt x="62" y="36"/>
                  </a:cubicBezTo>
                  <a:cubicBezTo>
                    <a:pt x="62" y="21"/>
                    <a:pt x="50" y="10"/>
                    <a:pt x="36" y="1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id-ID" sz="1350">
                <a:solidFill>
                  <a:prstClr val="black"/>
                </a:solidFill>
              </a:endParaRPr>
            </a:p>
          </p:txBody>
        </p:sp>
        <p:sp>
          <p:nvSpPr>
            <p:cNvPr id="18" name="Freeform 10"/>
            <p:cNvSpPr>
              <a:spLocks/>
            </p:cNvSpPr>
            <p:nvPr/>
          </p:nvSpPr>
          <p:spPr bwMode="auto">
            <a:xfrm>
              <a:off x="5316538" y="702693"/>
              <a:ext cx="371475" cy="396875"/>
            </a:xfrm>
            <a:custGeom>
              <a:avLst/>
              <a:gdLst>
                <a:gd name="T0" fmla="*/ 155 w 177"/>
                <a:gd name="T1" fmla="*/ 0 h 189"/>
                <a:gd name="T2" fmla="*/ 134 w 177"/>
                <a:gd name="T3" fmla="*/ 0 h 189"/>
                <a:gd name="T4" fmla="*/ 104 w 177"/>
                <a:gd name="T5" fmla="*/ 28 h 189"/>
                <a:gd name="T6" fmla="*/ 91 w 177"/>
                <a:gd name="T7" fmla="*/ 33 h 189"/>
                <a:gd name="T8" fmla="*/ 72 w 177"/>
                <a:gd name="T9" fmla="*/ 26 h 189"/>
                <a:gd name="T10" fmla="*/ 50 w 177"/>
                <a:gd name="T11" fmla="*/ 35 h 189"/>
                <a:gd name="T12" fmla="*/ 35 w 177"/>
                <a:gd name="T13" fmla="*/ 50 h 189"/>
                <a:gd name="T14" fmla="*/ 26 w 177"/>
                <a:gd name="T15" fmla="*/ 72 h 189"/>
                <a:gd name="T16" fmla="*/ 33 w 177"/>
                <a:gd name="T17" fmla="*/ 91 h 189"/>
                <a:gd name="T18" fmla="*/ 28 w 177"/>
                <a:gd name="T19" fmla="*/ 104 h 189"/>
                <a:gd name="T20" fmla="*/ 0 w 177"/>
                <a:gd name="T21" fmla="*/ 134 h 189"/>
                <a:gd name="T22" fmla="*/ 0 w 177"/>
                <a:gd name="T23" fmla="*/ 155 h 189"/>
                <a:gd name="T24" fmla="*/ 28 w 177"/>
                <a:gd name="T25" fmla="*/ 186 h 189"/>
                <a:gd name="T26" fmla="*/ 29 w 177"/>
                <a:gd name="T27" fmla="*/ 189 h 189"/>
                <a:gd name="T28" fmla="*/ 52 w 177"/>
                <a:gd name="T29" fmla="*/ 189 h 189"/>
                <a:gd name="T30" fmla="*/ 44 w 177"/>
                <a:gd name="T31" fmla="*/ 165 h 189"/>
                <a:gd name="T32" fmla="*/ 31 w 177"/>
                <a:gd name="T33" fmla="*/ 165 h 189"/>
                <a:gd name="T34" fmla="*/ 21 w 177"/>
                <a:gd name="T35" fmla="*/ 155 h 189"/>
                <a:gd name="T36" fmla="*/ 21 w 177"/>
                <a:gd name="T37" fmla="*/ 134 h 189"/>
                <a:gd name="T38" fmla="*/ 31 w 177"/>
                <a:gd name="T39" fmla="*/ 124 h 189"/>
                <a:gd name="T40" fmla="*/ 44 w 177"/>
                <a:gd name="T41" fmla="*/ 124 h 189"/>
                <a:gd name="T42" fmla="*/ 59 w 177"/>
                <a:gd name="T43" fmla="*/ 88 h 189"/>
                <a:gd name="T44" fmla="*/ 50 w 177"/>
                <a:gd name="T45" fmla="*/ 79 h 189"/>
                <a:gd name="T46" fmla="*/ 50 w 177"/>
                <a:gd name="T47" fmla="*/ 64 h 189"/>
                <a:gd name="T48" fmla="*/ 64 w 177"/>
                <a:gd name="T49" fmla="*/ 50 h 189"/>
                <a:gd name="T50" fmla="*/ 72 w 177"/>
                <a:gd name="T51" fmla="*/ 47 h 189"/>
                <a:gd name="T52" fmla="*/ 79 w 177"/>
                <a:gd name="T53" fmla="*/ 50 h 189"/>
                <a:gd name="T54" fmla="*/ 88 w 177"/>
                <a:gd name="T55" fmla="*/ 59 h 189"/>
                <a:gd name="T56" fmla="*/ 124 w 177"/>
                <a:gd name="T57" fmla="*/ 43 h 189"/>
                <a:gd name="T58" fmla="*/ 124 w 177"/>
                <a:gd name="T59" fmla="*/ 31 h 189"/>
                <a:gd name="T60" fmla="*/ 134 w 177"/>
                <a:gd name="T61" fmla="*/ 21 h 189"/>
                <a:gd name="T62" fmla="*/ 155 w 177"/>
                <a:gd name="T63" fmla="*/ 21 h 189"/>
                <a:gd name="T64" fmla="*/ 165 w 177"/>
                <a:gd name="T65" fmla="*/ 31 h 189"/>
                <a:gd name="T66" fmla="*/ 165 w 177"/>
                <a:gd name="T67" fmla="*/ 43 h 189"/>
                <a:gd name="T68" fmla="*/ 177 w 177"/>
                <a:gd name="T69" fmla="*/ 47 h 189"/>
                <a:gd name="T70" fmla="*/ 177 w 177"/>
                <a:gd name="T71" fmla="*/ 9 h 189"/>
                <a:gd name="T72" fmla="*/ 155 w 177"/>
                <a:gd name="T73"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7" h="189">
                  <a:moveTo>
                    <a:pt x="155" y="0"/>
                  </a:moveTo>
                  <a:cubicBezTo>
                    <a:pt x="134" y="0"/>
                    <a:pt x="134" y="0"/>
                    <a:pt x="134" y="0"/>
                  </a:cubicBezTo>
                  <a:cubicBezTo>
                    <a:pt x="118" y="0"/>
                    <a:pt x="105" y="12"/>
                    <a:pt x="104" y="28"/>
                  </a:cubicBezTo>
                  <a:cubicBezTo>
                    <a:pt x="99" y="29"/>
                    <a:pt x="95" y="31"/>
                    <a:pt x="91" y="33"/>
                  </a:cubicBezTo>
                  <a:cubicBezTo>
                    <a:pt x="86" y="28"/>
                    <a:pt x="79" y="26"/>
                    <a:pt x="72" y="26"/>
                  </a:cubicBezTo>
                  <a:cubicBezTo>
                    <a:pt x="63" y="26"/>
                    <a:pt x="56" y="29"/>
                    <a:pt x="50" y="35"/>
                  </a:cubicBezTo>
                  <a:cubicBezTo>
                    <a:pt x="35" y="50"/>
                    <a:pt x="35" y="50"/>
                    <a:pt x="35" y="50"/>
                  </a:cubicBezTo>
                  <a:cubicBezTo>
                    <a:pt x="29" y="56"/>
                    <a:pt x="26" y="63"/>
                    <a:pt x="26" y="72"/>
                  </a:cubicBezTo>
                  <a:cubicBezTo>
                    <a:pt x="26" y="79"/>
                    <a:pt x="29" y="86"/>
                    <a:pt x="33" y="91"/>
                  </a:cubicBezTo>
                  <a:cubicBezTo>
                    <a:pt x="31" y="95"/>
                    <a:pt x="29" y="99"/>
                    <a:pt x="28" y="104"/>
                  </a:cubicBezTo>
                  <a:cubicBezTo>
                    <a:pt x="12" y="105"/>
                    <a:pt x="0" y="118"/>
                    <a:pt x="0" y="134"/>
                  </a:cubicBezTo>
                  <a:cubicBezTo>
                    <a:pt x="0" y="155"/>
                    <a:pt x="0" y="155"/>
                    <a:pt x="0" y="155"/>
                  </a:cubicBezTo>
                  <a:cubicBezTo>
                    <a:pt x="0" y="171"/>
                    <a:pt x="12" y="184"/>
                    <a:pt x="28" y="186"/>
                  </a:cubicBezTo>
                  <a:cubicBezTo>
                    <a:pt x="28" y="187"/>
                    <a:pt x="29" y="188"/>
                    <a:pt x="29" y="189"/>
                  </a:cubicBezTo>
                  <a:cubicBezTo>
                    <a:pt x="52" y="189"/>
                    <a:pt x="52" y="189"/>
                    <a:pt x="52" y="189"/>
                  </a:cubicBezTo>
                  <a:cubicBezTo>
                    <a:pt x="48" y="182"/>
                    <a:pt x="45" y="174"/>
                    <a:pt x="44" y="165"/>
                  </a:cubicBezTo>
                  <a:cubicBezTo>
                    <a:pt x="31" y="165"/>
                    <a:pt x="31" y="165"/>
                    <a:pt x="31" y="165"/>
                  </a:cubicBezTo>
                  <a:cubicBezTo>
                    <a:pt x="25" y="165"/>
                    <a:pt x="21" y="161"/>
                    <a:pt x="21" y="155"/>
                  </a:cubicBezTo>
                  <a:cubicBezTo>
                    <a:pt x="21" y="134"/>
                    <a:pt x="21" y="134"/>
                    <a:pt x="21" y="134"/>
                  </a:cubicBezTo>
                  <a:cubicBezTo>
                    <a:pt x="21" y="129"/>
                    <a:pt x="25" y="124"/>
                    <a:pt x="31" y="124"/>
                  </a:cubicBezTo>
                  <a:cubicBezTo>
                    <a:pt x="44" y="124"/>
                    <a:pt x="44" y="124"/>
                    <a:pt x="44" y="124"/>
                  </a:cubicBezTo>
                  <a:cubicBezTo>
                    <a:pt x="46" y="111"/>
                    <a:pt x="52" y="99"/>
                    <a:pt x="59" y="88"/>
                  </a:cubicBezTo>
                  <a:cubicBezTo>
                    <a:pt x="50" y="79"/>
                    <a:pt x="50" y="79"/>
                    <a:pt x="50" y="79"/>
                  </a:cubicBezTo>
                  <a:cubicBezTo>
                    <a:pt x="46" y="75"/>
                    <a:pt x="46" y="68"/>
                    <a:pt x="50" y="64"/>
                  </a:cubicBezTo>
                  <a:cubicBezTo>
                    <a:pt x="64" y="50"/>
                    <a:pt x="64" y="50"/>
                    <a:pt x="64" y="50"/>
                  </a:cubicBezTo>
                  <a:cubicBezTo>
                    <a:pt x="66" y="48"/>
                    <a:pt x="69" y="47"/>
                    <a:pt x="72" y="47"/>
                  </a:cubicBezTo>
                  <a:cubicBezTo>
                    <a:pt x="74" y="47"/>
                    <a:pt x="77" y="48"/>
                    <a:pt x="79" y="50"/>
                  </a:cubicBezTo>
                  <a:cubicBezTo>
                    <a:pt x="88" y="59"/>
                    <a:pt x="88" y="59"/>
                    <a:pt x="88" y="59"/>
                  </a:cubicBezTo>
                  <a:cubicBezTo>
                    <a:pt x="99" y="52"/>
                    <a:pt x="111" y="46"/>
                    <a:pt x="124" y="43"/>
                  </a:cubicBezTo>
                  <a:cubicBezTo>
                    <a:pt x="124" y="31"/>
                    <a:pt x="124" y="31"/>
                    <a:pt x="124" y="31"/>
                  </a:cubicBezTo>
                  <a:cubicBezTo>
                    <a:pt x="124" y="25"/>
                    <a:pt x="129" y="21"/>
                    <a:pt x="134" y="21"/>
                  </a:cubicBezTo>
                  <a:cubicBezTo>
                    <a:pt x="155" y="21"/>
                    <a:pt x="155" y="21"/>
                    <a:pt x="155" y="21"/>
                  </a:cubicBezTo>
                  <a:cubicBezTo>
                    <a:pt x="161" y="21"/>
                    <a:pt x="165" y="25"/>
                    <a:pt x="165" y="31"/>
                  </a:cubicBezTo>
                  <a:cubicBezTo>
                    <a:pt x="165" y="43"/>
                    <a:pt x="165" y="43"/>
                    <a:pt x="165" y="43"/>
                  </a:cubicBezTo>
                  <a:cubicBezTo>
                    <a:pt x="169" y="44"/>
                    <a:pt x="173" y="45"/>
                    <a:pt x="177" y="47"/>
                  </a:cubicBezTo>
                  <a:cubicBezTo>
                    <a:pt x="177" y="9"/>
                    <a:pt x="177" y="9"/>
                    <a:pt x="177" y="9"/>
                  </a:cubicBezTo>
                  <a:cubicBezTo>
                    <a:pt x="171" y="3"/>
                    <a:pt x="163" y="0"/>
                    <a:pt x="15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id-ID" sz="1350">
                <a:solidFill>
                  <a:prstClr val="black"/>
                </a:solidFill>
              </a:endParaRPr>
            </a:p>
          </p:txBody>
        </p:sp>
      </p:grpSp>
      <p:sp>
        <p:nvSpPr>
          <p:cNvPr id="2" name="TextBox 1"/>
          <p:cNvSpPr txBox="1"/>
          <p:nvPr/>
        </p:nvSpPr>
        <p:spPr>
          <a:xfrm>
            <a:off x="905061" y="4481049"/>
            <a:ext cx="7704856" cy="769441"/>
          </a:xfrm>
          <a:prstGeom prst="rect">
            <a:avLst/>
          </a:prstGeom>
          <a:noFill/>
        </p:spPr>
        <p:txBody>
          <a:bodyPr wrap="square" rtlCol="0">
            <a:spAutoFit/>
          </a:bodyPr>
          <a:lstStyle/>
          <a:p>
            <a:pPr algn="ctr"/>
            <a:r>
              <a:rPr lang="en-US" sz="4400" b="1" dirty="0" smtClean="0"/>
              <a:t>SSA.foodsecurityportal.org</a:t>
            </a:r>
            <a:endParaRPr lang="en-US" sz="4400" b="1" dirty="0"/>
          </a:p>
        </p:txBody>
      </p:sp>
    </p:spTree>
    <p:extLst>
      <p:ext uri="{BB962C8B-B14F-4D97-AF65-F5344CB8AC3E}">
        <p14:creationId xmlns:p14="http://schemas.microsoft.com/office/powerpoint/2010/main" val="3994901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6" presetClass="entr" presetSubtype="37" fill="hold" nodeType="with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barn(outVertical)">
                                      <p:cBhvr>
                                        <p:cTn id="14" dur="500"/>
                                        <p:tgtEl>
                                          <p:spTgt spid="7"/>
                                        </p:tgtEl>
                                      </p:cBhvr>
                                    </p:animEffect>
                                  </p:childTnLst>
                                </p:cTn>
                              </p:par>
                              <p:par>
                                <p:cTn id="15" presetID="53" presetClass="entr" presetSubtype="16"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p:cTn id="17" dur="500" fill="hold"/>
                                        <p:tgtEl>
                                          <p:spTgt spid="12"/>
                                        </p:tgtEl>
                                        <p:attrNameLst>
                                          <p:attrName>ppt_w</p:attrName>
                                        </p:attrNameLst>
                                      </p:cBhvr>
                                      <p:tavLst>
                                        <p:tav tm="0">
                                          <p:val>
                                            <p:fltVal val="0"/>
                                          </p:val>
                                        </p:tav>
                                        <p:tav tm="100000">
                                          <p:val>
                                            <p:strVal val="#ppt_w"/>
                                          </p:val>
                                        </p:tav>
                                      </p:tavLst>
                                    </p:anim>
                                    <p:anim calcmode="lin" valueType="num">
                                      <p:cBhvr>
                                        <p:cTn id="18" dur="500" fill="hold"/>
                                        <p:tgtEl>
                                          <p:spTgt spid="12"/>
                                        </p:tgtEl>
                                        <p:attrNameLst>
                                          <p:attrName>ppt_h</p:attrName>
                                        </p:attrNameLst>
                                      </p:cBhvr>
                                      <p:tavLst>
                                        <p:tav tm="0">
                                          <p:val>
                                            <p:fltVal val="0"/>
                                          </p:val>
                                        </p:tav>
                                        <p:tav tm="100000">
                                          <p:val>
                                            <p:strVal val="#ppt_h"/>
                                          </p:val>
                                        </p:tav>
                                      </p:tavLst>
                                    </p:anim>
                                    <p:animEffect transition="in" filter="fade">
                                      <p:cBhvr>
                                        <p:cTn id="19"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
          <p:cNvSpPr>
            <a:spLocks/>
          </p:cNvSpPr>
          <p:nvPr/>
        </p:nvSpPr>
        <p:spPr bwMode="auto">
          <a:xfrm>
            <a:off x="3055344" y="2782332"/>
            <a:ext cx="908291" cy="1228865"/>
          </a:xfrm>
          <a:custGeom>
            <a:avLst/>
            <a:gdLst>
              <a:gd name="T0" fmla="*/ 203 w 593"/>
              <a:gd name="T1" fmla="*/ 0 h 801"/>
              <a:gd name="T2" fmla="*/ 48 w 593"/>
              <a:gd name="T3" fmla="*/ 295 h 801"/>
              <a:gd name="T4" fmla="*/ 0 w 593"/>
              <a:gd name="T5" fmla="*/ 601 h 801"/>
              <a:gd name="T6" fmla="*/ 20 w 593"/>
              <a:gd name="T7" fmla="*/ 801 h 801"/>
              <a:gd name="T8" fmla="*/ 507 w 593"/>
              <a:gd name="T9" fmla="*/ 690 h 801"/>
              <a:gd name="T10" fmla="*/ 593 w 593"/>
              <a:gd name="T11" fmla="*/ 311 h 801"/>
              <a:gd name="T12" fmla="*/ 203 w 593"/>
              <a:gd name="T13" fmla="*/ 0 h 801"/>
            </a:gdLst>
            <a:ahLst/>
            <a:cxnLst>
              <a:cxn ang="0">
                <a:pos x="T0" y="T1"/>
              </a:cxn>
              <a:cxn ang="0">
                <a:pos x="T2" y="T3"/>
              </a:cxn>
              <a:cxn ang="0">
                <a:pos x="T4" y="T5"/>
              </a:cxn>
              <a:cxn ang="0">
                <a:pos x="T6" y="T7"/>
              </a:cxn>
              <a:cxn ang="0">
                <a:pos x="T8" y="T9"/>
              </a:cxn>
              <a:cxn ang="0">
                <a:pos x="T10" y="T11"/>
              </a:cxn>
              <a:cxn ang="0">
                <a:pos x="T12" y="T13"/>
              </a:cxn>
            </a:cxnLst>
            <a:rect l="0" t="0" r="r" b="b"/>
            <a:pathLst>
              <a:path w="593" h="801">
                <a:moveTo>
                  <a:pt x="203" y="0"/>
                </a:moveTo>
                <a:cubicBezTo>
                  <a:pt x="135" y="89"/>
                  <a:pt x="83" y="188"/>
                  <a:pt x="48" y="295"/>
                </a:cubicBezTo>
                <a:cubicBezTo>
                  <a:pt x="16" y="393"/>
                  <a:pt x="0" y="497"/>
                  <a:pt x="0" y="601"/>
                </a:cubicBezTo>
                <a:cubicBezTo>
                  <a:pt x="0" y="669"/>
                  <a:pt x="7" y="736"/>
                  <a:pt x="20" y="801"/>
                </a:cubicBezTo>
                <a:cubicBezTo>
                  <a:pt x="507" y="690"/>
                  <a:pt x="507" y="690"/>
                  <a:pt x="507" y="690"/>
                </a:cubicBezTo>
                <a:cubicBezTo>
                  <a:pt x="593" y="311"/>
                  <a:pt x="593" y="311"/>
                  <a:pt x="593" y="311"/>
                </a:cubicBezTo>
                <a:lnTo>
                  <a:pt x="203" y="0"/>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defTabSz="685800"/>
            <a:endParaRPr lang="id-ID" sz="1350">
              <a:solidFill>
                <a:prstClr val="black"/>
              </a:solidFill>
            </a:endParaRPr>
          </a:p>
        </p:txBody>
      </p:sp>
      <p:sp>
        <p:nvSpPr>
          <p:cNvPr id="6" name="Freeform 6"/>
          <p:cNvSpPr>
            <a:spLocks/>
          </p:cNvSpPr>
          <p:nvPr/>
        </p:nvSpPr>
        <p:spPr bwMode="auto">
          <a:xfrm>
            <a:off x="3407347" y="2184137"/>
            <a:ext cx="1134579" cy="1023531"/>
          </a:xfrm>
          <a:custGeom>
            <a:avLst/>
            <a:gdLst>
              <a:gd name="T0" fmla="*/ 399 w 740"/>
              <a:gd name="T1" fmla="*/ 68 h 667"/>
              <a:gd name="T2" fmla="*/ 0 w 740"/>
              <a:gd name="T3" fmla="*/ 356 h 667"/>
              <a:gd name="T4" fmla="*/ 390 w 740"/>
              <a:gd name="T5" fmla="*/ 667 h 667"/>
              <a:gd name="T6" fmla="*/ 740 w 740"/>
              <a:gd name="T7" fmla="*/ 499 h 667"/>
              <a:gd name="T8" fmla="*/ 740 w 740"/>
              <a:gd name="T9" fmla="*/ 0 h 667"/>
              <a:gd name="T10" fmla="*/ 399 w 740"/>
              <a:gd name="T11" fmla="*/ 68 h 667"/>
            </a:gdLst>
            <a:ahLst/>
            <a:cxnLst>
              <a:cxn ang="0">
                <a:pos x="T0" y="T1"/>
              </a:cxn>
              <a:cxn ang="0">
                <a:pos x="T2" y="T3"/>
              </a:cxn>
              <a:cxn ang="0">
                <a:pos x="T4" y="T5"/>
              </a:cxn>
              <a:cxn ang="0">
                <a:pos x="T6" y="T7"/>
              </a:cxn>
              <a:cxn ang="0">
                <a:pos x="T8" y="T9"/>
              </a:cxn>
              <a:cxn ang="0">
                <a:pos x="T10" y="T11"/>
              </a:cxn>
            </a:cxnLst>
            <a:rect l="0" t="0" r="r" b="b"/>
            <a:pathLst>
              <a:path w="740" h="667">
                <a:moveTo>
                  <a:pt x="399" y="68"/>
                </a:moveTo>
                <a:cubicBezTo>
                  <a:pt x="245" y="128"/>
                  <a:pt x="107" y="228"/>
                  <a:pt x="0" y="356"/>
                </a:cubicBezTo>
                <a:cubicBezTo>
                  <a:pt x="390" y="667"/>
                  <a:pt x="390" y="667"/>
                  <a:pt x="390" y="667"/>
                </a:cubicBezTo>
                <a:cubicBezTo>
                  <a:pt x="740" y="499"/>
                  <a:pt x="740" y="499"/>
                  <a:pt x="740" y="499"/>
                </a:cubicBezTo>
                <a:cubicBezTo>
                  <a:pt x="740" y="0"/>
                  <a:pt x="740" y="0"/>
                  <a:pt x="740" y="0"/>
                </a:cubicBezTo>
                <a:cubicBezTo>
                  <a:pt x="623" y="2"/>
                  <a:pt x="509" y="25"/>
                  <a:pt x="399" y="68"/>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defTabSz="685800"/>
            <a:endParaRPr lang="id-ID" sz="1350">
              <a:solidFill>
                <a:prstClr val="black"/>
              </a:solidFill>
            </a:endParaRPr>
          </a:p>
        </p:txBody>
      </p:sp>
      <p:sp>
        <p:nvSpPr>
          <p:cNvPr id="7" name="Freeform 7"/>
          <p:cNvSpPr>
            <a:spLocks/>
          </p:cNvSpPr>
          <p:nvPr/>
        </p:nvSpPr>
        <p:spPr bwMode="auto">
          <a:xfrm>
            <a:off x="4608974" y="2184137"/>
            <a:ext cx="1134579" cy="1023531"/>
          </a:xfrm>
          <a:custGeom>
            <a:avLst/>
            <a:gdLst>
              <a:gd name="T0" fmla="*/ 474 w 740"/>
              <a:gd name="T1" fmla="*/ 132 h 667"/>
              <a:gd name="T2" fmla="*/ 0 w 740"/>
              <a:gd name="T3" fmla="*/ 0 h 667"/>
              <a:gd name="T4" fmla="*/ 0 w 740"/>
              <a:gd name="T5" fmla="*/ 499 h 667"/>
              <a:gd name="T6" fmla="*/ 350 w 740"/>
              <a:gd name="T7" fmla="*/ 667 h 667"/>
              <a:gd name="T8" fmla="*/ 740 w 740"/>
              <a:gd name="T9" fmla="*/ 356 h 667"/>
              <a:gd name="T10" fmla="*/ 474 w 740"/>
              <a:gd name="T11" fmla="*/ 132 h 667"/>
            </a:gdLst>
            <a:ahLst/>
            <a:cxnLst>
              <a:cxn ang="0">
                <a:pos x="T0" y="T1"/>
              </a:cxn>
              <a:cxn ang="0">
                <a:pos x="T2" y="T3"/>
              </a:cxn>
              <a:cxn ang="0">
                <a:pos x="T4" y="T5"/>
              </a:cxn>
              <a:cxn ang="0">
                <a:pos x="T6" y="T7"/>
              </a:cxn>
              <a:cxn ang="0">
                <a:pos x="T8" y="T9"/>
              </a:cxn>
              <a:cxn ang="0">
                <a:pos x="T10" y="T11"/>
              </a:cxn>
            </a:cxnLst>
            <a:rect l="0" t="0" r="r" b="b"/>
            <a:pathLst>
              <a:path w="740" h="667">
                <a:moveTo>
                  <a:pt x="474" y="132"/>
                </a:moveTo>
                <a:cubicBezTo>
                  <a:pt x="330" y="49"/>
                  <a:pt x="166" y="3"/>
                  <a:pt x="0" y="0"/>
                </a:cubicBezTo>
                <a:cubicBezTo>
                  <a:pt x="0" y="499"/>
                  <a:pt x="0" y="499"/>
                  <a:pt x="0" y="499"/>
                </a:cubicBezTo>
                <a:cubicBezTo>
                  <a:pt x="350" y="667"/>
                  <a:pt x="350" y="667"/>
                  <a:pt x="350" y="667"/>
                </a:cubicBezTo>
                <a:cubicBezTo>
                  <a:pt x="740" y="356"/>
                  <a:pt x="740" y="356"/>
                  <a:pt x="740" y="356"/>
                </a:cubicBezTo>
                <a:cubicBezTo>
                  <a:pt x="665" y="266"/>
                  <a:pt x="575" y="191"/>
                  <a:pt x="474" y="132"/>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685800"/>
            <a:endParaRPr lang="id-ID" sz="1350">
              <a:solidFill>
                <a:prstClr val="black"/>
              </a:solidFill>
            </a:endParaRPr>
          </a:p>
        </p:txBody>
      </p:sp>
      <p:sp>
        <p:nvSpPr>
          <p:cNvPr id="8" name="Freeform 8"/>
          <p:cNvSpPr>
            <a:spLocks/>
          </p:cNvSpPr>
          <p:nvPr/>
        </p:nvSpPr>
        <p:spPr bwMode="auto">
          <a:xfrm>
            <a:off x="4932690" y="3905387"/>
            <a:ext cx="1117817" cy="1155531"/>
          </a:xfrm>
          <a:custGeom>
            <a:avLst/>
            <a:gdLst>
              <a:gd name="T0" fmla="*/ 263 w 729"/>
              <a:gd name="T1" fmla="*/ 729 h 754"/>
              <a:gd name="T2" fmla="*/ 350 w 729"/>
              <a:gd name="T3" fmla="*/ 672 h 754"/>
              <a:gd name="T4" fmla="*/ 729 w 729"/>
              <a:gd name="T5" fmla="*/ 111 h 754"/>
              <a:gd name="T6" fmla="*/ 243 w 729"/>
              <a:gd name="T7" fmla="*/ 0 h 754"/>
              <a:gd name="T8" fmla="*/ 0 w 729"/>
              <a:gd name="T9" fmla="*/ 304 h 754"/>
              <a:gd name="T10" fmla="*/ 217 w 729"/>
              <a:gd name="T11" fmla="*/ 754 h 754"/>
              <a:gd name="T12" fmla="*/ 263 w 729"/>
              <a:gd name="T13" fmla="*/ 729 h 754"/>
            </a:gdLst>
            <a:ahLst/>
            <a:cxnLst>
              <a:cxn ang="0">
                <a:pos x="T0" y="T1"/>
              </a:cxn>
              <a:cxn ang="0">
                <a:pos x="T2" y="T3"/>
              </a:cxn>
              <a:cxn ang="0">
                <a:pos x="T4" y="T5"/>
              </a:cxn>
              <a:cxn ang="0">
                <a:pos x="T6" y="T7"/>
              </a:cxn>
              <a:cxn ang="0">
                <a:pos x="T8" y="T9"/>
              </a:cxn>
              <a:cxn ang="0">
                <a:pos x="T10" y="T11"/>
              </a:cxn>
              <a:cxn ang="0">
                <a:pos x="T12" y="T13"/>
              </a:cxn>
            </a:cxnLst>
            <a:rect l="0" t="0" r="r" b="b"/>
            <a:pathLst>
              <a:path w="729" h="754">
                <a:moveTo>
                  <a:pt x="263" y="729"/>
                </a:moveTo>
                <a:cubicBezTo>
                  <a:pt x="293" y="711"/>
                  <a:pt x="322" y="692"/>
                  <a:pt x="350" y="672"/>
                </a:cubicBezTo>
                <a:cubicBezTo>
                  <a:pt x="539" y="534"/>
                  <a:pt x="673" y="336"/>
                  <a:pt x="729" y="111"/>
                </a:cubicBezTo>
                <a:cubicBezTo>
                  <a:pt x="243" y="0"/>
                  <a:pt x="243" y="0"/>
                  <a:pt x="243" y="0"/>
                </a:cubicBezTo>
                <a:cubicBezTo>
                  <a:pt x="0" y="304"/>
                  <a:pt x="0" y="304"/>
                  <a:pt x="0" y="304"/>
                </a:cubicBezTo>
                <a:cubicBezTo>
                  <a:pt x="217" y="754"/>
                  <a:pt x="217" y="754"/>
                  <a:pt x="217" y="754"/>
                </a:cubicBezTo>
                <a:cubicBezTo>
                  <a:pt x="233" y="746"/>
                  <a:pt x="248" y="737"/>
                  <a:pt x="263" y="729"/>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defTabSz="685800"/>
            <a:endParaRPr lang="id-ID" sz="1350">
              <a:solidFill>
                <a:prstClr val="black"/>
              </a:solidFill>
            </a:endParaRPr>
          </a:p>
        </p:txBody>
      </p:sp>
      <p:sp>
        <p:nvSpPr>
          <p:cNvPr id="9" name="Freeform 9"/>
          <p:cNvSpPr>
            <a:spLocks/>
          </p:cNvSpPr>
          <p:nvPr/>
        </p:nvSpPr>
        <p:spPr bwMode="auto">
          <a:xfrm>
            <a:off x="3945825" y="4399866"/>
            <a:ext cx="1259246" cy="825529"/>
          </a:xfrm>
          <a:custGeom>
            <a:avLst/>
            <a:gdLst>
              <a:gd name="T0" fmla="*/ 217 w 822"/>
              <a:gd name="T1" fmla="*/ 0 h 538"/>
              <a:gd name="T2" fmla="*/ 0 w 822"/>
              <a:gd name="T3" fmla="*/ 449 h 538"/>
              <a:gd name="T4" fmla="*/ 411 w 822"/>
              <a:gd name="T5" fmla="*/ 538 h 538"/>
              <a:gd name="T6" fmla="*/ 822 w 822"/>
              <a:gd name="T7" fmla="*/ 449 h 538"/>
              <a:gd name="T8" fmla="*/ 605 w 822"/>
              <a:gd name="T9" fmla="*/ 0 h 538"/>
              <a:gd name="T10" fmla="*/ 217 w 822"/>
              <a:gd name="T11" fmla="*/ 0 h 538"/>
            </a:gdLst>
            <a:ahLst/>
            <a:cxnLst>
              <a:cxn ang="0">
                <a:pos x="T0" y="T1"/>
              </a:cxn>
              <a:cxn ang="0">
                <a:pos x="T2" y="T3"/>
              </a:cxn>
              <a:cxn ang="0">
                <a:pos x="T4" y="T5"/>
              </a:cxn>
              <a:cxn ang="0">
                <a:pos x="T6" y="T7"/>
              </a:cxn>
              <a:cxn ang="0">
                <a:pos x="T8" y="T9"/>
              </a:cxn>
              <a:cxn ang="0">
                <a:pos x="T10" y="T11"/>
              </a:cxn>
            </a:cxnLst>
            <a:rect l="0" t="0" r="r" b="b"/>
            <a:pathLst>
              <a:path w="822" h="538">
                <a:moveTo>
                  <a:pt x="217" y="0"/>
                </a:moveTo>
                <a:cubicBezTo>
                  <a:pt x="0" y="449"/>
                  <a:pt x="0" y="449"/>
                  <a:pt x="0" y="449"/>
                </a:cubicBezTo>
                <a:cubicBezTo>
                  <a:pt x="129" y="508"/>
                  <a:pt x="267" y="538"/>
                  <a:pt x="411" y="538"/>
                </a:cubicBezTo>
                <a:cubicBezTo>
                  <a:pt x="555" y="538"/>
                  <a:pt x="693" y="508"/>
                  <a:pt x="822" y="449"/>
                </a:cubicBezTo>
                <a:cubicBezTo>
                  <a:pt x="605" y="0"/>
                  <a:pt x="605" y="0"/>
                  <a:pt x="605" y="0"/>
                </a:cubicBezTo>
                <a:lnTo>
                  <a:pt x="217"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685800"/>
            <a:endParaRPr lang="id-ID" sz="1350">
              <a:solidFill>
                <a:prstClr val="black"/>
              </a:solidFill>
            </a:endParaRPr>
          </a:p>
        </p:txBody>
      </p:sp>
      <p:sp>
        <p:nvSpPr>
          <p:cNvPr id="10" name="Freeform 10"/>
          <p:cNvSpPr>
            <a:spLocks/>
          </p:cNvSpPr>
          <p:nvPr/>
        </p:nvSpPr>
        <p:spPr bwMode="auto">
          <a:xfrm>
            <a:off x="5187263" y="2782332"/>
            <a:ext cx="909339" cy="1228865"/>
          </a:xfrm>
          <a:custGeom>
            <a:avLst/>
            <a:gdLst>
              <a:gd name="T0" fmla="*/ 545 w 593"/>
              <a:gd name="T1" fmla="*/ 295 h 801"/>
              <a:gd name="T2" fmla="*/ 390 w 593"/>
              <a:gd name="T3" fmla="*/ 0 h 801"/>
              <a:gd name="T4" fmla="*/ 0 w 593"/>
              <a:gd name="T5" fmla="*/ 311 h 801"/>
              <a:gd name="T6" fmla="*/ 86 w 593"/>
              <a:gd name="T7" fmla="*/ 690 h 801"/>
              <a:gd name="T8" fmla="*/ 573 w 593"/>
              <a:gd name="T9" fmla="*/ 801 h 801"/>
              <a:gd name="T10" fmla="*/ 593 w 593"/>
              <a:gd name="T11" fmla="*/ 601 h 801"/>
              <a:gd name="T12" fmla="*/ 545 w 593"/>
              <a:gd name="T13" fmla="*/ 295 h 801"/>
            </a:gdLst>
            <a:ahLst/>
            <a:cxnLst>
              <a:cxn ang="0">
                <a:pos x="T0" y="T1"/>
              </a:cxn>
              <a:cxn ang="0">
                <a:pos x="T2" y="T3"/>
              </a:cxn>
              <a:cxn ang="0">
                <a:pos x="T4" y="T5"/>
              </a:cxn>
              <a:cxn ang="0">
                <a:pos x="T6" y="T7"/>
              </a:cxn>
              <a:cxn ang="0">
                <a:pos x="T8" y="T9"/>
              </a:cxn>
              <a:cxn ang="0">
                <a:pos x="T10" y="T11"/>
              </a:cxn>
              <a:cxn ang="0">
                <a:pos x="T12" y="T13"/>
              </a:cxn>
            </a:cxnLst>
            <a:rect l="0" t="0" r="r" b="b"/>
            <a:pathLst>
              <a:path w="593" h="801">
                <a:moveTo>
                  <a:pt x="545" y="295"/>
                </a:moveTo>
                <a:cubicBezTo>
                  <a:pt x="510" y="188"/>
                  <a:pt x="458" y="89"/>
                  <a:pt x="390" y="0"/>
                </a:cubicBezTo>
                <a:cubicBezTo>
                  <a:pt x="0" y="311"/>
                  <a:pt x="0" y="311"/>
                  <a:pt x="0" y="311"/>
                </a:cubicBezTo>
                <a:cubicBezTo>
                  <a:pt x="86" y="690"/>
                  <a:pt x="86" y="690"/>
                  <a:pt x="86" y="690"/>
                </a:cubicBezTo>
                <a:cubicBezTo>
                  <a:pt x="573" y="801"/>
                  <a:pt x="573" y="801"/>
                  <a:pt x="573" y="801"/>
                </a:cubicBezTo>
                <a:cubicBezTo>
                  <a:pt x="586" y="736"/>
                  <a:pt x="593" y="668"/>
                  <a:pt x="593" y="601"/>
                </a:cubicBezTo>
                <a:cubicBezTo>
                  <a:pt x="593" y="497"/>
                  <a:pt x="577" y="393"/>
                  <a:pt x="545" y="295"/>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defTabSz="685800"/>
            <a:endParaRPr lang="id-ID" sz="1350">
              <a:solidFill>
                <a:prstClr val="black"/>
              </a:solidFill>
            </a:endParaRPr>
          </a:p>
        </p:txBody>
      </p:sp>
      <p:sp>
        <p:nvSpPr>
          <p:cNvPr id="11" name="Freeform 11"/>
          <p:cNvSpPr>
            <a:spLocks/>
          </p:cNvSpPr>
          <p:nvPr/>
        </p:nvSpPr>
        <p:spPr bwMode="auto">
          <a:xfrm>
            <a:off x="3100393" y="3905387"/>
            <a:ext cx="1117817" cy="1155531"/>
          </a:xfrm>
          <a:custGeom>
            <a:avLst/>
            <a:gdLst>
              <a:gd name="T0" fmla="*/ 512 w 729"/>
              <a:gd name="T1" fmla="*/ 754 h 754"/>
              <a:gd name="T2" fmla="*/ 729 w 729"/>
              <a:gd name="T3" fmla="*/ 304 h 754"/>
              <a:gd name="T4" fmla="*/ 486 w 729"/>
              <a:gd name="T5" fmla="*/ 0 h 754"/>
              <a:gd name="T6" fmla="*/ 0 w 729"/>
              <a:gd name="T7" fmla="*/ 111 h 754"/>
              <a:gd name="T8" fmla="*/ 142 w 729"/>
              <a:gd name="T9" fmla="*/ 428 h 754"/>
              <a:gd name="T10" fmla="*/ 512 w 729"/>
              <a:gd name="T11" fmla="*/ 754 h 754"/>
            </a:gdLst>
            <a:ahLst/>
            <a:cxnLst>
              <a:cxn ang="0">
                <a:pos x="T0" y="T1"/>
              </a:cxn>
              <a:cxn ang="0">
                <a:pos x="T2" y="T3"/>
              </a:cxn>
              <a:cxn ang="0">
                <a:pos x="T4" y="T5"/>
              </a:cxn>
              <a:cxn ang="0">
                <a:pos x="T6" y="T7"/>
              </a:cxn>
              <a:cxn ang="0">
                <a:pos x="T8" y="T9"/>
              </a:cxn>
              <a:cxn ang="0">
                <a:pos x="T10" y="T11"/>
              </a:cxn>
            </a:cxnLst>
            <a:rect l="0" t="0" r="r" b="b"/>
            <a:pathLst>
              <a:path w="729" h="754">
                <a:moveTo>
                  <a:pt x="512" y="754"/>
                </a:moveTo>
                <a:cubicBezTo>
                  <a:pt x="729" y="304"/>
                  <a:pt x="729" y="304"/>
                  <a:pt x="729" y="304"/>
                </a:cubicBezTo>
                <a:cubicBezTo>
                  <a:pt x="486" y="0"/>
                  <a:pt x="486" y="0"/>
                  <a:pt x="486" y="0"/>
                </a:cubicBezTo>
                <a:cubicBezTo>
                  <a:pt x="0" y="111"/>
                  <a:pt x="0" y="111"/>
                  <a:pt x="0" y="111"/>
                </a:cubicBezTo>
                <a:cubicBezTo>
                  <a:pt x="28" y="225"/>
                  <a:pt x="76" y="331"/>
                  <a:pt x="142" y="428"/>
                </a:cubicBezTo>
                <a:cubicBezTo>
                  <a:pt x="236" y="566"/>
                  <a:pt x="363" y="678"/>
                  <a:pt x="512" y="754"/>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defTabSz="685800"/>
            <a:endParaRPr lang="id-ID" sz="1350">
              <a:solidFill>
                <a:prstClr val="black"/>
              </a:solidFill>
            </a:endParaRPr>
          </a:p>
        </p:txBody>
      </p:sp>
      <p:cxnSp>
        <p:nvCxnSpPr>
          <p:cNvPr id="66" name="Straight Connector 65"/>
          <p:cNvCxnSpPr/>
          <p:nvPr/>
        </p:nvCxnSpPr>
        <p:spPr>
          <a:xfrm>
            <a:off x="2762010" y="2231662"/>
            <a:ext cx="1072108" cy="250668"/>
          </a:xfrm>
          <a:prstGeom prst="line">
            <a:avLst/>
          </a:prstGeom>
          <a:ln>
            <a:headEnd type="diamon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stCxn id="10" idx="0"/>
          </p:cNvCxnSpPr>
          <p:nvPr/>
        </p:nvCxnSpPr>
        <p:spPr>
          <a:xfrm flipV="1">
            <a:off x="6022996" y="2903652"/>
            <a:ext cx="333431" cy="331258"/>
          </a:xfrm>
          <a:prstGeom prst="line">
            <a:avLst/>
          </a:prstGeom>
          <a:ln>
            <a:solidFill>
              <a:schemeClr val="accent3"/>
            </a:solidFill>
            <a:headEnd type="none"/>
            <a:tailEnd type="diamond"/>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V="1">
            <a:off x="5691161" y="4083196"/>
            <a:ext cx="817590" cy="387189"/>
          </a:xfrm>
          <a:prstGeom prst="line">
            <a:avLst/>
          </a:prstGeom>
          <a:ln>
            <a:solidFill>
              <a:schemeClr val="accent4"/>
            </a:solidFill>
            <a:headEnd type="none"/>
            <a:tailEnd type="diamond"/>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4783862" y="5143352"/>
            <a:ext cx="1099895" cy="268554"/>
          </a:xfrm>
          <a:prstGeom prst="line">
            <a:avLst/>
          </a:prstGeom>
          <a:ln>
            <a:solidFill>
              <a:schemeClr val="accent5"/>
            </a:solidFill>
            <a:headEnd type="none"/>
            <a:tailEnd type="diamond"/>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2523062" y="3663739"/>
            <a:ext cx="776934" cy="0"/>
          </a:xfrm>
          <a:prstGeom prst="line">
            <a:avLst/>
          </a:prstGeom>
          <a:ln>
            <a:solidFill>
              <a:schemeClr val="tx1">
                <a:lumMod val="75000"/>
                <a:lumOff val="25000"/>
              </a:schemeClr>
            </a:solidFill>
            <a:headEnd type="diamond"/>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105" idx="3"/>
          </p:cNvCxnSpPr>
          <p:nvPr/>
        </p:nvCxnSpPr>
        <p:spPr>
          <a:xfrm flipV="1">
            <a:off x="2642149" y="4764129"/>
            <a:ext cx="973491" cy="615291"/>
          </a:xfrm>
          <a:prstGeom prst="line">
            <a:avLst/>
          </a:prstGeom>
          <a:ln>
            <a:solidFill>
              <a:schemeClr val="accent6"/>
            </a:solidFill>
            <a:headEnd type="diamond"/>
          </a:ln>
        </p:spPr>
        <p:style>
          <a:lnRef idx="1">
            <a:schemeClr val="accent1"/>
          </a:lnRef>
          <a:fillRef idx="0">
            <a:schemeClr val="accent1"/>
          </a:fillRef>
          <a:effectRef idx="0">
            <a:schemeClr val="accent1"/>
          </a:effectRef>
          <a:fontRef idx="minor">
            <a:schemeClr val="tx1"/>
          </a:fontRef>
        </p:style>
      </p:cxnSp>
      <p:sp>
        <p:nvSpPr>
          <p:cNvPr id="81" name="TextBox 80"/>
          <p:cNvSpPr txBox="1"/>
          <p:nvPr/>
        </p:nvSpPr>
        <p:spPr>
          <a:xfrm>
            <a:off x="5849036" y="1692052"/>
            <a:ext cx="1327608" cy="276999"/>
          </a:xfrm>
          <a:prstGeom prst="rect">
            <a:avLst/>
          </a:prstGeom>
          <a:noFill/>
        </p:spPr>
        <p:txBody>
          <a:bodyPr wrap="none" rtlCol="0">
            <a:spAutoFit/>
          </a:bodyPr>
          <a:lstStyle/>
          <a:p>
            <a:pPr defTabSz="685800"/>
            <a:r>
              <a:rPr lang="en-US" sz="1200" dirty="0" smtClean="0">
                <a:solidFill>
                  <a:prstClr val="black"/>
                </a:solidFill>
              </a:rPr>
              <a:t>Policy network</a:t>
            </a:r>
            <a:endParaRPr lang="id-ID" sz="1200" dirty="0">
              <a:solidFill>
                <a:prstClr val="black"/>
              </a:solidFill>
            </a:endParaRPr>
          </a:p>
        </p:txBody>
      </p:sp>
      <p:sp>
        <p:nvSpPr>
          <p:cNvPr id="82" name="TextBox 81"/>
          <p:cNvSpPr txBox="1"/>
          <p:nvPr/>
        </p:nvSpPr>
        <p:spPr>
          <a:xfrm>
            <a:off x="5849036" y="1843769"/>
            <a:ext cx="2251431" cy="784830"/>
          </a:xfrm>
          <a:prstGeom prst="rect">
            <a:avLst/>
          </a:prstGeom>
          <a:noFill/>
        </p:spPr>
        <p:txBody>
          <a:bodyPr wrap="square" rtlCol="0">
            <a:spAutoFit/>
          </a:bodyPr>
          <a:lstStyle/>
          <a:p>
            <a:pPr defTabSz="685800">
              <a:lnSpc>
                <a:spcPct val="150000"/>
              </a:lnSpc>
            </a:pPr>
            <a:r>
              <a:rPr lang="en-US" sz="1000" dirty="0" smtClean="0">
                <a:solidFill>
                  <a:prstClr val="black">
                    <a:lumMod val="65000"/>
                    <a:lumOff val="35000"/>
                  </a:prstClr>
                </a:solidFill>
              </a:rPr>
              <a:t>Policy research networks  associated with AGRODEP in Africa south of Sahara</a:t>
            </a:r>
            <a:endParaRPr lang="en-US" sz="1000" b="1" dirty="0">
              <a:solidFill>
                <a:prstClr val="black">
                  <a:lumMod val="65000"/>
                  <a:lumOff val="35000"/>
                </a:prstClr>
              </a:solidFill>
            </a:endParaRPr>
          </a:p>
        </p:txBody>
      </p:sp>
      <p:sp>
        <p:nvSpPr>
          <p:cNvPr id="86" name="TextBox 85"/>
          <p:cNvSpPr txBox="1"/>
          <p:nvPr/>
        </p:nvSpPr>
        <p:spPr>
          <a:xfrm>
            <a:off x="6388890" y="2634078"/>
            <a:ext cx="1741182" cy="276999"/>
          </a:xfrm>
          <a:prstGeom prst="rect">
            <a:avLst/>
          </a:prstGeom>
          <a:noFill/>
        </p:spPr>
        <p:txBody>
          <a:bodyPr wrap="none" rtlCol="0">
            <a:spAutoFit/>
          </a:bodyPr>
          <a:lstStyle/>
          <a:p>
            <a:pPr defTabSz="685800"/>
            <a:r>
              <a:rPr lang="en-GB" sz="1200" dirty="0" smtClean="0">
                <a:solidFill>
                  <a:prstClr val="black"/>
                </a:solidFill>
              </a:rPr>
              <a:t>Media </a:t>
            </a:r>
            <a:r>
              <a:rPr lang="en-GB" sz="1200" dirty="0">
                <a:solidFill>
                  <a:prstClr val="black"/>
                </a:solidFill>
              </a:rPr>
              <a:t>analysis tools</a:t>
            </a:r>
            <a:endParaRPr lang="id-ID" sz="1200" dirty="0">
              <a:solidFill>
                <a:prstClr val="black"/>
              </a:solidFill>
            </a:endParaRPr>
          </a:p>
        </p:txBody>
      </p:sp>
      <p:sp>
        <p:nvSpPr>
          <p:cNvPr id="87" name="TextBox 86"/>
          <p:cNvSpPr txBox="1"/>
          <p:nvPr/>
        </p:nvSpPr>
        <p:spPr>
          <a:xfrm>
            <a:off x="6388890" y="2785795"/>
            <a:ext cx="2251431" cy="553998"/>
          </a:xfrm>
          <a:prstGeom prst="rect">
            <a:avLst/>
          </a:prstGeom>
          <a:noFill/>
        </p:spPr>
        <p:txBody>
          <a:bodyPr wrap="square" rtlCol="0">
            <a:spAutoFit/>
          </a:bodyPr>
          <a:lstStyle/>
          <a:p>
            <a:pPr defTabSz="685800">
              <a:lnSpc>
                <a:spcPct val="150000"/>
              </a:lnSpc>
            </a:pPr>
            <a:r>
              <a:rPr lang="en-US" sz="1000" dirty="0" smtClean="0">
                <a:solidFill>
                  <a:prstClr val="black">
                    <a:lumMod val="65000"/>
                    <a:lumOff val="35000"/>
                  </a:prstClr>
                </a:solidFill>
              </a:rPr>
              <a:t>Covering  regional major crops including maize</a:t>
            </a:r>
            <a:endParaRPr lang="en-US" sz="1000" b="1" dirty="0">
              <a:solidFill>
                <a:prstClr val="black">
                  <a:lumMod val="65000"/>
                  <a:lumOff val="35000"/>
                </a:prstClr>
              </a:solidFill>
            </a:endParaRPr>
          </a:p>
        </p:txBody>
      </p:sp>
      <p:grpSp>
        <p:nvGrpSpPr>
          <p:cNvPr id="2" name="Group 1"/>
          <p:cNvGrpSpPr/>
          <p:nvPr/>
        </p:nvGrpSpPr>
        <p:grpSpPr>
          <a:xfrm>
            <a:off x="4648011" y="1888347"/>
            <a:ext cx="1235746" cy="301163"/>
            <a:chOff x="4613289" y="1073248"/>
            <a:chExt cx="1235746" cy="301163"/>
          </a:xfrm>
        </p:grpSpPr>
        <p:cxnSp>
          <p:nvCxnSpPr>
            <p:cNvPr id="68" name="Straight Connector 67"/>
            <p:cNvCxnSpPr/>
            <p:nvPr/>
          </p:nvCxnSpPr>
          <p:spPr>
            <a:xfrm>
              <a:off x="4615323" y="1073248"/>
              <a:ext cx="1233712" cy="0"/>
            </a:xfrm>
            <a:prstGeom prst="line">
              <a:avLst/>
            </a:prstGeom>
            <a:ln>
              <a:solidFill>
                <a:schemeClr val="accent2"/>
              </a:solidFill>
              <a:headEnd type="none"/>
              <a:tailEnd type="diamond"/>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flipV="1">
              <a:off x="4613289" y="1073248"/>
              <a:ext cx="0" cy="301163"/>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92" name="TextBox 91"/>
          <p:cNvSpPr txBox="1"/>
          <p:nvPr/>
        </p:nvSpPr>
        <p:spPr>
          <a:xfrm>
            <a:off x="6579390" y="3816852"/>
            <a:ext cx="1077667" cy="276999"/>
          </a:xfrm>
          <a:prstGeom prst="rect">
            <a:avLst/>
          </a:prstGeom>
          <a:noFill/>
        </p:spPr>
        <p:txBody>
          <a:bodyPr wrap="none" rtlCol="0">
            <a:spAutoFit/>
          </a:bodyPr>
          <a:lstStyle/>
          <a:p>
            <a:pPr defTabSz="685800"/>
            <a:r>
              <a:rPr lang="en-US" sz="1200" dirty="0" smtClean="0">
                <a:solidFill>
                  <a:prstClr val="black"/>
                </a:solidFill>
              </a:rPr>
              <a:t>Soil profiles</a:t>
            </a:r>
            <a:endParaRPr lang="id-ID" sz="1200" dirty="0">
              <a:solidFill>
                <a:prstClr val="black"/>
              </a:solidFill>
            </a:endParaRPr>
          </a:p>
        </p:txBody>
      </p:sp>
      <p:sp>
        <p:nvSpPr>
          <p:cNvPr id="93" name="TextBox 92"/>
          <p:cNvSpPr txBox="1"/>
          <p:nvPr/>
        </p:nvSpPr>
        <p:spPr>
          <a:xfrm>
            <a:off x="6579390" y="3968569"/>
            <a:ext cx="2251431" cy="553998"/>
          </a:xfrm>
          <a:prstGeom prst="rect">
            <a:avLst/>
          </a:prstGeom>
          <a:noFill/>
        </p:spPr>
        <p:txBody>
          <a:bodyPr wrap="square" rtlCol="0">
            <a:spAutoFit/>
          </a:bodyPr>
          <a:lstStyle/>
          <a:p>
            <a:pPr defTabSz="685800">
              <a:lnSpc>
                <a:spcPct val="150000"/>
              </a:lnSpc>
            </a:pPr>
            <a:r>
              <a:rPr lang="en-US" sz="1000" dirty="0" smtClean="0">
                <a:solidFill>
                  <a:prstClr val="black">
                    <a:lumMod val="65000"/>
                    <a:lumOff val="35000"/>
                  </a:prstClr>
                </a:solidFill>
              </a:rPr>
              <a:t>Soil grid map application collaborated with SoilGrids.org</a:t>
            </a:r>
            <a:endParaRPr lang="en-US" sz="1000" b="1" dirty="0">
              <a:solidFill>
                <a:prstClr val="black">
                  <a:lumMod val="65000"/>
                  <a:lumOff val="35000"/>
                </a:prstClr>
              </a:solidFill>
            </a:endParaRPr>
          </a:p>
        </p:txBody>
      </p:sp>
      <p:sp>
        <p:nvSpPr>
          <p:cNvPr id="94" name="TextBox 93"/>
          <p:cNvSpPr txBox="1"/>
          <p:nvPr/>
        </p:nvSpPr>
        <p:spPr>
          <a:xfrm>
            <a:off x="6113013" y="5221224"/>
            <a:ext cx="2358466" cy="276999"/>
          </a:xfrm>
          <a:prstGeom prst="rect">
            <a:avLst/>
          </a:prstGeom>
          <a:noFill/>
        </p:spPr>
        <p:txBody>
          <a:bodyPr wrap="none" rtlCol="0">
            <a:spAutoFit/>
          </a:bodyPr>
          <a:lstStyle/>
          <a:p>
            <a:pPr defTabSz="685800"/>
            <a:r>
              <a:rPr lang="en-US" sz="1200" dirty="0" smtClean="0">
                <a:solidFill>
                  <a:prstClr val="black"/>
                </a:solidFill>
              </a:rPr>
              <a:t>Agricultural R &amp; D indicators</a:t>
            </a:r>
            <a:endParaRPr lang="id-ID" sz="1200" dirty="0">
              <a:solidFill>
                <a:prstClr val="black"/>
              </a:solidFill>
            </a:endParaRPr>
          </a:p>
        </p:txBody>
      </p:sp>
      <p:sp>
        <p:nvSpPr>
          <p:cNvPr id="95" name="TextBox 94"/>
          <p:cNvSpPr txBox="1"/>
          <p:nvPr/>
        </p:nvSpPr>
        <p:spPr>
          <a:xfrm>
            <a:off x="6113013" y="5392807"/>
            <a:ext cx="2251431" cy="784830"/>
          </a:xfrm>
          <a:prstGeom prst="rect">
            <a:avLst/>
          </a:prstGeom>
          <a:noFill/>
        </p:spPr>
        <p:txBody>
          <a:bodyPr wrap="square" rtlCol="0">
            <a:spAutoFit/>
          </a:bodyPr>
          <a:lstStyle/>
          <a:p>
            <a:pPr defTabSz="685800">
              <a:lnSpc>
                <a:spcPct val="150000"/>
              </a:lnSpc>
            </a:pPr>
            <a:r>
              <a:rPr lang="en-US" sz="1000" dirty="0" smtClean="0">
                <a:solidFill>
                  <a:prstClr val="black">
                    <a:lumMod val="65000"/>
                    <a:lumOff val="35000"/>
                  </a:prstClr>
                </a:solidFill>
              </a:rPr>
              <a:t>on </a:t>
            </a:r>
            <a:r>
              <a:rPr lang="en-US" sz="1000" dirty="0">
                <a:solidFill>
                  <a:prstClr val="black">
                    <a:lumMod val="65000"/>
                    <a:lumOff val="35000"/>
                  </a:prstClr>
                </a:solidFill>
              </a:rPr>
              <a:t>institutional, investment, and capacity trends in agricultural R&amp;D.</a:t>
            </a:r>
            <a:endParaRPr lang="en-US" sz="1000" b="1" dirty="0">
              <a:solidFill>
                <a:prstClr val="black">
                  <a:lumMod val="65000"/>
                  <a:lumOff val="35000"/>
                </a:prstClr>
              </a:solidFill>
            </a:endParaRPr>
          </a:p>
        </p:txBody>
      </p:sp>
      <p:sp>
        <p:nvSpPr>
          <p:cNvPr id="99" name="TextBox 98"/>
          <p:cNvSpPr txBox="1"/>
          <p:nvPr/>
        </p:nvSpPr>
        <p:spPr>
          <a:xfrm>
            <a:off x="-34076" y="1930499"/>
            <a:ext cx="2796086" cy="276999"/>
          </a:xfrm>
          <a:prstGeom prst="rect">
            <a:avLst/>
          </a:prstGeom>
          <a:noFill/>
        </p:spPr>
        <p:txBody>
          <a:bodyPr wrap="none" rtlCol="0">
            <a:spAutoFit/>
          </a:bodyPr>
          <a:lstStyle/>
          <a:p>
            <a:pPr algn="r" defTabSz="685800"/>
            <a:r>
              <a:rPr lang="en-GB" sz="1200" dirty="0" smtClean="0">
                <a:solidFill>
                  <a:prstClr val="black"/>
                </a:solidFill>
              </a:rPr>
              <a:t>Volatility &amp; Early </a:t>
            </a:r>
            <a:r>
              <a:rPr lang="en-GB" sz="1200" dirty="0">
                <a:solidFill>
                  <a:prstClr val="black"/>
                </a:solidFill>
              </a:rPr>
              <a:t>warning systems</a:t>
            </a:r>
            <a:endParaRPr lang="id-ID" sz="1200" dirty="0">
              <a:solidFill>
                <a:prstClr val="black"/>
              </a:solidFill>
            </a:endParaRPr>
          </a:p>
        </p:txBody>
      </p:sp>
      <p:sp>
        <p:nvSpPr>
          <p:cNvPr id="100" name="TextBox 99"/>
          <p:cNvSpPr txBox="1"/>
          <p:nvPr/>
        </p:nvSpPr>
        <p:spPr>
          <a:xfrm>
            <a:off x="365903" y="2143395"/>
            <a:ext cx="2251431" cy="529376"/>
          </a:xfrm>
          <a:prstGeom prst="rect">
            <a:avLst/>
          </a:prstGeom>
          <a:noFill/>
        </p:spPr>
        <p:txBody>
          <a:bodyPr wrap="square" rtlCol="0">
            <a:spAutoFit/>
          </a:bodyPr>
          <a:lstStyle/>
          <a:p>
            <a:pPr algn="r" defTabSz="685800">
              <a:lnSpc>
                <a:spcPct val="150000"/>
              </a:lnSpc>
            </a:pPr>
            <a:r>
              <a:rPr lang="en-US" sz="1000" dirty="0">
                <a:solidFill>
                  <a:prstClr val="black">
                    <a:lumMod val="65000"/>
                    <a:lumOff val="35000"/>
                  </a:prstClr>
                </a:solidFill>
              </a:rPr>
              <a:t>volatility of local prices and of relevant commodities</a:t>
            </a:r>
            <a:endParaRPr lang="en-US" sz="1000" b="1" dirty="0">
              <a:solidFill>
                <a:prstClr val="black">
                  <a:lumMod val="65000"/>
                  <a:lumOff val="35000"/>
                </a:prstClr>
              </a:solidFill>
            </a:endParaRPr>
          </a:p>
        </p:txBody>
      </p:sp>
      <p:sp>
        <p:nvSpPr>
          <p:cNvPr id="101" name="TextBox 100"/>
          <p:cNvSpPr txBox="1"/>
          <p:nvPr/>
        </p:nvSpPr>
        <p:spPr>
          <a:xfrm>
            <a:off x="429420" y="3417009"/>
            <a:ext cx="1994457" cy="276999"/>
          </a:xfrm>
          <a:prstGeom prst="rect">
            <a:avLst/>
          </a:prstGeom>
          <a:noFill/>
        </p:spPr>
        <p:txBody>
          <a:bodyPr wrap="none" rtlCol="0">
            <a:spAutoFit/>
          </a:bodyPr>
          <a:lstStyle/>
          <a:p>
            <a:pPr algn="r" defTabSz="685800"/>
            <a:r>
              <a:rPr lang="en-US" sz="1200" dirty="0" smtClean="0">
                <a:solidFill>
                  <a:prstClr val="black"/>
                </a:solidFill>
              </a:rPr>
              <a:t>Themes and discussion </a:t>
            </a:r>
            <a:endParaRPr lang="id-ID" sz="1200" dirty="0">
              <a:solidFill>
                <a:prstClr val="black"/>
              </a:solidFill>
            </a:endParaRPr>
          </a:p>
        </p:txBody>
      </p:sp>
      <p:sp>
        <p:nvSpPr>
          <p:cNvPr id="102" name="TextBox 101"/>
          <p:cNvSpPr txBox="1"/>
          <p:nvPr/>
        </p:nvSpPr>
        <p:spPr>
          <a:xfrm>
            <a:off x="172447" y="3568726"/>
            <a:ext cx="2251431" cy="991041"/>
          </a:xfrm>
          <a:prstGeom prst="rect">
            <a:avLst/>
          </a:prstGeom>
          <a:noFill/>
        </p:spPr>
        <p:txBody>
          <a:bodyPr wrap="square" rtlCol="0">
            <a:spAutoFit/>
          </a:bodyPr>
          <a:lstStyle/>
          <a:p>
            <a:pPr algn="r" defTabSz="685800">
              <a:lnSpc>
                <a:spcPct val="150000"/>
              </a:lnSpc>
            </a:pPr>
            <a:r>
              <a:rPr lang="en-US" sz="1000" dirty="0">
                <a:solidFill>
                  <a:prstClr val="black">
                    <a:lumMod val="65000"/>
                    <a:lumOff val="35000"/>
                  </a:prstClr>
                </a:solidFill>
              </a:rPr>
              <a:t>Thematic topics (food access, food availability, input markets, risk and resilience, food consumption and nutrition)</a:t>
            </a:r>
          </a:p>
        </p:txBody>
      </p:sp>
      <p:sp>
        <p:nvSpPr>
          <p:cNvPr id="104" name="TextBox 103"/>
          <p:cNvSpPr txBox="1"/>
          <p:nvPr/>
        </p:nvSpPr>
        <p:spPr>
          <a:xfrm>
            <a:off x="611527" y="4805901"/>
            <a:ext cx="2005807" cy="276999"/>
          </a:xfrm>
          <a:prstGeom prst="rect">
            <a:avLst/>
          </a:prstGeom>
          <a:noFill/>
        </p:spPr>
        <p:txBody>
          <a:bodyPr wrap="none" rtlCol="0">
            <a:spAutoFit/>
          </a:bodyPr>
          <a:lstStyle/>
          <a:p>
            <a:pPr algn="r" defTabSz="685800"/>
            <a:r>
              <a:rPr lang="en-US" sz="1200" dirty="0" smtClean="0">
                <a:solidFill>
                  <a:prstClr val="black"/>
                </a:solidFill>
              </a:rPr>
              <a:t>Crop and Yield mapping</a:t>
            </a:r>
            <a:endParaRPr lang="id-ID" sz="1200" dirty="0">
              <a:solidFill>
                <a:prstClr val="black"/>
              </a:solidFill>
            </a:endParaRPr>
          </a:p>
        </p:txBody>
      </p:sp>
      <p:sp>
        <p:nvSpPr>
          <p:cNvPr id="105" name="TextBox 104"/>
          <p:cNvSpPr txBox="1"/>
          <p:nvPr/>
        </p:nvSpPr>
        <p:spPr>
          <a:xfrm>
            <a:off x="390718" y="4987005"/>
            <a:ext cx="2251431" cy="784830"/>
          </a:xfrm>
          <a:prstGeom prst="rect">
            <a:avLst/>
          </a:prstGeom>
          <a:noFill/>
        </p:spPr>
        <p:txBody>
          <a:bodyPr wrap="square" rtlCol="0">
            <a:spAutoFit/>
          </a:bodyPr>
          <a:lstStyle/>
          <a:p>
            <a:pPr algn="r" defTabSz="685800">
              <a:lnSpc>
                <a:spcPct val="150000"/>
              </a:lnSpc>
            </a:pPr>
            <a:r>
              <a:rPr lang="en-US" sz="1000" dirty="0" smtClean="0">
                <a:solidFill>
                  <a:prstClr val="black">
                    <a:lumMod val="65000"/>
                    <a:lumOff val="35000"/>
                  </a:prstClr>
                </a:solidFill>
              </a:rPr>
              <a:t>Crop calendar application  collaborated with </a:t>
            </a:r>
            <a:r>
              <a:rPr lang="en-US" sz="1000" dirty="0" err="1" smtClean="0">
                <a:solidFill>
                  <a:prstClr val="black">
                    <a:lumMod val="65000"/>
                    <a:lumOff val="35000"/>
                  </a:prstClr>
                </a:solidFill>
              </a:rPr>
              <a:t>GeoGlam</a:t>
            </a:r>
            <a:r>
              <a:rPr lang="en-US" sz="1000" dirty="0" smtClean="0">
                <a:solidFill>
                  <a:prstClr val="black">
                    <a:lumMod val="65000"/>
                    <a:lumOff val="35000"/>
                  </a:prstClr>
                </a:solidFill>
              </a:rPr>
              <a:t> initiatives and yield mapping.</a:t>
            </a:r>
            <a:endParaRPr lang="en-US" sz="1000" b="1" dirty="0">
              <a:solidFill>
                <a:prstClr val="black">
                  <a:lumMod val="65000"/>
                  <a:lumOff val="35000"/>
                </a:prstClr>
              </a:solidFill>
            </a:endParaRPr>
          </a:p>
        </p:txBody>
      </p:sp>
      <p:sp>
        <p:nvSpPr>
          <p:cNvPr id="110" name="Freeform 204"/>
          <p:cNvSpPr>
            <a:spLocks noEditPoints="1"/>
          </p:cNvSpPr>
          <p:nvPr/>
        </p:nvSpPr>
        <p:spPr bwMode="auto">
          <a:xfrm>
            <a:off x="5031857" y="880778"/>
            <a:ext cx="463795" cy="480973"/>
          </a:xfrm>
          <a:custGeom>
            <a:avLst/>
            <a:gdLst>
              <a:gd name="T0" fmla="*/ 22 w 80"/>
              <a:gd name="T1" fmla="*/ 6 h 80"/>
              <a:gd name="T2" fmla="*/ 23 w 80"/>
              <a:gd name="T3" fmla="*/ 14 h 80"/>
              <a:gd name="T4" fmla="*/ 78 w 80"/>
              <a:gd name="T5" fmla="*/ 38 h 80"/>
              <a:gd name="T6" fmla="*/ 72 w 80"/>
              <a:gd name="T7" fmla="*/ 42 h 80"/>
              <a:gd name="T8" fmla="*/ 78 w 80"/>
              <a:gd name="T9" fmla="*/ 38 h 80"/>
              <a:gd name="T10" fmla="*/ 73 w 80"/>
              <a:gd name="T11" fmla="*/ 23 h 80"/>
              <a:gd name="T12" fmla="*/ 67 w 80"/>
              <a:gd name="T13" fmla="*/ 22 h 80"/>
              <a:gd name="T14" fmla="*/ 40 w 80"/>
              <a:gd name="T15" fmla="*/ 10 h 80"/>
              <a:gd name="T16" fmla="*/ 40 w 80"/>
              <a:gd name="T17" fmla="*/ 0 h 80"/>
              <a:gd name="T18" fmla="*/ 40 w 80"/>
              <a:gd name="T19" fmla="*/ 10 h 80"/>
              <a:gd name="T20" fmla="*/ 66 w 80"/>
              <a:gd name="T21" fmla="*/ 55 h 80"/>
              <a:gd name="T22" fmla="*/ 72 w 80"/>
              <a:gd name="T23" fmla="*/ 61 h 80"/>
              <a:gd name="T24" fmla="*/ 55 w 80"/>
              <a:gd name="T25" fmla="*/ 14 h 80"/>
              <a:gd name="T26" fmla="*/ 60 w 80"/>
              <a:gd name="T27" fmla="*/ 8 h 80"/>
              <a:gd name="T28" fmla="*/ 54 w 80"/>
              <a:gd name="T29" fmla="*/ 11 h 80"/>
              <a:gd name="T30" fmla="*/ 18 w 80"/>
              <a:gd name="T31" fmla="*/ 26 h 80"/>
              <a:gd name="T32" fmla="*/ 61 w 80"/>
              <a:gd name="T33" fmla="*/ 26 h 80"/>
              <a:gd name="T34" fmla="*/ 41 w 80"/>
              <a:gd name="T35" fmla="*/ 68 h 80"/>
              <a:gd name="T36" fmla="*/ 12 w 80"/>
              <a:gd name="T37" fmla="*/ 38 h 80"/>
              <a:gd name="T38" fmla="*/ 29 w 80"/>
              <a:gd name="T39" fmla="*/ 38 h 80"/>
              <a:gd name="T40" fmla="*/ 48 w 80"/>
              <a:gd name="T41" fmla="*/ 38 h 80"/>
              <a:gd name="T42" fmla="*/ 48 w 80"/>
              <a:gd name="T43" fmla="*/ 38 h 80"/>
              <a:gd name="T44" fmla="*/ 42 w 80"/>
              <a:gd name="T45" fmla="*/ 62 h 80"/>
              <a:gd name="T46" fmla="*/ 52 w 80"/>
              <a:gd name="T47" fmla="*/ 36 h 80"/>
              <a:gd name="T48" fmla="*/ 42 w 80"/>
              <a:gd name="T49" fmla="*/ 28 h 80"/>
              <a:gd name="T50" fmla="*/ 42 w 80"/>
              <a:gd name="T51" fmla="*/ 28 h 80"/>
              <a:gd name="T52" fmla="*/ 47 w 80"/>
              <a:gd name="T53" fmla="*/ 36 h 80"/>
              <a:gd name="T54" fmla="*/ 30 w 80"/>
              <a:gd name="T55" fmla="*/ 36 h 80"/>
              <a:gd name="T56" fmla="*/ 15 w 80"/>
              <a:gd name="T57" fmla="*/ 36 h 80"/>
              <a:gd name="T58" fmla="*/ 15 w 80"/>
              <a:gd name="T59" fmla="*/ 36 h 80"/>
              <a:gd name="T60" fmla="*/ 5 w 80"/>
              <a:gd name="T61" fmla="*/ 60 h 80"/>
              <a:gd name="T62" fmla="*/ 13 w 80"/>
              <a:gd name="T63" fmla="*/ 58 h 80"/>
              <a:gd name="T64" fmla="*/ 9 w 80"/>
              <a:gd name="T65" fmla="*/ 40 h 80"/>
              <a:gd name="T66" fmla="*/ 0 w 80"/>
              <a:gd name="T67" fmla="*/ 40 h 80"/>
              <a:gd name="T68" fmla="*/ 9 w 80"/>
              <a:gd name="T69" fmla="*/ 40 h 80"/>
              <a:gd name="T70" fmla="*/ 12 w 80"/>
              <a:gd name="T71" fmla="*/ 26 h 80"/>
              <a:gd name="T72" fmla="*/ 8 w 80"/>
              <a:gd name="T73" fmla="*/ 19 h 80"/>
              <a:gd name="T74" fmla="*/ 24 w 80"/>
              <a:gd name="T75" fmla="*/ 66 h 80"/>
              <a:gd name="T76" fmla="*/ 20 w 80"/>
              <a:gd name="T77" fmla="*/ 75 h 80"/>
              <a:gd name="T78" fmla="*/ 25 w 80"/>
              <a:gd name="T79" fmla="*/ 69 h 80"/>
              <a:gd name="T80" fmla="*/ 38 w 80"/>
              <a:gd name="T81" fmla="*/ 72 h 80"/>
              <a:gd name="T82" fmla="*/ 42 w 80"/>
              <a:gd name="T83" fmla="*/ 78 h 80"/>
              <a:gd name="T84" fmla="*/ 57 w 80"/>
              <a:gd name="T85" fmla="*/ 67 h 80"/>
              <a:gd name="T86" fmla="*/ 57 w 80"/>
              <a:gd name="T87" fmla="*/ 74 h 80"/>
              <a:gd name="T88" fmla="*/ 60 w 80"/>
              <a:gd name="T89" fmla="*/ 7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0" h="80">
                <a:moveTo>
                  <a:pt x="19" y="8"/>
                </a:moveTo>
                <a:cubicBezTo>
                  <a:pt x="18" y="7"/>
                  <a:pt x="19" y="6"/>
                  <a:pt x="20" y="5"/>
                </a:cubicBezTo>
                <a:cubicBezTo>
                  <a:pt x="21" y="5"/>
                  <a:pt x="22" y="5"/>
                  <a:pt x="22" y="6"/>
                </a:cubicBezTo>
                <a:cubicBezTo>
                  <a:pt x="25" y="11"/>
                  <a:pt x="25" y="11"/>
                  <a:pt x="25" y="11"/>
                </a:cubicBezTo>
                <a:cubicBezTo>
                  <a:pt x="26" y="12"/>
                  <a:pt x="25" y="13"/>
                  <a:pt x="24" y="14"/>
                </a:cubicBezTo>
                <a:cubicBezTo>
                  <a:pt x="24" y="14"/>
                  <a:pt x="24" y="14"/>
                  <a:pt x="23" y="14"/>
                </a:cubicBezTo>
                <a:cubicBezTo>
                  <a:pt x="23" y="14"/>
                  <a:pt x="22" y="14"/>
                  <a:pt x="22" y="13"/>
                </a:cubicBezTo>
                <a:lnTo>
                  <a:pt x="19" y="8"/>
                </a:lnTo>
                <a:close/>
                <a:moveTo>
                  <a:pt x="78" y="38"/>
                </a:moveTo>
                <a:cubicBezTo>
                  <a:pt x="72" y="38"/>
                  <a:pt x="72" y="38"/>
                  <a:pt x="72" y="38"/>
                </a:cubicBezTo>
                <a:cubicBezTo>
                  <a:pt x="71" y="38"/>
                  <a:pt x="70" y="39"/>
                  <a:pt x="70" y="40"/>
                </a:cubicBezTo>
                <a:cubicBezTo>
                  <a:pt x="70" y="41"/>
                  <a:pt x="71" y="42"/>
                  <a:pt x="72" y="42"/>
                </a:cubicBezTo>
                <a:cubicBezTo>
                  <a:pt x="78" y="42"/>
                  <a:pt x="78" y="42"/>
                  <a:pt x="78" y="42"/>
                </a:cubicBezTo>
                <a:cubicBezTo>
                  <a:pt x="79" y="42"/>
                  <a:pt x="80" y="41"/>
                  <a:pt x="80" y="40"/>
                </a:cubicBezTo>
                <a:cubicBezTo>
                  <a:pt x="80" y="39"/>
                  <a:pt x="79" y="38"/>
                  <a:pt x="78" y="38"/>
                </a:cubicBezTo>
                <a:close/>
                <a:moveTo>
                  <a:pt x="68" y="26"/>
                </a:moveTo>
                <a:cubicBezTo>
                  <a:pt x="68" y="26"/>
                  <a:pt x="68" y="26"/>
                  <a:pt x="69" y="26"/>
                </a:cubicBezTo>
                <a:cubicBezTo>
                  <a:pt x="73" y="23"/>
                  <a:pt x="73" y="23"/>
                  <a:pt x="73" y="23"/>
                </a:cubicBezTo>
                <a:cubicBezTo>
                  <a:pt x="74" y="22"/>
                  <a:pt x="75" y="21"/>
                  <a:pt x="74" y="20"/>
                </a:cubicBezTo>
                <a:cubicBezTo>
                  <a:pt x="74" y="19"/>
                  <a:pt x="72" y="19"/>
                  <a:pt x="71" y="19"/>
                </a:cubicBezTo>
                <a:cubicBezTo>
                  <a:pt x="67" y="22"/>
                  <a:pt x="67" y="22"/>
                  <a:pt x="67" y="22"/>
                </a:cubicBezTo>
                <a:cubicBezTo>
                  <a:pt x="66" y="23"/>
                  <a:pt x="65" y="24"/>
                  <a:pt x="66" y="25"/>
                </a:cubicBezTo>
                <a:cubicBezTo>
                  <a:pt x="66" y="26"/>
                  <a:pt x="67" y="26"/>
                  <a:pt x="68" y="26"/>
                </a:cubicBezTo>
                <a:close/>
                <a:moveTo>
                  <a:pt x="40" y="10"/>
                </a:moveTo>
                <a:cubicBezTo>
                  <a:pt x="41" y="10"/>
                  <a:pt x="42" y="9"/>
                  <a:pt x="42" y="8"/>
                </a:cubicBezTo>
                <a:cubicBezTo>
                  <a:pt x="42" y="2"/>
                  <a:pt x="42" y="2"/>
                  <a:pt x="42" y="2"/>
                </a:cubicBezTo>
                <a:cubicBezTo>
                  <a:pt x="42" y="1"/>
                  <a:pt x="41" y="0"/>
                  <a:pt x="40" y="0"/>
                </a:cubicBezTo>
                <a:cubicBezTo>
                  <a:pt x="38" y="0"/>
                  <a:pt x="38" y="1"/>
                  <a:pt x="38" y="2"/>
                </a:cubicBezTo>
                <a:cubicBezTo>
                  <a:pt x="38" y="8"/>
                  <a:pt x="38" y="8"/>
                  <a:pt x="38" y="8"/>
                </a:cubicBezTo>
                <a:cubicBezTo>
                  <a:pt x="38" y="9"/>
                  <a:pt x="38" y="10"/>
                  <a:pt x="40" y="10"/>
                </a:cubicBezTo>
                <a:close/>
                <a:moveTo>
                  <a:pt x="73" y="57"/>
                </a:moveTo>
                <a:cubicBezTo>
                  <a:pt x="69" y="54"/>
                  <a:pt x="69" y="54"/>
                  <a:pt x="69" y="54"/>
                </a:cubicBezTo>
                <a:cubicBezTo>
                  <a:pt x="68" y="54"/>
                  <a:pt x="66" y="54"/>
                  <a:pt x="66" y="55"/>
                </a:cubicBezTo>
                <a:cubicBezTo>
                  <a:pt x="65" y="56"/>
                  <a:pt x="66" y="57"/>
                  <a:pt x="67" y="58"/>
                </a:cubicBezTo>
                <a:cubicBezTo>
                  <a:pt x="71" y="61"/>
                  <a:pt x="71" y="61"/>
                  <a:pt x="71" y="61"/>
                </a:cubicBezTo>
                <a:cubicBezTo>
                  <a:pt x="72" y="61"/>
                  <a:pt x="72" y="61"/>
                  <a:pt x="72" y="61"/>
                </a:cubicBezTo>
                <a:cubicBezTo>
                  <a:pt x="73" y="61"/>
                  <a:pt x="74" y="61"/>
                  <a:pt x="74" y="60"/>
                </a:cubicBezTo>
                <a:cubicBezTo>
                  <a:pt x="75" y="59"/>
                  <a:pt x="74" y="58"/>
                  <a:pt x="73" y="57"/>
                </a:cubicBezTo>
                <a:close/>
                <a:moveTo>
                  <a:pt x="55" y="14"/>
                </a:moveTo>
                <a:cubicBezTo>
                  <a:pt x="55" y="14"/>
                  <a:pt x="55" y="14"/>
                  <a:pt x="56" y="14"/>
                </a:cubicBezTo>
                <a:cubicBezTo>
                  <a:pt x="56" y="14"/>
                  <a:pt x="57" y="14"/>
                  <a:pt x="57" y="13"/>
                </a:cubicBezTo>
                <a:cubicBezTo>
                  <a:pt x="60" y="8"/>
                  <a:pt x="60" y="8"/>
                  <a:pt x="60" y="8"/>
                </a:cubicBezTo>
                <a:cubicBezTo>
                  <a:pt x="61" y="7"/>
                  <a:pt x="61" y="6"/>
                  <a:pt x="60" y="5"/>
                </a:cubicBezTo>
                <a:cubicBezTo>
                  <a:pt x="59" y="5"/>
                  <a:pt x="57" y="5"/>
                  <a:pt x="57" y="6"/>
                </a:cubicBezTo>
                <a:cubicBezTo>
                  <a:pt x="54" y="11"/>
                  <a:pt x="54" y="11"/>
                  <a:pt x="54" y="11"/>
                </a:cubicBezTo>
                <a:cubicBezTo>
                  <a:pt x="53" y="12"/>
                  <a:pt x="54" y="13"/>
                  <a:pt x="55" y="14"/>
                </a:cubicBezTo>
                <a:close/>
                <a:moveTo>
                  <a:pt x="12" y="36"/>
                </a:moveTo>
                <a:cubicBezTo>
                  <a:pt x="18" y="26"/>
                  <a:pt x="18" y="26"/>
                  <a:pt x="18" y="26"/>
                </a:cubicBezTo>
                <a:cubicBezTo>
                  <a:pt x="19" y="25"/>
                  <a:pt x="19" y="25"/>
                  <a:pt x="20" y="25"/>
                </a:cubicBezTo>
                <a:cubicBezTo>
                  <a:pt x="59" y="25"/>
                  <a:pt x="59" y="25"/>
                  <a:pt x="59" y="25"/>
                </a:cubicBezTo>
                <a:cubicBezTo>
                  <a:pt x="60" y="25"/>
                  <a:pt x="61" y="25"/>
                  <a:pt x="61" y="26"/>
                </a:cubicBezTo>
                <a:cubicBezTo>
                  <a:pt x="67" y="36"/>
                  <a:pt x="67" y="36"/>
                  <a:pt x="67" y="36"/>
                </a:cubicBezTo>
                <a:cubicBezTo>
                  <a:pt x="68" y="37"/>
                  <a:pt x="68" y="38"/>
                  <a:pt x="67" y="38"/>
                </a:cubicBezTo>
                <a:cubicBezTo>
                  <a:pt x="41" y="68"/>
                  <a:pt x="41" y="68"/>
                  <a:pt x="41" y="68"/>
                </a:cubicBezTo>
                <a:cubicBezTo>
                  <a:pt x="41" y="68"/>
                  <a:pt x="40" y="68"/>
                  <a:pt x="40" y="68"/>
                </a:cubicBezTo>
                <a:cubicBezTo>
                  <a:pt x="39" y="68"/>
                  <a:pt x="38" y="68"/>
                  <a:pt x="38" y="68"/>
                </a:cubicBezTo>
                <a:cubicBezTo>
                  <a:pt x="12" y="38"/>
                  <a:pt x="12" y="38"/>
                  <a:pt x="12" y="38"/>
                </a:cubicBezTo>
                <a:cubicBezTo>
                  <a:pt x="11" y="38"/>
                  <a:pt x="11" y="37"/>
                  <a:pt x="12" y="36"/>
                </a:cubicBezTo>
                <a:close/>
                <a:moveTo>
                  <a:pt x="37" y="62"/>
                </a:moveTo>
                <a:cubicBezTo>
                  <a:pt x="29" y="38"/>
                  <a:pt x="29" y="38"/>
                  <a:pt x="29" y="38"/>
                </a:cubicBezTo>
                <a:cubicBezTo>
                  <a:pt x="16" y="38"/>
                  <a:pt x="16" y="38"/>
                  <a:pt x="16" y="38"/>
                </a:cubicBezTo>
                <a:lnTo>
                  <a:pt x="37" y="62"/>
                </a:lnTo>
                <a:close/>
                <a:moveTo>
                  <a:pt x="48" y="38"/>
                </a:moveTo>
                <a:cubicBezTo>
                  <a:pt x="31" y="38"/>
                  <a:pt x="31" y="38"/>
                  <a:pt x="31" y="38"/>
                </a:cubicBezTo>
                <a:cubicBezTo>
                  <a:pt x="40" y="63"/>
                  <a:pt x="40" y="63"/>
                  <a:pt x="40" y="63"/>
                </a:cubicBezTo>
                <a:lnTo>
                  <a:pt x="48" y="38"/>
                </a:lnTo>
                <a:close/>
                <a:moveTo>
                  <a:pt x="63" y="38"/>
                </a:moveTo>
                <a:cubicBezTo>
                  <a:pt x="50" y="38"/>
                  <a:pt x="50" y="38"/>
                  <a:pt x="50" y="38"/>
                </a:cubicBezTo>
                <a:cubicBezTo>
                  <a:pt x="42" y="62"/>
                  <a:pt x="42" y="62"/>
                  <a:pt x="42" y="62"/>
                </a:cubicBezTo>
                <a:lnTo>
                  <a:pt x="63" y="38"/>
                </a:lnTo>
                <a:close/>
                <a:moveTo>
                  <a:pt x="59" y="29"/>
                </a:moveTo>
                <a:cubicBezTo>
                  <a:pt x="52" y="36"/>
                  <a:pt x="52" y="36"/>
                  <a:pt x="52" y="36"/>
                </a:cubicBezTo>
                <a:cubicBezTo>
                  <a:pt x="64" y="36"/>
                  <a:pt x="64" y="36"/>
                  <a:pt x="64" y="36"/>
                </a:cubicBezTo>
                <a:lnTo>
                  <a:pt x="59" y="29"/>
                </a:lnTo>
                <a:close/>
                <a:moveTo>
                  <a:pt x="42" y="28"/>
                </a:moveTo>
                <a:cubicBezTo>
                  <a:pt x="49" y="36"/>
                  <a:pt x="49" y="36"/>
                  <a:pt x="49" y="36"/>
                </a:cubicBezTo>
                <a:cubicBezTo>
                  <a:pt x="57" y="28"/>
                  <a:pt x="57" y="28"/>
                  <a:pt x="57" y="28"/>
                </a:cubicBezTo>
                <a:lnTo>
                  <a:pt x="42" y="28"/>
                </a:lnTo>
                <a:close/>
                <a:moveTo>
                  <a:pt x="40" y="29"/>
                </a:moveTo>
                <a:cubicBezTo>
                  <a:pt x="32" y="36"/>
                  <a:pt x="32" y="36"/>
                  <a:pt x="32" y="36"/>
                </a:cubicBezTo>
                <a:cubicBezTo>
                  <a:pt x="47" y="36"/>
                  <a:pt x="47" y="36"/>
                  <a:pt x="47" y="36"/>
                </a:cubicBezTo>
                <a:lnTo>
                  <a:pt x="40" y="29"/>
                </a:lnTo>
                <a:close/>
                <a:moveTo>
                  <a:pt x="22" y="28"/>
                </a:moveTo>
                <a:cubicBezTo>
                  <a:pt x="30" y="36"/>
                  <a:pt x="30" y="36"/>
                  <a:pt x="30" y="36"/>
                </a:cubicBezTo>
                <a:cubicBezTo>
                  <a:pt x="37" y="28"/>
                  <a:pt x="37" y="28"/>
                  <a:pt x="37" y="28"/>
                </a:cubicBezTo>
                <a:lnTo>
                  <a:pt x="22" y="28"/>
                </a:lnTo>
                <a:close/>
                <a:moveTo>
                  <a:pt x="15" y="36"/>
                </a:moveTo>
                <a:cubicBezTo>
                  <a:pt x="27" y="36"/>
                  <a:pt x="27" y="36"/>
                  <a:pt x="27" y="36"/>
                </a:cubicBezTo>
                <a:cubicBezTo>
                  <a:pt x="20" y="29"/>
                  <a:pt x="20" y="29"/>
                  <a:pt x="20" y="29"/>
                </a:cubicBezTo>
                <a:lnTo>
                  <a:pt x="15" y="36"/>
                </a:lnTo>
                <a:close/>
                <a:moveTo>
                  <a:pt x="11" y="54"/>
                </a:moveTo>
                <a:cubicBezTo>
                  <a:pt x="6" y="57"/>
                  <a:pt x="6" y="57"/>
                  <a:pt x="6" y="57"/>
                </a:cubicBezTo>
                <a:cubicBezTo>
                  <a:pt x="5" y="58"/>
                  <a:pt x="4" y="59"/>
                  <a:pt x="5" y="60"/>
                </a:cubicBezTo>
                <a:cubicBezTo>
                  <a:pt x="5" y="61"/>
                  <a:pt x="6" y="61"/>
                  <a:pt x="7" y="61"/>
                </a:cubicBezTo>
                <a:cubicBezTo>
                  <a:pt x="7" y="61"/>
                  <a:pt x="7" y="61"/>
                  <a:pt x="8" y="61"/>
                </a:cubicBezTo>
                <a:cubicBezTo>
                  <a:pt x="13" y="58"/>
                  <a:pt x="13" y="58"/>
                  <a:pt x="13" y="58"/>
                </a:cubicBezTo>
                <a:cubicBezTo>
                  <a:pt x="14" y="57"/>
                  <a:pt x="14" y="56"/>
                  <a:pt x="13" y="55"/>
                </a:cubicBezTo>
                <a:cubicBezTo>
                  <a:pt x="13" y="54"/>
                  <a:pt x="12" y="54"/>
                  <a:pt x="11" y="54"/>
                </a:cubicBezTo>
                <a:close/>
                <a:moveTo>
                  <a:pt x="9" y="40"/>
                </a:moveTo>
                <a:cubicBezTo>
                  <a:pt x="9" y="39"/>
                  <a:pt x="8" y="38"/>
                  <a:pt x="7" y="38"/>
                </a:cubicBezTo>
                <a:cubicBezTo>
                  <a:pt x="2" y="38"/>
                  <a:pt x="2" y="38"/>
                  <a:pt x="2" y="38"/>
                </a:cubicBezTo>
                <a:cubicBezTo>
                  <a:pt x="0" y="38"/>
                  <a:pt x="0" y="39"/>
                  <a:pt x="0" y="40"/>
                </a:cubicBezTo>
                <a:cubicBezTo>
                  <a:pt x="0" y="41"/>
                  <a:pt x="0" y="42"/>
                  <a:pt x="2" y="42"/>
                </a:cubicBezTo>
                <a:cubicBezTo>
                  <a:pt x="7" y="42"/>
                  <a:pt x="7" y="42"/>
                  <a:pt x="7" y="42"/>
                </a:cubicBezTo>
                <a:cubicBezTo>
                  <a:pt x="8" y="42"/>
                  <a:pt x="9" y="41"/>
                  <a:pt x="9" y="40"/>
                </a:cubicBezTo>
                <a:close/>
                <a:moveTo>
                  <a:pt x="6" y="23"/>
                </a:moveTo>
                <a:cubicBezTo>
                  <a:pt x="11" y="26"/>
                  <a:pt x="11" y="26"/>
                  <a:pt x="11" y="26"/>
                </a:cubicBezTo>
                <a:cubicBezTo>
                  <a:pt x="11" y="26"/>
                  <a:pt x="11" y="26"/>
                  <a:pt x="12" y="26"/>
                </a:cubicBezTo>
                <a:cubicBezTo>
                  <a:pt x="12" y="26"/>
                  <a:pt x="13" y="26"/>
                  <a:pt x="13" y="25"/>
                </a:cubicBezTo>
                <a:cubicBezTo>
                  <a:pt x="14" y="24"/>
                  <a:pt x="14" y="23"/>
                  <a:pt x="13" y="22"/>
                </a:cubicBezTo>
                <a:cubicBezTo>
                  <a:pt x="8" y="19"/>
                  <a:pt x="8" y="19"/>
                  <a:pt x="8" y="19"/>
                </a:cubicBezTo>
                <a:cubicBezTo>
                  <a:pt x="7" y="19"/>
                  <a:pt x="5" y="19"/>
                  <a:pt x="5" y="20"/>
                </a:cubicBezTo>
                <a:cubicBezTo>
                  <a:pt x="4" y="21"/>
                  <a:pt x="5" y="22"/>
                  <a:pt x="6" y="23"/>
                </a:cubicBezTo>
                <a:close/>
                <a:moveTo>
                  <a:pt x="24" y="66"/>
                </a:moveTo>
                <a:cubicBezTo>
                  <a:pt x="23" y="66"/>
                  <a:pt x="22" y="66"/>
                  <a:pt x="22" y="67"/>
                </a:cubicBezTo>
                <a:cubicBezTo>
                  <a:pt x="19" y="72"/>
                  <a:pt x="19" y="72"/>
                  <a:pt x="19" y="72"/>
                </a:cubicBezTo>
                <a:cubicBezTo>
                  <a:pt x="18" y="73"/>
                  <a:pt x="19" y="74"/>
                  <a:pt x="20" y="75"/>
                </a:cubicBezTo>
                <a:cubicBezTo>
                  <a:pt x="20" y="75"/>
                  <a:pt x="20" y="75"/>
                  <a:pt x="21" y="75"/>
                </a:cubicBezTo>
                <a:cubicBezTo>
                  <a:pt x="21" y="75"/>
                  <a:pt x="22" y="75"/>
                  <a:pt x="22" y="74"/>
                </a:cubicBezTo>
                <a:cubicBezTo>
                  <a:pt x="25" y="69"/>
                  <a:pt x="25" y="69"/>
                  <a:pt x="25" y="69"/>
                </a:cubicBezTo>
                <a:cubicBezTo>
                  <a:pt x="26" y="68"/>
                  <a:pt x="25" y="67"/>
                  <a:pt x="24" y="66"/>
                </a:cubicBezTo>
                <a:close/>
                <a:moveTo>
                  <a:pt x="40" y="70"/>
                </a:moveTo>
                <a:cubicBezTo>
                  <a:pt x="38" y="70"/>
                  <a:pt x="38" y="71"/>
                  <a:pt x="38" y="72"/>
                </a:cubicBezTo>
                <a:cubicBezTo>
                  <a:pt x="38" y="78"/>
                  <a:pt x="38" y="78"/>
                  <a:pt x="38" y="78"/>
                </a:cubicBezTo>
                <a:cubicBezTo>
                  <a:pt x="38" y="79"/>
                  <a:pt x="38" y="80"/>
                  <a:pt x="40" y="80"/>
                </a:cubicBezTo>
                <a:cubicBezTo>
                  <a:pt x="41" y="80"/>
                  <a:pt x="42" y="79"/>
                  <a:pt x="42" y="78"/>
                </a:cubicBezTo>
                <a:cubicBezTo>
                  <a:pt x="42" y="72"/>
                  <a:pt x="42" y="72"/>
                  <a:pt x="42" y="72"/>
                </a:cubicBezTo>
                <a:cubicBezTo>
                  <a:pt x="42" y="71"/>
                  <a:pt x="41" y="70"/>
                  <a:pt x="40" y="70"/>
                </a:cubicBezTo>
                <a:close/>
                <a:moveTo>
                  <a:pt x="57" y="67"/>
                </a:moveTo>
                <a:cubicBezTo>
                  <a:pt x="57" y="66"/>
                  <a:pt x="56" y="66"/>
                  <a:pt x="55" y="66"/>
                </a:cubicBezTo>
                <a:cubicBezTo>
                  <a:pt x="54" y="67"/>
                  <a:pt x="53" y="68"/>
                  <a:pt x="54" y="69"/>
                </a:cubicBezTo>
                <a:cubicBezTo>
                  <a:pt x="57" y="74"/>
                  <a:pt x="57" y="74"/>
                  <a:pt x="57" y="74"/>
                </a:cubicBezTo>
                <a:cubicBezTo>
                  <a:pt x="57" y="75"/>
                  <a:pt x="58" y="75"/>
                  <a:pt x="59" y="75"/>
                </a:cubicBezTo>
                <a:cubicBezTo>
                  <a:pt x="59" y="75"/>
                  <a:pt x="59" y="75"/>
                  <a:pt x="60" y="75"/>
                </a:cubicBezTo>
                <a:cubicBezTo>
                  <a:pt x="61" y="74"/>
                  <a:pt x="61" y="73"/>
                  <a:pt x="60" y="72"/>
                </a:cubicBezTo>
                <a:lnTo>
                  <a:pt x="57" y="67"/>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defTabSz="685800"/>
            <a:endParaRPr lang="en-US" sz="1350">
              <a:solidFill>
                <a:prstClr val="black"/>
              </a:solidFill>
            </a:endParaRPr>
          </a:p>
        </p:txBody>
      </p:sp>
      <p:sp>
        <p:nvSpPr>
          <p:cNvPr id="113" name="Freeform 260"/>
          <p:cNvSpPr>
            <a:spLocks noEditPoints="1"/>
          </p:cNvSpPr>
          <p:nvPr/>
        </p:nvSpPr>
        <p:spPr bwMode="auto">
          <a:xfrm>
            <a:off x="4948133" y="2494098"/>
            <a:ext cx="237888" cy="423164"/>
          </a:xfrm>
          <a:custGeom>
            <a:avLst/>
            <a:gdLst>
              <a:gd name="T0" fmla="*/ 43 w 44"/>
              <a:gd name="T1" fmla="*/ 28 h 75"/>
              <a:gd name="T2" fmla="*/ 26 w 44"/>
              <a:gd name="T3" fmla="*/ 16 h 75"/>
              <a:gd name="T4" fmla="*/ 31 w 44"/>
              <a:gd name="T5" fmla="*/ 9 h 75"/>
              <a:gd name="T6" fmla="*/ 26 w 44"/>
              <a:gd name="T7" fmla="*/ 0 h 75"/>
              <a:gd name="T8" fmla="*/ 10 w 44"/>
              <a:gd name="T9" fmla="*/ 1 h 75"/>
              <a:gd name="T10" fmla="*/ 7 w 44"/>
              <a:gd name="T11" fmla="*/ 12 h 75"/>
              <a:gd name="T12" fmla="*/ 1 w 44"/>
              <a:gd name="T13" fmla="*/ 59 h 75"/>
              <a:gd name="T14" fmla="*/ 17 w 44"/>
              <a:gd name="T15" fmla="*/ 75 h 75"/>
              <a:gd name="T16" fmla="*/ 20 w 44"/>
              <a:gd name="T17" fmla="*/ 75 h 75"/>
              <a:gd name="T18" fmla="*/ 37 w 44"/>
              <a:gd name="T19" fmla="*/ 59 h 75"/>
              <a:gd name="T20" fmla="*/ 35 w 44"/>
              <a:gd name="T21" fmla="*/ 34 h 75"/>
              <a:gd name="T22" fmla="*/ 43 w 44"/>
              <a:gd name="T23" fmla="*/ 34 h 75"/>
              <a:gd name="T24" fmla="*/ 44 w 44"/>
              <a:gd name="T25" fmla="*/ 29 h 75"/>
              <a:gd name="T26" fmla="*/ 28 w 44"/>
              <a:gd name="T27" fmla="*/ 10 h 75"/>
              <a:gd name="T28" fmla="*/ 23 w 44"/>
              <a:gd name="T29" fmla="*/ 14 h 75"/>
              <a:gd name="T30" fmla="*/ 28 w 44"/>
              <a:gd name="T31" fmla="*/ 9 h 75"/>
              <a:gd name="T32" fmla="*/ 23 w 44"/>
              <a:gd name="T33" fmla="*/ 68 h 75"/>
              <a:gd name="T34" fmla="*/ 17 w 44"/>
              <a:gd name="T35" fmla="*/ 70 h 75"/>
              <a:gd name="T36" fmla="*/ 34 w 44"/>
              <a:gd name="T37" fmla="*/ 59 h 75"/>
              <a:gd name="T38" fmla="*/ 16 w 44"/>
              <a:gd name="T39" fmla="*/ 69 h 75"/>
              <a:gd name="T40" fmla="*/ 32 w 44"/>
              <a:gd name="T41" fmla="*/ 53 h 75"/>
              <a:gd name="T42" fmla="*/ 16 w 44"/>
              <a:gd name="T43" fmla="*/ 69 h 75"/>
              <a:gd name="T44" fmla="*/ 10 w 44"/>
              <a:gd name="T45" fmla="*/ 65 h 75"/>
              <a:gd name="T46" fmla="*/ 31 w 44"/>
              <a:gd name="T47" fmla="*/ 50 h 75"/>
              <a:gd name="T48" fmla="*/ 11 w 44"/>
              <a:gd name="T49" fmla="*/ 65 h 75"/>
              <a:gd name="T50" fmla="*/ 5 w 44"/>
              <a:gd name="T51" fmla="*/ 60 h 75"/>
              <a:gd name="T52" fmla="*/ 30 w 44"/>
              <a:gd name="T53" fmla="*/ 48 h 75"/>
              <a:gd name="T54" fmla="*/ 29 w 44"/>
              <a:gd name="T55" fmla="*/ 42 h 75"/>
              <a:gd name="T56" fmla="*/ 4 w 44"/>
              <a:gd name="T57" fmla="*/ 57 h 75"/>
              <a:gd name="T58" fmla="*/ 28 w 44"/>
              <a:gd name="T59" fmla="*/ 41 h 75"/>
              <a:gd name="T60" fmla="*/ 5 w 44"/>
              <a:gd name="T61" fmla="*/ 54 h 75"/>
              <a:gd name="T62" fmla="*/ 27 w 44"/>
              <a:gd name="T63" fmla="*/ 34 h 75"/>
              <a:gd name="T64" fmla="*/ 5 w 44"/>
              <a:gd name="T65" fmla="*/ 54 h 75"/>
              <a:gd name="T66" fmla="*/ 8 w 44"/>
              <a:gd name="T67" fmla="*/ 45 h 75"/>
              <a:gd name="T68" fmla="*/ 26 w 44"/>
              <a:gd name="T69" fmla="*/ 31 h 75"/>
              <a:gd name="T70" fmla="*/ 25 w 44"/>
              <a:gd name="T71" fmla="*/ 29 h 75"/>
              <a:gd name="T72" fmla="*/ 11 w 44"/>
              <a:gd name="T73" fmla="*/ 34 h 75"/>
              <a:gd name="T74" fmla="*/ 25 w 44"/>
              <a:gd name="T75" fmla="*/ 29 h 75"/>
              <a:gd name="T76" fmla="*/ 16 w 44"/>
              <a:gd name="T77" fmla="*/ 14 h 75"/>
              <a:gd name="T78" fmla="*/ 14 w 44"/>
              <a:gd name="T79" fmla="*/ 15 h 75"/>
              <a:gd name="T80" fmla="*/ 14 w 44"/>
              <a:gd name="T81" fmla="*/ 14 h 75"/>
              <a:gd name="T82" fmla="*/ 27 w 44"/>
              <a:gd name="T83" fmla="*/ 6 h 75"/>
              <a:gd name="T84" fmla="*/ 12 w 44"/>
              <a:gd name="T85" fmla="*/ 13 h 75"/>
              <a:gd name="T86" fmla="*/ 12 w 44"/>
              <a:gd name="T87" fmla="*/ 3 h 75"/>
              <a:gd name="T88" fmla="*/ 25 w 44"/>
              <a:gd name="T89" fmla="*/ 4 h 75"/>
              <a:gd name="T90" fmla="*/ 15 w 44"/>
              <a:gd name="T91" fmla="*/ 18 h 75"/>
              <a:gd name="T92" fmla="*/ 23 w 44"/>
              <a:gd name="T93" fmla="*/ 20 h 75"/>
              <a:gd name="T94" fmla="*/ 15 w 44"/>
              <a:gd name="T95" fmla="*/ 18 h 75"/>
              <a:gd name="T96" fmla="*/ 23 w 44"/>
              <a:gd name="T97" fmla="*/ 22 h 75"/>
              <a:gd name="T98" fmla="*/ 12 w 44"/>
              <a:gd name="T99" fmla="*/ 31 h 75"/>
              <a:gd name="T100" fmla="*/ 42 w 44"/>
              <a:gd name="T101" fmla="*/ 32 h 75"/>
              <a:gd name="T102" fmla="*/ 28 w 44"/>
              <a:gd name="T103" fmla="*/ 28 h 75"/>
              <a:gd name="T104" fmla="*/ 35 w 44"/>
              <a:gd name="T105" fmla="*/ 29 h 75"/>
              <a:gd name="T106" fmla="*/ 42 w 44"/>
              <a:gd name="T107" fmla="*/ 3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75">
                <a:moveTo>
                  <a:pt x="43" y="29"/>
                </a:moveTo>
                <a:cubicBezTo>
                  <a:pt x="43" y="29"/>
                  <a:pt x="43" y="28"/>
                  <a:pt x="43" y="28"/>
                </a:cubicBezTo>
                <a:cubicBezTo>
                  <a:pt x="43" y="28"/>
                  <a:pt x="39" y="29"/>
                  <a:pt x="35" y="27"/>
                </a:cubicBezTo>
                <a:cubicBezTo>
                  <a:pt x="30" y="25"/>
                  <a:pt x="26" y="18"/>
                  <a:pt x="26" y="16"/>
                </a:cubicBezTo>
                <a:cubicBezTo>
                  <a:pt x="31" y="12"/>
                  <a:pt x="31" y="12"/>
                  <a:pt x="31" y="12"/>
                </a:cubicBezTo>
                <a:cubicBezTo>
                  <a:pt x="31" y="11"/>
                  <a:pt x="32" y="10"/>
                  <a:pt x="31" y="9"/>
                </a:cubicBezTo>
                <a:cubicBezTo>
                  <a:pt x="27" y="1"/>
                  <a:pt x="27" y="1"/>
                  <a:pt x="27" y="1"/>
                </a:cubicBezTo>
                <a:cubicBezTo>
                  <a:pt x="27" y="1"/>
                  <a:pt x="26" y="0"/>
                  <a:pt x="26" y="0"/>
                </a:cubicBezTo>
                <a:cubicBezTo>
                  <a:pt x="12" y="0"/>
                  <a:pt x="12" y="0"/>
                  <a:pt x="12" y="0"/>
                </a:cubicBezTo>
                <a:cubicBezTo>
                  <a:pt x="11" y="0"/>
                  <a:pt x="10" y="1"/>
                  <a:pt x="10" y="1"/>
                </a:cubicBezTo>
                <a:cubicBezTo>
                  <a:pt x="6" y="9"/>
                  <a:pt x="6" y="9"/>
                  <a:pt x="6" y="9"/>
                </a:cubicBezTo>
                <a:cubicBezTo>
                  <a:pt x="6" y="10"/>
                  <a:pt x="6" y="11"/>
                  <a:pt x="7" y="12"/>
                </a:cubicBezTo>
                <a:cubicBezTo>
                  <a:pt x="13" y="17"/>
                  <a:pt x="13" y="17"/>
                  <a:pt x="13" y="17"/>
                </a:cubicBezTo>
                <a:cubicBezTo>
                  <a:pt x="1" y="59"/>
                  <a:pt x="1" y="59"/>
                  <a:pt x="1" y="59"/>
                </a:cubicBezTo>
                <a:cubicBezTo>
                  <a:pt x="0" y="60"/>
                  <a:pt x="1" y="61"/>
                  <a:pt x="1" y="61"/>
                </a:cubicBezTo>
                <a:cubicBezTo>
                  <a:pt x="17" y="75"/>
                  <a:pt x="17" y="75"/>
                  <a:pt x="17" y="75"/>
                </a:cubicBezTo>
                <a:cubicBezTo>
                  <a:pt x="18" y="75"/>
                  <a:pt x="18" y="75"/>
                  <a:pt x="19" y="75"/>
                </a:cubicBezTo>
                <a:cubicBezTo>
                  <a:pt x="19" y="75"/>
                  <a:pt x="20" y="75"/>
                  <a:pt x="20" y="75"/>
                </a:cubicBezTo>
                <a:cubicBezTo>
                  <a:pt x="36" y="61"/>
                  <a:pt x="36" y="61"/>
                  <a:pt x="36" y="61"/>
                </a:cubicBezTo>
                <a:cubicBezTo>
                  <a:pt x="37" y="61"/>
                  <a:pt x="37" y="60"/>
                  <a:pt x="37" y="59"/>
                </a:cubicBezTo>
                <a:cubicBezTo>
                  <a:pt x="29" y="32"/>
                  <a:pt x="29" y="32"/>
                  <a:pt x="29" y="32"/>
                </a:cubicBezTo>
                <a:cubicBezTo>
                  <a:pt x="31" y="33"/>
                  <a:pt x="32" y="34"/>
                  <a:pt x="35" y="34"/>
                </a:cubicBezTo>
                <a:cubicBezTo>
                  <a:pt x="36" y="35"/>
                  <a:pt x="37" y="35"/>
                  <a:pt x="38" y="35"/>
                </a:cubicBezTo>
                <a:cubicBezTo>
                  <a:pt x="40" y="35"/>
                  <a:pt x="43" y="34"/>
                  <a:pt x="43" y="34"/>
                </a:cubicBezTo>
                <a:cubicBezTo>
                  <a:pt x="43" y="34"/>
                  <a:pt x="44" y="34"/>
                  <a:pt x="44" y="33"/>
                </a:cubicBezTo>
                <a:cubicBezTo>
                  <a:pt x="44" y="29"/>
                  <a:pt x="44" y="29"/>
                  <a:pt x="44" y="29"/>
                </a:cubicBezTo>
                <a:cubicBezTo>
                  <a:pt x="44" y="29"/>
                  <a:pt x="44" y="29"/>
                  <a:pt x="43" y="29"/>
                </a:cubicBezTo>
                <a:close/>
                <a:moveTo>
                  <a:pt x="28" y="10"/>
                </a:moveTo>
                <a:cubicBezTo>
                  <a:pt x="23" y="15"/>
                  <a:pt x="23" y="15"/>
                  <a:pt x="23" y="15"/>
                </a:cubicBezTo>
                <a:cubicBezTo>
                  <a:pt x="23" y="14"/>
                  <a:pt x="23" y="14"/>
                  <a:pt x="23" y="14"/>
                </a:cubicBezTo>
                <a:cubicBezTo>
                  <a:pt x="19" y="14"/>
                  <a:pt x="19" y="14"/>
                  <a:pt x="19" y="14"/>
                </a:cubicBezTo>
                <a:cubicBezTo>
                  <a:pt x="28" y="9"/>
                  <a:pt x="28" y="9"/>
                  <a:pt x="28" y="9"/>
                </a:cubicBezTo>
                <a:lnTo>
                  <a:pt x="28" y="10"/>
                </a:lnTo>
                <a:close/>
                <a:moveTo>
                  <a:pt x="23" y="68"/>
                </a:moveTo>
                <a:cubicBezTo>
                  <a:pt x="18" y="71"/>
                  <a:pt x="18" y="71"/>
                  <a:pt x="18" y="71"/>
                </a:cubicBezTo>
                <a:cubicBezTo>
                  <a:pt x="17" y="70"/>
                  <a:pt x="17" y="70"/>
                  <a:pt x="17" y="70"/>
                </a:cubicBezTo>
                <a:cubicBezTo>
                  <a:pt x="34" y="59"/>
                  <a:pt x="34" y="59"/>
                  <a:pt x="34" y="59"/>
                </a:cubicBezTo>
                <a:cubicBezTo>
                  <a:pt x="34" y="59"/>
                  <a:pt x="34" y="59"/>
                  <a:pt x="34" y="59"/>
                </a:cubicBezTo>
                <a:lnTo>
                  <a:pt x="23" y="68"/>
                </a:lnTo>
                <a:close/>
                <a:moveTo>
                  <a:pt x="16" y="69"/>
                </a:moveTo>
                <a:cubicBezTo>
                  <a:pt x="12" y="67"/>
                  <a:pt x="12" y="67"/>
                  <a:pt x="12" y="67"/>
                </a:cubicBezTo>
                <a:cubicBezTo>
                  <a:pt x="32" y="53"/>
                  <a:pt x="32" y="53"/>
                  <a:pt x="32" y="53"/>
                </a:cubicBezTo>
                <a:cubicBezTo>
                  <a:pt x="33" y="57"/>
                  <a:pt x="33" y="57"/>
                  <a:pt x="33" y="57"/>
                </a:cubicBezTo>
                <a:lnTo>
                  <a:pt x="16" y="69"/>
                </a:lnTo>
                <a:close/>
                <a:moveTo>
                  <a:pt x="11" y="65"/>
                </a:moveTo>
                <a:cubicBezTo>
                  <a:pt x="10" y="65"/>
                  <a:pt x="10" y="65"/>
                  <a:pt x="10" y="65"/>
                </a:cubicBezTo>
                <a:cubicBezTo>
                  <a:pt x="10" y="64"/>
                  <a:pt x="10" y="64"/>
                  <a:pt x="10" y="64"/>
                </a:cubicBezTo>
                <a:cubicBezTo>
                  <a:pt x="31" y="50"/>
                  <a:pt x="31" y="50"/>
                  <a:pt x="31" y="50"/>
                </a:cubicBezTo>
                <a:cubicBezTo>
                  <a:pt x="31" y="51"/>
                  <a:pt x="31" y="51"/>
                  <a:pt x="31" y="51"/>
                </a:cubicBezTo>
                <a:lnTo>
                  <a:pt x="11" y="65"/>
                </a:lnTo>
                <a:close/>
                <a:moveTo>
                  <a:pt x="8" y="63"/>
                </a:moveTo>
                <a:cubicBezTo>
                  <a:pt x="5" y="60"/>
                  <a:pt x="5" y="60"/>
                  <a:pt x="5" y="60"/>
                </a:cubicBezTo>
                <a:cubicBezTo>
                  <a:pt x="29" y="44"/>
                  <a:pt x="29" y="44"/>
                  <a:pt x="29" y="44"/>
                </a:cubicBezTo>
                <a:cubicBezTo>
                  <a:pt x="30" y="48"/>
                  <a:pt x="30" y="48"/>
                  <a:pt x="30" y="48"/>
                </a:cubicBezTo>
                <a:lnTo>
                  <a:pt x="8" y="63"/>
                </a:lnTo>
                <a:close/>
                <a:moveTo>
                  <a:pt x="29" y="42"/>
                </a:moveTo>
                <a:cubicBezTo>
                  <a:pt x="4" y="59"/>
                  <a:pt x="4" y="59"/>
                  <a:pt x="4" y="59"/>
                </a:cubicBezTo>
                <a:cubicBezTo>
                  <a:pt x="4" y="57"/>
                  <a:pt x="4" y="57"/>
                  <a:pt x="4" y="57"/>
                </a:cubicBezTo>
                <a:cubicBezTo>
                  <a:pt x="28" y="40"/>
                  <a:pt x="28" y="40"/>
                  <a:pt x="28" y="40"/>
                </a:cubicBezTo>
                <a:cubicBezTo>
                  <a:pt x="28" y="41"/>
                  <a:pt x="28" y="41"/>
                  <a:pt x="28" y="41"/>
                </a:cubicBezTo>
                <a:lnTo>
                  <a:pt x="29" y="42"/>
                </a:lnTo>
                <a:close/>
                <a:moveTo>
                  <a:pt x="5" y="54"/>
                </a:moveTo>
                <a:cubicBezTo>
                  <a:pt x="7" y="48"/>
                  <a:pt x="7" y="48"/>
                  <a:pt x="7" y="48"/>
                </a:cubicBezTo>
                <a:cubicBezTo>
                  <a:pt x="27" y="34"/>
                  <a:pt x="27" y="34"/>
                  <a:pt x="27" y="34"/>
                </a:cubicBezTo>
                <a:cubicBezTo>
                  <a:pt x="28" y="38"/>
                  <a:pt x="28" y="38"/>
                  <a:pt x="28" y="38"/>
                </a:cubicBezTo>
                <a:lnTo>
                  <a:pt x="5" y="54"/>
                </a:lnTo>
                <a:close/>
                <a:moveTo>
                  <a:pt x="26" y="32"/>
                </a:moveTo>
                <a:cubicBezTo>
                  <a:pt x="8" y="45"/>
                  <a:pt x="8" y="45"/>
                  <a:pt x="8" y="45"/>
                </a:cubicBezTo>
                <a:cubicBezTo>
                  <a:pt x="8" y="43"/>
                  <a:pt x="8" y="43"/>
                  <a:pt x="8" y="43"/>
                </a:cubicBezTo>
                <a:cubicBezTo>
                  <a:pt x="26" y="31"/>
                  <a:pt x="26" y="31"/>
                  <a:pt x="26" y="31"/>
                </a:cubicBezTo>
                <a:cubicBezTo>
                  <a:pt x="26" y="32"/>
                  <a:pt x="26" y="32"/>
                  <a:pt x="26" y="32"/>
                </a:cubicBezTo>
                <a:close/>
                <a:moveTo>
                  <a:pt x="25" y="29"/>
                </a:moveTo>
                <a:cubicBezTo>
                  <a:pt x="9" y="40"/>
                  <a:pt x="9" y="40"/>
                  <a:pt x="9" y="40"/>
                </a:cubicBezTo>
                <a:cubicBezTo>
                  <a:pt x="11" y="34"/>
                  <a:pt x="11" y="34"/>
                  <a:pt x="11" y="34"/>
                </a:cubicBezTo>
                <a:cubicBezTo>
                  <a:pt x="24" y="25"/>
                  <a:pt x="24" y="25"/>
                  <a:pt x="24" y="25"/>
                </a:cubicBezTo>
                <a:lnTo>
                  <a:pt x="25" y="29"/>
                </a:lnTo>
                <a:close/>
                <a:moveTo>
                  <a:pt x="27" y="7"/>
                </a:moveTo>
                <a:cubicBezTo>
                  <a:pt x="16" y="14"/>
                  <a:pt x="16" y="14"/>
                  <a:pt x="16" y="14"/>
                </a:cubicBezTo>
                <a:cubicBezTo>
                  <a:pt x="15" y="14"/>
                  <a:pt x="15" y="14"/>
                  <a:pt x="15" y="14"/>
                </a:cubicBezTo>
                <a:cubicBezTo>
                  <a:pt x="15" y="14"/>
                  <a:pt x="14" y="14"/>
                  <a:pt x="14" y="15"/>
                </a:cubicBezTo>
                <a:cubicBezTo>
                  <a:pt x="14" y="14"/>
                  <a:pt x="14" y="14"/>
                  <a:pt x="14" y="14"/>
                </a:cubicBezTo>
                <a:cubicBezTo>
                  <a:pt x="14" y="14"/>
                  <a:pt x="14" y="14"/>
                  <a:pt x="14" y="14"/>
                </a:cubicBezTo>
                <a:cubicBezTo>
                  <a:pt x="26" y="6"/>
                  <a:pt x="26" y="6"/>
                  <a:pt x="26" y="6"/>
                </a:cubicBezTo>
                <a:cubicBezTo>
                  <a:pt x="27" y="6"/>
                  <a:pt x="27" y="6"/>
                  <a:pt x="27" y="6"/>
                </a:cubicBezTo>
                <a:lnTo>
                  <a:pt x="27" y="7"/>
                </a:lnTo>
                <a:close/>
                <a:moveTo>
                  <a:pt x="12" y="13"/>
                </a:moveTo>
                <a:cubicBezTo>
                  <a:pt x="9" y="10"/>
                  <a:pt x="9" y="10"/>
                  <a:pt x="9" y="10"/>
                </a:cubicBezTo>
                <a:cubicBezTo>
                  <a:pt x="12" y="3"/>
                  <a:pt x="12" y="3"/>
                  <a:pt x="12" y="3"/>
                </a:cubicBezTo>
                <a:cubicBezTo>
                  <a:pt x="25" y="3"/>
                  <a:pt x="25" y="3"/>
                  <a:pt x="25" y="3"/>
                </a:cubicBezTo>
                <a:cubicBezTo>
                  <a:pt x="25" y="4"/>
                  <a:pt x="25" y="4"/>
                  <a:pt x="25" y="4"/>
                </a:cubicBezTo>
                <a:lnTo>
                  <a:pt x="12" y="13"/>
                </a:lnTo>
                <a:close/>
                <a:moveTo>
                  <a:pt x="15" y="18"/>
                </a:moveTo>
                <a:cubicBezTo>
                  <a:pt x="22" y="18"/>
                  <a:pt x="22" y="18"/>
                  <a:pt x="22" y="18"/>
                </a:cubicBezTo>
                <a:cubicBezTo>
                  <a:pt x="23" y="20"/>
                  <a:pt x="23" y="20"/>
                  <a:pt x="23" y="20"/>
                </a:cubicBezTo>
                <a:cubicBezTo>
                  <a:pt x="13" y="26"/>
                  <a:pt x="13" y="26"/>
                  <a:pt x="13" y="26"/>
                </a:cubicBezTo>
                <a:lnTo>
                  <a:pt x="15" y="18"/>
                </a:lnTo>
                <a:close/>
                <a:moveTo>
                  <a:pt x="12" y="29"/>
                </a:moveTo>
                <a:cubicBezTo>
                  <a:pt x="23" y="22"/>
                  <a:pt x="23" y="22"/>
                  <a:pt x="23" y="22"/>
                </a:cubicBezTo>
                <a:cubicBezTo>
                  <a:pt x="23" y="23"/>
                  <a:pt x="23" y="23"/>
                  <a:pt x="23" y="23"/>
                </a:cubicBezTo>
                <a:cubicBezTo>
                  <a:pt x="12" y="31"/>
                  <a:pt x="12" y="31"/>
                  <a:pt x="12" y="31"/>
                </a:cubicBezTo>
                <a:cubicBezTo>
                  <a:pt x="12" y="29"/>
                  <a:pt x="12" y="29"/>
                  <a:pt x="12" y="29"/>
                </a:cubicBezTo>
                <a:close/>
                <a:moveTo>
                  <a:pt x="42" y="32"/>
                </a:moveTo>
                <a:cubicBezTo>
                  <a:pt x="40" y="33"/>
                  <a:pt x="37" y="33"/>
                  <a:pt x="35" y="32"/>
                </a:cubicBezTo>
                <a:cubicBezTo>
                  <a:pt x="32" y="32"/>
                  <a:pt x="29" y="30"/>
                  <a:pt x="28" y="28"/>
                </a:cubicBezTo>
                <a:cubicBezTo>
                  <a:pt x="26" y="21"/>
                  <a:pt x="26" y="21"/>
                  <a:pt x="26" y="21"/>
                </a:cubicBezTo>
                <a:cubicBezTo>
                  <a:pt x="28" y="24"/>
                  <a:pt x="31" y="28"/>
                  <a:pt x="35" y="29"/>
                </a:cubicBezTo>
                <a:cubicBezTo>
                  <a:pt x="38" y="30"/>
                  <a:pt x="40" y="30"/>
                  <a:pt x="42" y="30"/>
                </a:cubicBezTo>
                <a:lnTo>
                  <a:pt x="42" y="32"/>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defTabSz="685800"/>
            <a:endParaRPr lang="en-US" sz="1350">
              <a:solidFill>
                <a:prstClr val="black"/>
              </a:solidFill>
            </a:endParaRPr>
          </a:p>
        </p:txBody>
      </p:sp>
      <p:sp>
        <p:nvSpPr>
          <p:cNvPr id="46" name="Freeform 119"/>
          <p:cNvSpPr>
            <a:spLocks noEditPoints="1"/>
          </p:cNvSpPr>
          <p:nvPr/>
        </p:nvSpPr>
        <p:spPr bwMode="auto">
          <a:xfrm>
            <a:off x="3945825" y="2538004"/>
            <a:ext cx="403324" cy="365648"/>
          </a:xfrm>
          <a:custGeom>
            <a:avLst/>
            <a:gdLst>
              <a:gd name="T0" fmla="*/ 55 w 69"/>
              <a:gd name="T1" fmla="*/ 29 h 73"/>
              <a:gd name="T2" fmla="*/ 49 w 69"/>
              <a:gd name="T3" fmla="*/ 20 h 73"/>
              <a:gd name="T4" fmla="*/ 41 w 69"/>
              <a:gd name="T5" fmla="*/ 13 h 73"/>
              <a:gd name="T6" fmla="*/ 39 w 69"/>
              <a:gd name="T7" fmla="*/ 0 h 73"/>
              <a:gd name="T8" fmla="*/ 58 w 69"/>
              <a:gd name="T9" fmla="*/ 11 h 73"/>
              <a:gd name="T10" fmla="*/ 68 w 69"/>
              <a:gd name="T11" fmla="*/ 30 h 73"/>
              <a:gd name="T12" fmla="*/ 61 w 69"/>
              <a:gd name="T13" fmla="*/ 30 h 73"/>
              <a:gd name="T14" fmla="*/ 55 w 69"/>
              <a:gd name="T15" fmla="*/ 14 h 73"/>
              <a:gd name="T16" fmla="*/ 40 w 69"/>
              <a:gd name="T17" fmla="*/ 8 h 73"/>
              <a:gd name="T18" fmla="*/ 61 w 69"/>
              <a:gd name="T19" fmla="*/ 30 h 73"/>
              <a:gd name="T20" fmla="*/ 63 w 69"/>
              <a:gd name="T21" fmla="*/ 43 h 73"/>
              <a:gd name="T22" fmla="*/ 32 w 69"/>
              <a:gd name="T23" fmla="*/ 53 h 73"/>
              <a:gd name="T24" fmla="*/ 32 w 69"/>
              <a:gd name="T25" fmla="*/ 57 h 73"/>
              <a:gd name="T26" fmla="*/ 34 w 69"/>
              <a:gd name="T27" fmla="*/ 72 h 73"/>
              <a:gd name="T28" fmla="*/ 24 w 69"/>
              <a:gd name="T29" fmla="*/ 65 h 73"/>
              <a:gd name="T30" fmla="*/ 21 w 69"/>
              <a:gd name="T31" fmla="*/ 65 h 73"/>
              <a:gd name="T32" fmla="*/ 16 w 69"/>
              <a:gd name="T33" fmla="*/ 69 h 73"/>
              <a:gd name="T34" fmla="*/ 0 w 69"/>
              <a:gd name="T35" fmla="*/ 53 h 73"/>
              <a:gd name="T36" fmla="*/ 15 w 69"/>
              <a:gd name="T37" fmla="*/ 37 h 73"/>
              <a:gd name="T38" fmla="*/ 26 w 69"/>
              <a:gd name="T39" fmla="*/ 6 h 73"/>
              <a:gd name="T40" fmla="*/ 28 w 69"/>
              <a:gd name="T41" fmla="*/ 6 h 73"/>
              <a:gd name="T42" fmla="*/ 7 w 69"/>
              <a:gd name="T43" fmla="*/ 50 h 73"/>
              <a:gd name="T44" fmla="*/ 6 w 69"/>
              <a:gd name="T45" fmla="*/ 50 h 73"/>
              <a:gd name="T46" fmla="*/ 3 w 69"/>
              <a:gd name="T47" fmla="*/ 53 h 73"/>
              <a:gd name="T48" fmla="*/ 17 w 69"/>
              <a:gd name="T49" fmla="*/ 64 h 73"/>
              <a:gd name="T50" fmla="*/ 16 w 69"/>
              <a:gd name="T51" fmla="*/ 65 h 73"/>
              <a:gd name="T52" fmla="*/ 30 w 69"/>
              <a:gd name="T53" fmla="*/ 52 h 73"/>
              <a:gd name="T54" fmla="*/ 8 w 69"/>
              <a:gd name="T55" fmla="*/ 52 h 73"/>
              <a:gd name="T56" fmla="*/ 20 w 69"/>
              <a:gd name="T57" fmla="*/ 61 h 73"/>
              <a:gd name="T58" fmla="*/ 29 w 69"/>
              <a:gd name="T59" fmla="*/ 56 h 73"/>
              <a:gd name="T60" fmla="*/ 22 w 69"/>
              <a:gd name="T61" fmla="*/ 62 h 73"/>
              <a:gd name="T62" fmla="*/ 23 w 69"/>
              <a:gd name="T63" fmla="*/ 62 h 73"/>
              <a:gd name="T64" fmla="*/ 27 w 69"/>
              <a:gd name="T65" fmla="*/ 60 h 73"/>
              <a:gd name="T66" fmla="*/ 36 w 69"/>
              <a:gd name="T67" fmla="*/ 65 h 73"/>
              <a:gd name="T68" fmla="*/ 42 w 69"/>
              <a:gd name="T69" fmla="*/ 27 h 73"/>
              <a:gd name="T70" fmla="*/ 18 w 69"/>
              <a:gd name="T71" fmla="*/ 38 h 73"/>
              <a:gd name="T72" fmla="*/ 28 w 69"/>
              <a:gd name="T73" fmla="*/ 16 h 73"/>
              <a:gd name="T74" fmla="*/ 31 w 69"/>
              <a:gd name="T75" fmla="*/ 51 h 73"/>
              <a:gd name="T76" fmla="*/ 27 w 69"/>
              <a:gd name="T77" fmla="*/ 9 h 73"/>
              <a:gd name="T78" fmla="*/ 60 w 69"/>
              <a:gd name="T79" fmla="*/ 42 h 73"/>
              <a:gd name="T80" fmla="*/ 21 w 69"/>
              <a:gd name="T81" fmla="*/ 48 h 73"/>
              <a:gd name="T82" fmla="*/ 14 w 69"/>
              <a:gd name="T83" fmla="*/ 54 h 73"/>
              <a:gd name="T84" fmla="*/ 12 w 69"/>
              <a:gd name="T85" fmla="*/ 50 h 73"/>
              <a:gd name="T86" fmla="*/ 21 w 69"/>
              <a:gd name="T87" fmla="*/ 47 h 73"/>
              <a:gd name="T88" fmla="*/ 14 w 69"/>
              <a:gd name="T89" fmla="*/ 5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 h="73">
                <a:moveTo>
                  <a:pt x="51" y="18"/>
                </a:moveTo>
                <a:cubicBezTo>
                  <a:pt x="53" y="21"/>
                  <a:pt x="55" y="24"/>
                  <a:pt x="56" y="28"/>
                </a:cubicBezTo>
                <a:cubicBezTo>
                  <a:pt x="56" y="28"/>
                  <a:pt x="56" y="29"/>
                  <a:pt x="55" y="29"/>
                </a:cubicBezTo>
                <a:cubicBezTo>
                  <a:pt x="55" y="29"/>
                  <a:pt x="55" y="29"/>
                  <a:pt x="55" y="29"/>
                </a:cubicBezTo>
                <a:cubicBezTo>
                  <a:pt x="54" y="29"/>
                  <a:pt x="54" y="29"/>
                  <a:pt x="54" y="28"/>
                </a:cubicBezTo>
                <a:cubicBezTo>
                  <a:pt x="53" y="25"/>
                  <a:pt x="51" y="22"/>
                  <a:pt x="49" y="20"/>
                </a:cubicBezTo>
                <a:cubicBezTo>
                  <a:pt x="47" y="17"/>
                  <a:pt x="44" y="16"/>
                  <a:pt x="40" y="15"/>
                </a:cubicBezTo>
                <a:cubicBezTo>
                  <a:pt x="40" y="15"/>
                  <a:pt x="40" y="14"/>
                  <a:pt x="40" y="14"/>
                </a:cubicBezTo>
                <a:cubicBezTo>
                  <a:pt x="40" y="13"/>
                  <a:pt x="40" y="13"/>
                  <a:pt x="41" y="13"/>
                </a:cubicBezTo>
                <a:cubicBezTo>
                  <a:pt x="45" y="14"/>
                  <a:pt x="48" y="16"/>
                  <a:pt x="51" y="18"/>
                </a:cubicBezTo>
                <a:close/>
                <a:moveTo>
                  <a:pt x="59" y="9"/>
                </a:moveTo>
                <a:cubicBezTo>
                  <a:pt x="54" y="4"/>
                  <a:pt x="47" y="1"/>
                  <a:pt x="39" y="0"/>
                </a:cubicBezTo>
                <a:cubicBezTo>
                  <a:pt x="39" y="0"/>
                  <a:pt x="38" y="0"/>
                  <a:pt x="38" y="1"/>
                </a:cubicBezTo>
                <a:cubicBezTo>
                  <a:pt x="38" y="2"/>
                  <a:pt x="39" y="2"/>
                  <a:pt x="39" y="2"/>
                </a:cubicBezTo>
                <a:cubicBezTo>
                  <a:pt x="46" y="3"/>
                  <a:pt x="53" y="6"/>
                  <a:pt x="58" y="11"/>
                </a:cubicBezTo>
                <a:cubicBezTo>
                  <a:pt x="63" y="16"/>
                  <a:pt x="66" y="22"/>
                  <a:pt x="67" y="29"/>
                </a:cubicBezTo>
                <a:cubicBezTo>
                  <a:pt x="67" y="30"/>
                  <a:pt x="67" y="30"/>
                  <a:pt x="68" y="30"/>
                </a:cubicBezTo>
                <a:cubicBezTo>
                  <a:pt x="68" y="30"/>
                  <a:pt x="68" y="30"/>
                  <a:pt x="68" y="30"/>
                </a:cubicBezTo>
                <a:cubicBezTo>
                  <a:pt x="68" y="30"/>
                  <a:pt x="69" y="30"/>
                  <a:pt x="69" y="29"/>
                </a:cubicBezTo>
                <a:cubicBezTo>
                  <a:pt x="68" y="22"/>
                  <a:pt x="64" y="15"/>
                  <a:pt x="59" y="9"/>
                </a:cubicBezTo>
                <a:close/>
                <a:moveTo>
                  <a:pt x="61" y="30"/>
                </a:moveTo>
                <a:cubicBezTo>
                  <a:pt x="61" y="30"/>
                  <a:pt x="61" y="30"/>
                  <a:pt x="61" y="30"/>
                </a:cubicBezTo>
                <a:cubicBezTo>
                  <a:pt x="62" y="30"/>
                  <a:pt x="62" y="29"/>
                  <a:pt x="62" y="28"/>
                </a:cubicBezTo>
                <a:cubicBezTo>
                  <a:pt x="61" y="23"/>
                  <a:pt x="59" y="18"/>
                  <a:pt x="55" y="14"/>
                </a:cubicBezTo>
                <a:cubicBezTo>
                  <a:pt x="51" y="10"/>
                  <a:pt x="46" y="7"/>
                  <a:pt x="40" y="6"/>
                </a:cubicBezTo>
                <a:cubicBezTo>
                  <a:pt x="40" y="6"/>
                  <a:pt x="39" y="7"/>
                  <a:pt x="39" y="7"/>
                </a:cubicBezTo>
                <a:cubicBezTo>
                  <a:pt x="39" y="8"/>
                  <a:pt x="39" y="8"/>
                  <a:pt x="40" y="8"/>
                </a:cubicBezTo>
                <a:cubicBezTo>
                  <a:pt x="45" y="9"/>
                  <a:pt x="50" y="12"/>
                  <a:pt x="53" y="15"/>
                </a:cubicBezTo>
                <a:cubicBezTo>
                  <a:pt x="57" y="19"/>
                  <a:pt x="59" y="24"/>
                  <a:pt x="60" y="29"/>
                </a:cubicBezTo>
                <a:cubicBezTo>
                  <a:pt x="60" y="29"/>
                  <a:pt x="61" y="30"/>
                  <a:pt x="61" y="30"/>
                </a:cubicBezTo>
                <a:close/>
                <a:moveTo>
                  <a:pt x="63" y="40"/>
                </a:moveTo>
                <a:cubicBezTo>
                  <a:pt x="63" y="41"/>
                  <a:pt x="63" y="41"/>
                  <a:pt x="63" y="42"/>
                </a:cubicBezTo>
                <a:cubicBezTo>
                  <a:pt x="63" y="42"/>
                  <a:pt x="63" y="43"/>
                  <a:pt x="63" y="43"/>
                </a:cubicBezTo>
                <a:cubicBezTo>
                  <a:pt x="61" y="45"/>
                  <a:pt x="61" y="45"/>
                  <a:pt x="61" y="45"/>
                </a:cubicBezTo>
                <a:cubicBezTo>
                  <a:pt x="61" y="45"/>
                  <a:pt x="61" y="45"/>
                  <a:pt x="60" y="45"/>
                </a:cubicBezTo>
                <a:cubicBezTo>
                  <a:pt x="32" y="53"/>
                  <a:pt x="32" y="53"/>
                  <a:pt x="32" y="53"/>
                </a:cubicBezTo>
                <a:cubicBezTo>
                  <a:pt x="32" y="54"/>
                  <a:pt x="32" y="54"/>
                  <a:pt x="32" y="54"/>
                </a:cubicBezTo>
                <a:cubicBezTo>
                  <a:pt x="32" y="54"/>
                  <a:pt x="32" y="54"/>
                  <a:pt x="32" y="54"/>
                </a:cubicBezTo>
                <a:cubicBezTo>
                  <a:pt x="33" y="55"/>
                  <a:pt x="33" y="56"/>
                  <a:pt x="32" y="57"/>
                </a:cubicBezTo>
                <a:cubicBezTo>
                  <a:pt x="39" y="64"/>
                  <a:pt x="39" y="64"/>
                  <a:pt x="39" y="64"/>
                </a:cubicBezTo>
                <a:cubicBezTo>
                  <a:pt x="40" y="65"/>
                  <a:pt x="40" y="66"/>
                  <a:pt x="39" y="67"/>
                </a:cubicBezTo>
                <a:cubicBezTo>
                  <a:pt x="34" y="72"/>
                  <a:pt x="34" y="72"/>
                  <a:pt x="34" y="72"/>
                </a:cubicBezTo>
                <a:cubicBezTo>
                  <a:pt x="33" y="73"/>
                  <a:pt x="33" y="73"/>
                  <a:pt x="32" y="73"/>
                </a:cubicBezTo>
                <a:cubicBezTo>
                  <a:pt x="32" y="73"/>
                  <a:pt x="31" y="73"/>
                  <a:pt x="31" y="72"/>
                </a:cubicBezTo>
                <a:cubicBezTo>
                  <a:pt x="24" y="65"/>
                  <a:pt x="24" y="65"/>
                  <a:pt x="24" y="65"/>
                </a:cubicBezTo>
                <a:cubicBezTo>
                  <a:pt x="24" y="65"/>
                  <a:pt x="23" y="65"/>
                  <a:pt x="23" y="65"/>
                </a:cubicBezTo>
                <a:cubicBezTo>
                  <a:pt x="22" y="65"/>
                  <a:pt x="22" y="65"/>
                  <a:pt x="21" y="65"/>
                </a:cubicBezTo>
                <a:cubicBezTo>
                  <a:pt x="21" y="65"/>
                  <a:pt x="21" y="65"/>
                  <a:pt x="21" y="65"/>
                </a:cubicBezTo>
                <a:cubicBezTo>
                  <a:pt x="20" y="65"/>
                  <a:pt x="20" y="65"/>
                  <a:pt x="20" y="65"/>
                </a:cubicBezTo>
                <a:cubicBezTo>
                  <a:pt x="17" y="68"/>
                  <a:pt x="17" y="68"/>
                  <a:pt x="17" y="68"/>
                </a:cubicBezTo>
                <a:cubicBezTo>
                  <a:pt x="17" y="69"/>
                  <a:pt x="16" y="69"/>
                  <a:pt x="16" y="69"/>
                </a:cubicBezTo>
                <a:cubicBezTo>
                  <a:pt x="15" y="69"/>
                  <a:pt x="15" y="69"/>
                  <a:pt x="15" y="68"/>
                </a:cubicBezTo>
                <a:cubicBezTo>
                  <a:pt x="0" y="54"/>
                  <a:pt x="0" y="54"/>
                  <a:pt x="0" y="54"/>
                </a:cubicBezTo>
                <a:cubicBezTo>
                  <a:pt x="0" y="54"/>
                  <a:pt x="0" y="53"/>
                  <a:pt x="0" y="53"/>
                </a:cubicBezTo>
                <a:cubicBezTo>
                  <a:pt x="0" y="52"/>
                  <a:pt x="0" y="52"/>
                  <a:pt x="0" y="51"/>
                </a:cubicBezTo>
                <a:cubicBezTo>
                  <a:pt x="3" y="49"/>
                  <a:pt x="3" y="49"/>
                  <a:pt x="3" y="49"/>
                </a:cubicBezTo>
                <a:cubicBezTo>
                  <a:pt x="15" y="37"/>
                  <a:pt x="15" y="37"/>
                  <a:pt x="15" y="37"/>
                </a:cubicBezTo>
                <a:cubicBezTo>
                  <a:pt x="23" y="8"/>
                  <a:pt x="23" y="8"/>
                  <a:pt x="23" y="8"/>
                </a:cubicBezTo>
                <a:cubicBezTo>
                  <a:pt x="23" y="8"/>
                  <a:pt x="24" y="8"/>
                  <a:pt x="24" y="8"/>
                </a:cubicBezTo>
                <a:cubicBezTo>
                  <a:pt x="26" y="6"/>
                  <a:pt x="26" y="6"/>
                  <a:pt x="26" y="6"/>
                </a:cubicBezTo>
                <a:cubicBezTo>
                  <a:pt x="26" y="5"/>
                  <a:pt x="26" y="5"/>
                  <a:pt x="27" y="5"/>
                </a:cubicBezTo>
                <a:cubicBezTo>
                  <a:pt x="27" y="5"/>
                  <a:pt x="27" y="5"/>
                  <a:pt x="27" y="5"/>
                </a:cubicBezTo>
                <a:cubicBezTo>
                  <a:pt x="27" y="5"/>
                  <a:pt x="28" y="5"/>
                  <a:pt x="28" y="6"/>
                </a:cubicBezTo>
                <a:lnTo>
                  <a:pt x="63" y="40"/>
                </a:lnTo>
                <a:close/>
                <a:moveTo>
                  <a:pt x="6" y="50"/>
                </a:moveTo>
                <a:cubicBezTo>
                  <a:pt x="7" y="50"/>
                  <a:pt x="7" y="50"/>
                  <a:pt x="7" y="50"/>
                </a:cubicBezTo>
                <a:cubicBezTo>
                  <a:pt x="18" y="40"/>
                  <a:pt x="18" y="40"/>
                  <a:pt x="18" y="40"/>
                </a:cubicBezTo>
                <a:cubicBezTo>
                  <a:pt x="17" y="39"/>
                  <a:pt x="17" y="39"/>
                  <a:pt x="17" y="39"/>
                </a:cubicBezTo>
                <a:lnTo>
                  <a:pt x="6" y="50"/>
                </a:lnTo>
                <a:close/>
                <a:moveTo>
                  <a:pt x="5" y="52"/>
                </a:moveTo>
                <a:cubicBezTo>
                  <a:pt x="5" y="51"/>
                  <a:pt x="5" y="51"/>
                  <a:pt x="5" y="51"/>
                </a:cubicBezTo>
                <a:cubicBezTo>
                  <a:pt x="3" y="53"/>
                  <a:pt x="3" y="53"/>
                  <a:pt x="3" y="53"/>
                </a:cubicBezTo>
                <a:cubicBezTo>
                  <a:pt x="4" y="53"/>
                  <a:pt x="4" y="53"/>
                  <a:pt x="4" y="53"/>
                </a:cubicBezTo>
                <a:lnTo>
                  <a:pt x="5" y="52"/>
                </a:lnTo>
                <a:close/>
                <a:moveTo>
                  <a:pt x="17" y="64"/>
                </a:moveTo>
                <a:cubicBezTo>
                  <a:pt x="7" y="53"/>
                  <a:pt x="7" y="53"/>
                  <a:pt x="7" y="53"/>
                </a:cubicBezTo>
                <a:cubicBezTo>
                  <a:pt x="5" y="55"/>
                  <a:pt x="5" y="55"/>
                  <a:pt x="5" y="55"/>
                </a:cubicBezTo>
                <a:cubicBezTo>
                  <a:pt x="16" y="65"/>
                  <a:pt x="16" y="65"/>
                  <a:pt x="16" y="65"/>
                </a:cubicBezTo>
                <a:lnTo>
                  <a:pt x="17" y="64"/>
                </a:lnTo>
                <a:close/>
                <a:moveTo>
                  <a:pt x="24" y="57"/>
                </a:moveTo>
                <a:cubicBezTo>
                  <a:pt x="30" y="52"/>
                  <a:pt x="30" y="52"/>
                  <a:pt x="30" y="52"/>
                </a:cubicBezTo>
                <a:cubicBezTo>
                  <a:pt x="23" y="45"/>
                  <a:pt x="23" y="45"/>
                  <a:pt x="23" y="45"/>
                </a:cubicBezTo>
                <a:cubicBezTo>
                  <a:pt x="19" y="41"/>
                  <a:pt x="19" y="41"/>
                  <a:pt x="19" y="41"/>
                </a:cubicBezTo>
                <a:cubicBezTo>
                  <a:pt x="8" y="52"/>
                  <a:pt x="8" y="52"/>
                  <a:pt x="8" y="52"/>
                </a:cubicBezTo>
                <a:cubicBezTo>
                  <a:pt x="19" y="63"/>
                  <a:pt x="19" y="63"/>
                  <a:pt x="19" y="63"/>
                </a:cubicBezTo>
                <a:cubicBezTo>
                  <a:pt x="20" y="61"/>
                  <a:pt x="20" y="61"/>
                  <a:pt x="20" y="61"/>
                </a:cubicBezTo>
                <a:cubicBezTo>
                  <a:pt x="20" y="61"/>
                  <a:pt x="20" y="61"/>
                  <a:pt x="20" y="61"/>
                </a:cubicBezTo>
                <a:lnTo>
                  <a:pt x="24" y="57"/>
                </a:lnTo>
                <a:close/>
                <a:moveTo>
                  <a:pt x="26" y="59"/>
                </a:moveTo>
                <a:cubicBezTo>
                  <a:pt x="29" y="56"/>
                  <a:pt x="29" y="56"/>
                  <a:pt x="29" y="56"/>
                </a:cubicBezTo>
                <a:cubicBezTo>
                  <a:pt x="29" y="55"/>
                  <a:pt x="29" y="55"/>
                  <a:pt x="29" y="55"/>
                </a:cubicBezTo>
                <a:cubicBezTo>
                  <a:pt x="26" y="59"/>
                  <a:pt x="26" y="59"/>
                  <a:pt x="26" y="59"/>
                </a:cubicBezTo>
                <a:cubicBezTo>
                  <a:pt x="22" y="62"/>
                  <a:pt x="22" y="62"/>
                  <a:pt x="22" y="62"/>
                </a:cubicBezTo>
                <a:cubicBezTo>
                  <a:pt x="23" y="62"/>
                  <a:pt x="23" y="62"/>
                  <a:pt x="23" y="62"/>
                </a:cubicBezTo>
                <a:cubicBezTo>
                  <a:pt x="23" y="62"/>
                  <a:pt x="23" y="62"/>
                  <a:pt x="23" y="62"/>
                </a:cubicBezTo>
                <a:cubicBezTo>
                  <a:pt x="23" y="62"/>
                  <a:pt x="23" y="62"/>
                  <a:pt x="23" y="62"/>
                </a:cubicBezTo>
                <a:lnTo>
                  <a:pt x="26" y="59"/>
                </a:lnTo>
                <a:close/>
                <a:moveTo>
                  <a:pt x="29" y="58"/>
                </a:moveTo>
                <a:cubicBezTo>
                  <a:pt x="27" y="60"/>
                  <a:pt x="27" y="60"/>
                  <a:pt x="27" y="60"/>
                </a:cubicBezTo>
                <a:cubicBezTo>
                  <a:pt x="25" y="62"/>
                  <a:pt x="25" y="62"/>
                  <a:pt x="25" y="62"/>
                </a:cubicBezTo>
                <a:cubicBezTo>
                  <a:pt x="32" y="69"/>
                  <a:pt x="32" y="69"/>
                  <a:pt x="32" y="69"/>
                </a:cubicBezTo>
                <a:cubicBezTo>
                  <a:pt x="36" y="65"/>
                  <a:pt x="36" y="65"/>
                  <a:pt x="36" y="65"/>
                </a:cubicBezTo>
                <a:lnTo>
                  <a:pt x="29" y="58"/>
                </a:lnTo>
                <a:close/>
                <a:moveTo>
                  <a:pt x="58" y="43"/>
                </a:moveTo>
                <a:cubicBezTo>
                  <a:pt x="42" y="27"/>
                  <a:pt x="42" y="27"/>
                  <a:pt x="42" y="27"/>
                </a:cubicBezTo>
                <a:cubicBezTo>
                  <a:pt x="26" y="11"/>
                  <a:pt x="26" y="11"/>
                  <a:pt x="26" y="11"/>
                </a:cubicBezTo>
                <a:cubicBezTo>
                  <a:pt x="18" y="37"/>
                  <a:pt x="18" y="37"/>
                  <a:pt x="18" y="37"/>
                </a:cubicBezTo>
                <a:cubicBezTo>
                  <a:pt x="18" y="38"/>
                  <a:pt x="18" y="38"/>
                  <a:pt x="18" y="38"/>
                </a:cubicBezTo>
                <a:cubicBezTo>
                  <a:pt x="26" y="15"/>
                  <a:pt x="26" y="15"/>
                  <a:pt x="26" y="15"/>
                </a:cubicBezTo>
                <a:cubicBezTo>
                  <a:pt x="26" y="15"/>
                  <a:pt x="27" y="14"/>
                  <a:pt x="27" y="14"/>
                </a:cubicBezTo>
                <a:cubicBezTo>
                  <a:pt x="28" y="15"/>
                  <a:pt x="28" y="15"/>
                  <a:pt x="28" y="16"/>
                </a:cubicBezTo>
                <a:cubicBezTo>
                  <a:pt x="20" y="39"/>
                  <a:pt x="20" y="39"/>
                  <a:pt x="20" y="39"/>
                </a:cubicBezTo>
                <a:cubicBezTo>
                  <a:pt x="25" y="44"/>
                  <a:pt x="25" y="44"/>
                  <a:pt x="25" y="44"/>
                </a:cubicBezTo>
                <a:cubicBezTo>
                  <a:pt x="31" y="51"/>
                  <a:pt x="31" y="51"/>
                  <a:pt x="31" y="51"/>
                </a:cubicBezTo>
                <a:lnTo>
                  <a:pt x="58" y="43"/>
                </a:lnTo>
                <a:close/>
                <a:moveTo>
                  <a:pt x="60" y="42"/>
                </a:moveTo>
                <a:cubicBezTo>
                  <a:pt x="27" y="9"/>
                  <a:pt x="27" y="9"/>
                  <a:pt x="27" y="9"/>
                </a:cubicBezTo>
                <a:cubicBezTo>
                  <a:pt x="27" y="9"/>
                  <a:pt x="27" y="9"/>
                  <a:pt x="27" y="9"/>
                </a:cubicBezTo>
                <a:cubicBezTo>
                  <a:pt x="43" y="26"/>
                  <a:pt x="43" y="26"/>
                  <a:pt x="43" y="26"/>
                </a:cubicBezTo>
                <a:cubicBezTo>
                  <a:pt x="60" y="42"/>
                  <a:pt x="60" y="42"/>
                  <a:pt x="60" y="42"/>
                </a:cubicBezTo>
                <a:close/>
                <a:moveTo>
                  <a:pt x="21" y="47"/>
                </a:moveTo>
                <a:cubicBezTo>
                  <a:pt x="21" y="47"/>
                  <a:pt x="21" y="47"/>
                  <a:pt x="21" y="47"/>
                </a:cubicBezTo>
                <a:cubicBezTo>
                  <a:pt x="21" y="48"/>
                  <a:pt x="21" y="48"/>
                  <a:pt x="21" y="48"/>
                </a:cubicBezTo>
                <a:cubicBezTo>
                  <a:pt x="15" y="54"/>
                  <a:pt x="15" y="54"/>
                  <a:pt x="15" y="54"/>
                </a:cubicBezTo>
                <a:cubicBezTo>
                  <a:pt x="15" y="54"/>
                  <a:pt x="15" y="54"/>
                  <a:pt x="14" y="54"/>
                </a:cubicBezTo>
                <a:cubicBezTo>
                  <a:pt x="14" y="54"/>
                  <a:pt x="14" y="54"/>
                  <a:pt x="14" y="54"/>
                </a:cubicBezTo>
                <a:cubicBezTo>
                  <a:pt x="12" y="52"/>
                  <a:pt x="12" y="52"/>
                  <a:pt x="12" y="52"/>
                </a:cubicBezTo>
                <a:cubicBezTo>
                  <a:pt x="12" y="52"/>
                  <a:pt x="12" y="51"/>
                  <a:pt x="12" y="51"/>
                </a:cubicBezTo>
                <a:cubicBezTo>
                  <a:pt x="12" y="51"/>
                  <a:pt x="12" y="51"/>
                  <a:pt x="12" y="50"/>
                </a:cubicBezTo>
                <a:cubicBezTo>
                  <a:pt x="17" y="45"/>
                  <a:pt x="17" y="45"/>
                  <a:pt x="17" y="45"/>
                </a:cubicBezTo>
                <a:cubicBezTo>
                  <a:pt x="18" y="45"/>
                  <a:pt x="18" y="45"/>
                  <a:pt x="19" y="45"/>
                </a:cubicBezTo>
                <a:lnTo>
                  <a:pt x="21" y="47"/>
                </a:lnTo>
                <a:close/>
                <a:moveTo>
                  <a:pt x="18" y="47"/>
                </a:moveTo>
                <a:cubicBezTo>
                  <a:pt x="18" y="47"/>
                  <a:pt x="18" y="47"/>
                  <a:pt x="18" y="47"/>
                </a:cubicBezTo>
                <a:cubicBezTo>
                  <a:pt x="14" y="51"/>
                  <a:pt x="14" y="51"/>
                  <a:pt x="14" y="51"/>
                </a:cubicBezTo>
                <a:cubicBezTo>
                  <a:pt x="14" y="51"/>
                  <a:pt x="14" y="51"/>
                  <a:pt x="14" y="51"/>
                </a:cubicBezTo>
                <a:lnTo>
                  <a:pt x="18" y="47"/>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defTabSz="685800"/>
            <a:endParaRPr lang="en-US" sz="1350">
              <a:solidFill>
                <a:prstClr val="black"/>
              </a:solidFill>
            </a:endParaRPr>
          </a:p>
        </p:txBody>
      </p:sp>
      <p:sp>
        <p:nvSpPr>
          <p:cNvPr id="48" name="Freeform 117"/>
          <p:cNvSpPr>
            <a:spLocks noEditPoints="1"/>
          </p:cNvSpPr>
          <p:nvPr/>
        </p:nvSpPr>
        <p:spPr bwMode="auto">
          <a:xfrm>
            <a:off x="3344210" y="3299446"/>
            <a:ext cx="240345" cy="329815"/>
          </a:xfrm>
          <a:custGeom>
            <a:avLst/>
            <a:gdLst>
              <a:gd name="T0" fmla="*/ 15 w 58"/>
              <a:gd name="T1" fmla="*/ 23 h 76"/>
              <a:gd name="T2" fmla="*/ 37 w 58"/>
              <a:gd name="T3" fmla="*/ 24 h 76"/>
              <a:gd name="T4" fmla="*/ 15 w 58"/>
              <a:gd name="T5" fmla="*/ 25 h 76"/>
              <a:gd name="T6" fmla="*/ 15 w 58"/>
              <a:gd name="T7" fmla="*/ 59 h 76"/>
              <a:gd name="T8" fmla="*/ 45 w 58"/>
              <a:gd name="T9" fmla="*/ 58 h 76"/>
              <a:gd name="T10" fmla="*/ 15 w 58"/>
              <a:gd name="T11" fmla="*/ 57 h 76"/>
              <a:gd name="T12" fmla="*/ 15 w 58"/>
              <a:gd name="T13" fmla="*/ 59 h 76"/>
              <a:gd name="T14" fmla="*/ 58 w 58"/>
              <a:gd name="T15" fmla="*/ 69 h 76"/>
              <a:gd name="T16" fmla="*/ 8 w 58"/>
              <a:gd name="T17" fmla="*/ 76 h 76"/>
              <a:gd name="T18" fmla="*/ 0 w 58"/>
              <a:gd name="T19" fmla="*/ 10 h 76"/>
              <a:gd name="T20" fmla="*/ 17 w 58"/>
              <a:gd name="T21" fmla="*/ 3 h 76"/>
              <a:gd name="T22" fmla="*/ 38 w 58"/>
              <a:gd name="T23" fmla="*/ 0 h 76"/>
              <a:gd name="T24" fmla="*/ 51 w 58"/>
              <a:gd name="T25" fmla="*/ 3 h 76"/>
              <a:gd name="T26" fmla="*/ 19 w 58"/>
              <a:gd name="T27" fmla="*/ 3 h 76"/>
              <a:gd name="T28" fmla="*/ 19 w 58"/>
              <a:gd name="T29" fmla="*/ 8 h 76"/>
              <a:gd name="T30" fmla="*/ 38 w 58"/>
              <a:gd name="T31" fmla="*/ 9 h 76"/>
              <a:gd name="T32" fmla="*/ 40 w 58"/>
              <a:gd name="T33" fmla="*/ 6 h 76"/>
              <a:gd name="T34" fmla="*/ 38 w 58"/>
              <a:gd name="T35" fmla="*/ 2 h 76"/>
              <a:gd name="T36" fmla="*/ 19 w 58"/>
              <a:gd name="T37" fmla="*/ 3 h 76"/>
              <a:gd name="T38" fmla="*/ 51 w 58"/>
              <a:gd name="T39" fmla="*/ 6 h 76"/>
              <a:gd name="T40" fmla="*/ 42 w 58"/>
              <a:gd name="T41" fmla="*/ 8 h 76"/>
              <a:gd name="T42" fmla="*/ 20 w 58"/>
              <a:gd name="T43" fmla="*/ 11 h 76"/>
              <a:gd name="T44" fmla="*/ 17 w 58"/>
              <a:gd name="T45" fmla="*/ 6 h 76"/>
              <a:gd name="T46" fmla="*/ 3 w 58"/>
              <a:gd name="T47" fmla="*/ 10 h 76"/>
              <a:gd name="T48" fmla="*/ 8 w 58"/>
              <a:gd name="T49" fmla="*/ 73 h 76"/>
              <a:gd name="T50" fmla="*/ 55 w 58"/>
              <a:gd name="T51" fmla="*/ 69 h 76"/>
              <a:gd name="T52" fmla="*/ 15 w 58"/>
              <a:gd name="T53" fmla="*/ 50 h 76"/>
              <a:gd name="T54" fmla="*/ 45 w 58"/>
              <a:gd name="T55" fmla="*/ 49 h 76"/>
              <a:gd name="T56" fmla="*/ 15 w 58"/>
              <a:gd name="T57" fmla="*/ 48 h 76"/>
              <a:gd name="T58" fmla="*/ 15 w 58"/>
              <a:gd name="T59" fmla="*/ 50 h 76"/>
              <a:gd name="T60" fmla="*/ 44 w 58"/>
              <a:gd name="T61" fmla="*/ 42 h 76"/>
              <a:gd name="T62" fmla="*/ 44 w 58"/>
              <a:gd name="T63" fmla="*/ 40 h 76"/>
              <a:gd name="T64" fmla="*/ 14 w 58"/>
              <a:gd name="T65" fmla="*/ 41 h 76"/>
              <a:gd name="T66" fmla="*/ 15 w 58"/>
              <a:gd name="T67" fmla="*/ 34 h 76"/>
              <a:gd name="T68" fmla="*/ 45 w 58"/>
              <a:gd name="T69" fmla="*/ 33 h 76"/>
              <a:gd name="T70" fmla="*/ 15 w 58"/>
              <a:gd name="T71" fmla="*/ 32 h 76"/>
              <a:gd name="T72" fmla="*/ 15 w 58"/>
              <a:gd name="T73" fmla="*/ 34 h 76"/>
              <a:gd name="T74" fmla="*/ 51 w 58"/>
              <a:gd name="T75" fmla="*/ 68 h 76"/>
              <a:gd name="T76" fmla="*/ 8 w 58"/>
              <a:gd name="T77" fmla="*/ 69 h 76"/>
              <a:gd name="T78" fmla="*/ 7 w 58"/>
              <a:gd name="T79" fmla="*/ 15 h 76"/>
              <a:gd name="T80" fmla="*/ 50 w 58"/>
              <a:gd name="T81" fmla="*/ 14 h 76"/>
              <a:gd name="T82" fmla="*/ 49 w 58"/>
              <a:gd name="T83" fmla="*/ 16 h 76"/>
              <a:gd name="T84" fmla="*/ 9 w 58"/>
              <a:gd name="T85" fmla="*/ 67 h 76"/>
              <a:gd name="T86" fmla="*/ 49 w 58"/>
              <a:gd name="T87" fmla="*/ 1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8" h="76">
                <a:moveTo>
                  <a:pt x="14" y="24"/>
                </a:moveTo>
                <a:cubicBezTo>
                  <a:pt x="14" y="24"/>
                  <a:pt x="15" y="23"/>
                  <a:pt x="15" y="23"/>
                </a:cubicBezTo>
                <a:cubicBezTo>
                  <a:pt x="36" y="23"/>
                  <a:pt x="36" y="23"/>
                  <a:pt x="36" y="23"/>
                </a:cubicBezTo>
                <a:cubicBezTo>
                  <a:pt x="37" y="23"/>
                  <a:pt x="37" y="24"/>
                  <a:pt x="37" y="24"/>
                </a:cubicBezTo>
                <a:cubicBezTo>
                  <a:pt x="37" y="25"/>
                  <a:pt x="37" y="25"/>
                  <a:pt x="36" y="25"/>
                </a:cubicBezTo>
                <a:cubicBezTo>
                  <a:pt x="15" y="25"/>
                  <a:pt x="15" y="25"/>
                  <a:pt x="15" y="25"/>
                </a:cubicBezTo>
                <a:cubicBezTo>
                  <a:pt x="15" y="25"/>
                  <a:pt x="14" y="25"/>
                  <a:pt x="14" y="24"/>
                </a:cubicBezTo>
                <a:close/>
                <a:moveTo>
                  <a:pt x="15" y="59"/>
                </a:moveTo>
                <a:cubicBezTo>
                  <a:pt x="44" y="59"/>
                  <a:pt x="44" y="59"/>
                  <a:pt x="44" y="59"/>
                </a:cubicBezTo>
                <a:cubicBezTo>
                  <a:pt x="45" y="59"/>
                  <a:pt x="45" y="58"/>
                  <a:pt x="45" y="58"/>
                </a:cubicBezTo>
                <a:cubicBezTo>
                  <a:pt x="45" y="57"/>
                  <a:pt x="45" y="57"/>
                  <a:pt x="44" y="57"/>
                </a:cubicBezTo>
                <a:cubicBezTo>
                  <a:pt x="15" y="57"/>
                  <a:pt x="15" y="57"/>
                  <a:pt x="15" y="57"/>
                </a:cubicBezTo>
                <a:cubicBezTo>
                  <a:pt x="15" y="57"/>
                  <a:pt x="14" y="57"/>
                  <a:pt x="14" y="58"/>
                </a:cubicBezTo>
                <a:cubicBezTo>
                  <a:pt x="14" y="58"/>
                  <a:pt x="15" y="59"/>
                  <a:pt x="15" y="59"/>
                </a:cubicBezTo>
                <a:close/>
                <a:moveTo>
                  <a:pt x="58" y="10"/>
                </a:moveTo>
                <a:cubicBezTo>
                  <a:pt x="58" y="69"/>
                  <a:pt x="58" y="69"/>
                  <a:pt x="58" y="69"/>
                </a:cubicBezTo>
                <a:cubicBezTo>
                  <a:pt x="58" y="73"/>
                  <a:pt x="55" y="76"/>
                  <a:pt x="51" y="76"/>
                </a:cubicBezTo>
                <a:cubicBezTo>
                  <a:pt x="8" y="76"/>
                  <a:pt x="8" y="76"/>
                  <a:pt x="8" y="76"/>
                </a:cubicBezTo>
                <a:cubicBezTo>
                  <a:pt x="4" y="76"/>
                  <a:pt x="0" y="73"/>
                  <a:pt x="0" y="69"/>
                </a:cubicBezTo>
                <a:cubicBezTo>
                  <a:pt x="0" y="10"/>
                  <a:pt x="0" y="10"/>
                  <a:pt x="0" y="10"/>
                </a:cubicBezTo>
                <a:cubicBezTo>
                  <a:pt x="0" y="6"/>
                  <a:pt x="4" y="3"/>
                  <a:pt x="8" y="3"/>
                </a:cubicBezTo>
                <a:cubicBezTo>
                  <a:pt x="17" y="3"/>
                  <a:pt x="17" y="3"/>
                  <a:pt x="17" y="3"/>
                </a:cubicBezTo>
                <a:cubicBezTo>
                  <a:pt x="17" y="1"/>
                  <a:pt x="19" y="0"/>
                  <a:pt x="20" y="0"/>
                </a:cubicBezTo>
                <a:cubicBezTo>
                  <a:pt x="38" y="0"/>
                  <a:pt x="38" y="0"/>
                  <a:pt x="38" y="0"/>
                </a:cubicBezTo>
                <a:cubicBezTo>
                  <a:pt x="40" y="0"/>
                  <a:pt x="41" y="1"/>
                  <a:pt x="41" y="3"/>
                </a:cubicBezTo>
                <a:cubicBezTo>
                  <a:pt x="51" y="3"/>
                  <a:pt x="51" y="3"/>
                  <a:pt x="51" y="3"/>
                </a:cubicBezTo>
                <a:cubicBezTo>
                  <a:pt x="55" y="3"/>
                  <a:pt x="58" y="6"/>
                  <a:pt x="58" y="10"/>
                </a:cubicBezTo>
                <a:close/>
                <a:moveTo>
                  <a:pt x="19" y="3"/>
                </a:moveTo>
                <a:cubicBezTo>
                  <a:pt x="19" y="6"/>
                  <a:pt x="19" y="6"/>
                  <a:pt x="19" y="6"/>
                </a:cubicBezTo>
                <a:cubicBezTo>
                  <a:pt x="19" y="8"/>
                  <a:pt x="19" y="8"/>
                  <a:pt x="19" y="8"/>
                </a:cubicBezTo>
                <a:cubicBezTo>
                  <a:pt x="19" y="8"/>
                  <a:pt x="19" y="9"/>
                  <a:pt x="20" y="9"/>
                </a:cubicBezTo>
                <a:cubicBezTo>
                  <a:pt x="38" y="9"/>
                  <a:pt x="38" y="9"/>
                  <a:pt x="38" y="9"/>
                </a:cubicBezTo>
                <a:cubicBezTo>
                  <a:pt x="39" y="9"/>
                  <a:pt x="40" y="8"/>
                  <a:pt x="40" y="8"/>
                </a:cubicBezTo>
                <a:cubicBezTo>
                  <a:pt x="40" y="6"/>
                  <a:pt x="40" y="6"/>
                  <a:pt x="40" y="6"/>
                </a:cubicBezTo>
                <a:cubicBezTo>
                  <a:pt x="40" y="3"/>
                  <a:pt x="40" y="3"/>
                  <a:pt x="40" y="3"/>
                </a:cubicBezTo>
                <a:cubicBezTo>
                  <a:pt x="40" y="3"/>
                  <a:pt x="39" y="2"/>
                  <a:pt x="38" y="2"/>
                </a:cubicBezTo>
                <a:cubicBezTo>
                  <a:pt x="20" y="2"/>
                  <a:pt x="20" y="2"/>
                  <a:pt x="20" y="2"/>
                </a:cubicBezTo>
                <a:cubicBezTo>
                  <a:pt x="19" y="2"/>
                  <a:pt x="19" y="3"/>
                  <a:pt x="19" y="3"/>
                </a:cubicBezTo>
                <a:close/>
                <a:moveTo>
                  <a:pt x="55" y="10"/>
                </a:moveTo>
                <a:cubicBezTo>
                  <a:pt x="55" y="8"/>
                  <a:pt x="53" y="6"/>
                  <a:pt x="51" y="6"/>
                </a:cubicBezTo>
                <a:cubicBezTo>
                  <a:pt x="42" y="6"/>
                  <a:pt x="42" y="6"/>
                  <a:pt x="42" y="6"/>
                </a:cubicBezTo>
                <a:cubicBezTo>
                  <a:pt x="42" y="8"/>
                  <a:pt x="42" y="8"/>
                  <a:pt x="42" y="8"/>
                </a:cubicBezTo>
                <a:cubicBezTo>
                  <a:pt x="42" y="9"/>
                  <a:pt x="40" y="11"/>
                  <a:pt x="38" y="11"/>
                </a:cubicBezTo>
                <a:cubicBezTo>
                  <a:pt x="20" y="11"/>
                  <a:pt x="20" y="11"/>
                  <a:pt x="20" y="11"/>
                </a:cubicBezTo>
                <a:cubicBezTo>
                  <a:pt x="18" y="11"/>
                  <a:pt x="17" y="9"/>
                  <a:pt x="17" y="8"/>
                </a:cubicBezTo>
                <a:cubicBezTo>
                  <a:pt x="17" y="6"/>
                  <a:pt x="17" y="6"/>
                  <a:pt x="17" y="6"/>
                </a:cubicBezTo>
                <a:cubicBezTo>
                  <a:pt x="8" y="6"/>
                  <a:pt x="8" y="6"/>
                  <a:pt x="8" y="6"/>
                </a:cubicBezTo>
                <a:cubicBezTo>
                  <a:pt x="5" y="6"/>
                  <a:pt x="3" y="8"/>
                  <a:pt x="3" y="10"/>
                </a:cubicBezTo>
                <a:cubicBezTo>
                  <a:pt x="3" y="69"/>
                  <a:pt x="3" y="69"/>
                  <a:pt x="3" y="69"/>
                </a:cubicBezTo>
                <a:cubicBezTo>
                  <a:pt x="3" y="71"/>
                  <a:pt x="5" y="73"/>
                  <a:pt x="8" y="73"/>
                </a:cubicBezTo>
                <a:cubicBezTo>
                  <a:pt x="51" y="73"/>
                  <a:pt x="51" y="73"/>
                  <a:pt x="51" y="73"/>
                </a:cubicBezTo>
                <a:cubicBezTo>
                  <a:pt x="53" y="73"/>
                  <a:pt x="55" y="71"/>
                  <a:pt x="55" y="69"/>
                </a:cubicBezTo>
                <a:lnTo>
                  <a:pt x="55" y="10"/>
                </a:lnTo>
                <a:close/>
                <a:moveTo>
                  <a:pt x="15" y="50"/>
                </a:moveTo>
                <a:cubicBezTo>
                  <a:pt x="44" y="50"/>
                  <a:pt x="44" y="50"/>
                  <a:pt x="44" y="50"/>
                </a:cubicBezTo>
                <a:cubicBezTo>
                  <a:pt x="45" y="50"/>
                  <a:pt x="45" y="50"/>
                  <a:pt x="45" y="49"/>
                </a:cubicBezTo>
                <a:cubicBezTo>
                  <a:pt x="45" y="49"/>
                  <a:pt x="45" y="48"/>
                  <a:pt x="44" y="48"/>
                </a:cubicBezTo>
                <a:cubicBezTo>
                  <a:pt x="15" y="48"/>
                  <a:pt x="15" y="48"/>
                  <a:pt x="15" y="48"/>
                </a:cubicBezTo>
                <a:cubicBezTo>
                  <a:pt x="15" y="48"/>
                  <a:pt x="14" y="49"/>
                  <a:pt x="14" y="49"/>
                </a:cubicBezTo>
                <a:cubicBezTo>
                  <a:pt x="14" y="50"/>
                  <a:pt x="15" y="50"/>
                  <a:pt x="15" y="50"/>
                </a:cubicBezTo>
                <a:close/>
                <a:moveTo>
                  <a:pt x="15" y="42"/>
                </a:moveTo>
                <a:cubicBezTo>
                  <a:pt x="44" y="42"/>
                  <a:pt x="44" y="42"/>
                  <a:pt x="44" y="42"/>
                </a:cubicBezTo>
                <a:cubicBezTo>
                  <a:pt x="45" y="42"/>
                  <a:pt x="45" y="42"/>
                  <a:pt x="45" y="41"/>
                </a:cubicBezTo>
                <a:cubicBezTo>
                  <a:pt x="45" y="40"/>
                  <a:pt x="45" y="40"/>
                  <a:pt x="44" y="40"/>
                </a:cubicBezTo>
                <a:cubicBezTo>
                  <a:pt x="15" y="40"/>
                  <a:pt x="15" y="40"/>
                  <a:pt x="15" y="40"/>
                </a:cubicBezTo>
                <a:cubicBezTo>
                  <a:pt x="15" y="40"/>
                  <a:pt x="14" y="40"/>
                  <a:pt x="14" y="41"/>
                </a:cubicBezTo>
                <a:cubicBezTo>
                  <a:pt x="14" y="42"/>
                  <a:pt x="15" y="42"/>
                  <a:pt x="15" y="42"/>
                </a:cubicBezTo>
                <a:close/>
                <a:moveTo>
                  <a:pt x="15" y="34"/>
                </a:moveTo>
                <a:cubicBezTo>
                  <a:pt x="44" y="34"/>
                  <a:pt x="44" y="34"/>
                  <a:pt x="44" y="34"/>
                </a:cubicBezTo>
                <a:cubicBezTo>
                  <a:pt x="45" y="34"/>
                  <a:pt x="45" y="33"/>
                  <a:pt x="45" y="33"/>
                </a:cubicBezTo>
                <a:cubicBezTo>
                  <a:pt x="45" y="32"/>
                  <a:pt x="45" y="32"/>
                  <a:pt x="44" y="32"/>
                </a:cubicBezTo>
                <a:cubicBezTo>
                  <a:pt x="15" y="32"/>
                  <a:pt x="15" y="32"/>
                  <a:pt x="15" y="32"/>
                </a:cubicBezTo>
                <a:cubicBezTo>
                  <a:pt x="15" y="32"/>
                  <a:pt x="14" y="32"/>
                  <a:pt x="14" y="33"/>
                </a:cubicBezTo>
                <a:cubicBezTo>
                  <a:pt x="14" y="33"/>
                  <a:pt x="15" y="34"/>
                  <a:pt x="15" y="34"/>
                </a:cubicBezTo>
                <a:close/>
                <a:moveTo>
                  <a:pt x="51" y="15"/>
                </a:moveTo>
                <a:cubicBezTo>
                  <a:pt x="51" y="68"/>
                  <a:pt x="51" y="68"/>
                  <a:pt x="51" y="68"/>
                </a:cubicBezTo>
                <a:cubicBezTo>
                  <a:pt x="51" y="69"/>
                  <a:pt x="51" y="69"/>
                  <a:pt x="50" y="69"/>
                </a:cubicBezTo>
                <a:cubicBezTo>
                  <a:pt x="8" y="69"/>
                  <a:pt x="8" y="69"/>
                  <a:pt x="8" y="69"/>
                </a:cubicBezTo>
                <a:cubicBezTo>
                  <a:pt x="8" y="69"/>
                  <a:pt x="7" y="69"/>
                  <a:pt x="7" y="68"/>
                </a:cubicBezTo>
                <a:cubicBezTo>
                  <a:pt x="7" y="15"/>
                  <a:pt x="7" y="15"/>
                  <a:pt x="7" y="15"/>
                </a:cubicBezTo>
                <a:cubicBezTo>
                  <a:pt x="7" y="14"/>
                  <a:pt x="8" y="14"/>
                  <a:pt x="8" y="14"/>
                </a:cubicBezTo>
                <a:cubicBezTo>
                  <a:pt x="50" y="14"/>
                  <a:pt x="50" y="14"/>
                  <a:pt x="50" y="14"/>
                </a:cubicBezTo>
                <a:cubicBezTo>
                  <a:pt x="51" y="14"/>
                  <a:pt x="51" y="14"/>
                  <a:pt x="51" y="15"/>
                </a:cubicBezTo>
                <a:close/>
                <a:moveTo>
                  <a:pt x="49" y="16"/>
                </a:moveTo>
                <a:cubicBezTo>
                  <a:pt x="9" y="16"/>
                  <a:pt x="9" y="16"/>
                  <a:pt x="9" y="16"/>
                </a:cubicBezTo>
                <a:cubicBezTo>
                  <a:pt x="9" y="67"/>
                  <a:pt x="9" y="67"/>
                  <a:pt x="9" y="67"/>
                </a:cubicBezTo>
                <a:cubicBezTo>
                  <a:pt x="49" y="67"/>
                  <a:pt x="49" y="67"/>
                  <a:pt x="49" y="67"/>
                </a:cubicBezTo>
                <a:lnTo>
                  <a:pt x="49" y="16"/>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defTabSz="685800"/>
            <a:endParaRPr lang="en-US" sz="1350">
              <a:solidFill>
                <a:prstClr val="black"/>
              </a:solidFill>
            </a:endParaRPr>
          </a:p>
        </p:txBody>
      </p:sp>
      <p:grpSp>
        <p:nvGrpSpPr>
          <p:cNvPr id="51" name="Group 50"/>
          <p:cNvGrpSpPr/>
          <p:nvPr/>
        </p:nvGrpSpPr>
        <p:grpSpPr>
          <a:xfrm>
            <a:off x="3484743" y="4242028"/>
            <a:ext cx="407596" cy="354872"/>
            <a:chOff x="1482726" y="3625850"/>
            <a:chExt cx="319088" cy="277813"/>
          </a:xfrm>
          <a:solidFill>
            <a:schemeClr val="bg2"/>
          </a:solidFill>
        </p:grpSpPr>
        <p:sp>
          <p:nvSpPr>
            <p:cNvPr id="52" name="Freeform 143"/>
            <p:cNvSpPr>
              <a:spLocks noEditPoints="1"/>
            </p:cNvSpPr>
            <p:nvPr/>
          </p:nvSpPr>
          <p:spPr bwMode="auto">
            <a:xfrm>
              <a:off x="1482726" y="3625850"/>
              <a:ext cx="319088" cy="277813"/>
            </a:xfrm>
            <a:custGeom>
              <a:avLst/>
              <a:gdLst>
                <a:gd name="T0" fmla="*/ 108 w 120"/>
                <a:gd name="T1" fmla="*/ 0 h 104"/>
                <a:gd name="T2" fmla="*/ 12 w 120"/>
                <a:gd name="T3" fmla="*/ 0 h 104"/>
                <a:gd name="T4" fmla="*/ 0 w 120"/>
                <a:gd name="T5" fmla="*/ 12 h 104"/>
                <a:gd name="T6" fmla="*/ 0 w 120"/>
                <a:gd name="T7" fmla="*/ 16 h 104"/>
                <a:gd name="T8" fmla="*/ 8 w 120"/>
                <a:gd name="T9" fmla="*/ 27 h 104"/>
                <a:gd name="T10" fmla="*/ 8 w 120"/>
                <a:gd name="T11" fmla="*/ 96 h 104"/>
                <a:gd name="T12" fmla="*/ 16 w 120"/>
                <a:gd name="T13" fmla="*/ 104 h 104"/>
                <a:gd name="T14" fmla="*/ 104 w 120"/>
                <a:gd name="T15" fmla="*/ 104 h 104"/>
                <a:gd name="T16" fmla="*/ 112 w 120"/>
                <a:gd name="T17" fmla="*/ 96 h 104"/>
                <a:gd name="T18" fmla="*/ 112 w 120"/>
                <a:gd name="T19" fmla="*/ 27 h 104"/>
                <a:gd name="T20" fmla="*/ 120 w 120"/>
                <a:gd name="T21" fmla="*/ 16 h 104"/>
                <a:gd name="T22" fmla="*/ 120 w 120"/>
                <a:gd name="T23" fmla="*/ 12 h 104"/>
                <a:gd name="T24" fmla="*/ 108 w 120"/>
                <a:gd name="T25" fmla="*/ 0 h 104"/>
                <a:gd name="T26" fmla="*/ 8 w 120"/>
                <a:gd name="T27" fmla="*/ 12 h 104"/>
                <a:gd name="T28" fmla="*/ 12 w 120"/>
                <a:gd name="T29" fmla="*/ 8 h 104"/>
                <a:gd name="T30" fmla="*/ 108 w 120"/>
                <a:gd name="T31" fmla="*/ 8 h 104"/>
                <a:gd name="T32" fmla="*/ 112 w 120"/>
                <a:gd name="T33" fmla="*/ 12 h 104"/>
                <a:gd name="T34" fmla="*/ 112 w 120"/>
                <a:gd name="T35" fmla="*/ 16 h 104"/>
                <a:gd name="T36" fmla="*/ 108 w 120"/>
                <a:gd name="T37" fmla="*/ 20 h 104"/>
                <a:gd name="T38" fmla="*/ 108 w 120"/>
                <a:gd name="T39" fmla="*/ 20 h 104"/>
                <a:gd name="T40" fmla="*/ 12 w 120"/>
                <a:gd name="T41" fmla="*/ 20 h 104"/>
                <a:gd name="T42" fmla="*/ 12 w 120"/>
                <a:gd name="T43" fmla="*/ 20 h 104"/>
                <a:gd name="T44" fmla="*/ 8 w 120"/>
                <a:gd name="T45" fmla="*/ 16 h 104"/>
                <a:gd name="T46" fmla="*/ 8 w 120"/>
                <a:gd name="T47" fmla="*/ 12 h 104"/>
                <a:gd name="T48" fmla="*/ 16 w 120"/>
                <a:gd name="T49" fmla="*/ 96 h 104"/>
                <a:gd name="T50" fmla="*/ 16 w 120"/>
                <a:gd name="T51" fmla="*/ 28 h 104"/>
                <a:gd name="T52" fmla="*/ 104 w 120"/>
                <a:gd name="T53" fmla="*/ 28 h 104"/>
                <a:gd name="T54" fmla="*/ 104 w 120"/>
                <a:gd name="T55" fmla="*/ 96 h 104"/>
                <a:gd name="T56" fmla="*/ 16 w 120"/>
                <a:gd name="T57"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0" h="104">
                  <a:moveTo>
                    <a:pt x="108" y="0"/>
                  </a:moveTo>
                  <a:cubicBezTo>
                    <a:pt x="12" y="0"/>
                    <a:pt x="12" y="0"/>
                    <a:pt x="12" y="0"/>
                  </a:cubicBezTo>
                  <a:cubicBezTo>
                    <a:pt x="5" y="0"/>
                    <a:pt x="0" y="5"/>
                    <a:pt x="0" y="12"/>
                  </a:cubicBezTo>
                  <a:cubicBezTo>
                    <a:pt x="0" y="16"/>
                    <a:pt x="0" y="16"/>
                    <a:pt x="0" y="16"/>
                  </a:cubicBezTo>
                  <a:cubicBezTo>
                    <a:pt x="0" y="21"/>
                    <a:pt x="3" y="26"/>
                    <a:pt x="8" y="27"/>
                  </a:cubicBezTo>
                  <a:cubicBezTo>
                    <a:pt x="8" y="96"/>
                    <a:pt x="8" y="96"/>
                    <a:pt x="8" y="96"/>
                  </a:cubicBezTo>
                  <a:cubicBezTo>
                    <a:pt x="8" y="100"/>
                    <a:pt x="12" y="104"/>
                    <a:pt x="16" y="104"/>
                  </a:cubicBezTo>
                  <a:cubicBezTo>
                    <a:pt x="104" y="104"/>
                    <a:pt x="104" y="104"/>
                    <a:pt x="104" y="104"/>
                  </a:cubicBezTo>
                  <a:cubicBezTo>
                    <a:pt x="108" y="104"/>
                    <a:pt x="112" y="100"/>
                    <a:pt x="112" y="96"/>
                  </a:cubicBezTo>
                  <a:cubicBezTo>
                    <a:pt x="112" y="27"/>
                    <a:pt x="112" y="27"/>
                    <a:pt x="112" y="27"/>
                  </a:cubicBezTo>
                  <a:cubicBezTo>
                    <a:pt x="117" y="26"/>
                    <a:pt x="120" y="21"/>
                    <a:pt x="120" y="16"/>
                  </a:cubicBezTo>
                  <a:cubicBezTo>
                    <a:pt x="120" y="12"/>
                    <a:pt x="120" y="12"/>
                    <a:pt x="120" y="12"/>
                  </a:cubicBezTo>
                  <a:cubicBezTo>
                    <a:pt x="120" y="5"/>
                    <a:pt x="115" y="0"/>
                    <a:pt x="108" y="0"/>
                  </a:cubicBezTo>
                  <a:close/>
                  <a:moveTo>
                    <a:pt x="8" y="12"/>
                  </a:moveTo>
                  <a:cubicBezTo>
                    <a:pt x="8" y="10"/>
                    <a:pt x="10" y="8"/>
                    <a:pt x="12" y="8"/>
                  </a:cubicBezTo>
                  <a:cubicBezTo>
                    <a:pt x="108" y="8"/>
                    <a:pt x="108" y="8"/>
                    <a:pt x="108" y="8"/>
                  </a:cubicBezTo>
                  <a:cubicBezTo>
                    <a:pt x="110" y="8"/>
                    <a:pt x="112" y="10"/>
                    <a:pt x="112" y="12"/>
                  </a:cubicBezTo>
                  <a:cubicBezTo>
                    <a:pt x="112" y="16"/>
                    <a:pt x="112" y="16"/>
                    <a:pt x="112" y="16"/>
                  </a:cubicBezTo>
                  <a:cubicBezTo>
                    <a:pt x="112" y="18"/>
                    <a:pt x="110" y="20"/>
                    <a:pt x="108" y="20"/>
                  </a:cubicBezTo>
                  <a:cubicBezTo>
                    <a:pt x="108" y="20"/>
                    <a:pt x="108" y="20"/>
                    <a:pt x="108" y="20"/>
                  </a:cubicBezTo>
                  <a:cubicBezTo>
                    <a:pt x="12" y="20"/>
                    <a:pt x="12" y="20"/>
                    <a:pt x="12" y="20"/>
                  </a:cubicBezTo>
                  <a:cubicBezTo>
                    <a:pt x="12" y="20"/>
                    <a:pt x="12" y="20"/>
                    <a:pt x="12" y="20"/>
                  </a:cubicBezTo>
                  <a:cubicBezTo>
                    <a:pt x="10" y="20"/>
                    <a:pt x="8" y="18"/>
                    <a:pt x="8" y="16"/>
                  </a:cubicBezTo>
                  <a:lnTo>
                    <a:pt x="8" y="12"/>
                  </a:lnTo>
                  <a:close/>
                  <a:moveTo>
                    <a:pt x="16" y="96"/>
                  </a:moveTo>
                  <a:cubicBezTo>
                    <a:pt x="16" y="28"/>
                    <a:pt x="16" y="28"/>
                    <a:pt x="16" y="28"/>
                  </a:cubicBezTo>
                  <a:cubicBezTo>
                    <a:pt x="104" y="28"/>
                    <a:pt x="104" y="28"/>
                    <a:pt x="104" y="28"/>
                  </a:cubicBezTo>
                  <a:cubicBezTo>
                    <a:pt x="104" y="96"/>
                    <a:pt x="104" y="96"/>
                    <a:pt x="104" y="96"/>
                  </a:cubicBezTo>
                  <a:lnTo>
                    <a:pt x="16" y="9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id-ID" sz="1350">
                <a:solidFill>
                  <a:prstClr val="black"/>
                </a:solidFill>
              </a:endParaRPr>
            </a:p>
          </p:txBody>
        </p:sp>
        <p:sp>
          <p:nvSpPr>
            <p:cNvPr id="53" name="Freeform 144"/>
            <p:cNvSpPr>
              <a:spLocks/>
            </p:cNvSpPr>
            <p:nvPr/>
          </p:nvSpPr>
          <p:spPr bwMode="auto">
            <a:xfrm>
              <a:off x="1600201" y="3732213"/>
              <a:ext cx="84138" cy="22225"/>
            </a:xfrm>
            <a:custGeom>
              <a:avLst/>
              <a:gdLst>
                <a:gd name="T0" fmla="*/ 28 w 32"/>
                <a:gd name="T1" fmla="*/ 0 h 8"/>
                <a:gd name="T2" fmla="*/ 4 w 32"/>
                <a:gd name="T3" fmla="*/ 0 h 8"/>
                <a:gd name="T4" fmla="*/ 0 w 32"/>
                <a:gd name="T5" fmla="*/ 4 h 8"/>
                <a:gd name="T6" fmla="*/ 4 w 32"/>
                <a:gd name="T7" fmla="*/ 8 h 8"/>
                <a:gd name="T8" fmla="*/ 28 w 32"/>
                <a:gd name="T9" fmla="*/ 8 h 8"/>
                <a:gd name="T10" fmla="*/ 32 w 32"/>
                <a:gd name="T11" fmla="*/ 4 h 8"/>
                <a:gd name="T12" fmla="*/ 28 w 32"/>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32" h="8">
                  <a:moveTo>
                    <a:pt x="28" y="0"/>
                  </a:moveTo>
                  <a:cubicBezTo>
                    <a:pt x="4" y="0"/>
                    <a:pt x="4" y="0"/>
                    <a:pt x="4" y="0"/>
                  </a:cubicBezTo>
                  <a:cubicBezTo>
                    <a:pt x="2" y="0"/>
                    <a:pt x="0" y="2"/>
                    <a:pt x="0" y="4"/>
                  </a:cubicBezTo>
                  <a:cubicBezTo>
                    <a:pt x="0" y="6"/>
                    <a:pt x="2" y="8"/>
                    <a:pt x="4" y="8"/>
                  </a:cubicBezTo>
                  <a:cubicBezTo>
                    <a:pt x="28" y="8"/>
                    <a:pt x="28" y="8"/>
                    <a:pt x="28" y="8"/>
                  </a:cubicBezTo>
                  <a:cubicBezTo>
                    <a:pt x="30" y="8"/>
                    <a:pt x="32" y="6"/>
                    <a:pt x="32" y="4"/>
                  </a:cubicBezTo>
                  <a:cubicBezTo>
                    <a:pt x="32" y="2"/>
                    <a:pt x="30" y="0"/>
                    <a:pt x="28"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id-ID" sz="1350">
                <a:solidFill>
                  <a:prstClr val="black"/>
                </a:solidFill>
              </a:endParaRPr>
            </a:p>
          </p:txBody>
        </p:sp>
      </p:grpSp>
      <p:grpSp>
        <p:nvGrpSpPr>
          <p:cNvPr id="55" name="Group 54"/>
          <p:cNvGrpSpPr/>
          <p:nvPr/>
        </p:nvGrpSpPr>
        <p:grpSpPr>
          <a:xfrm>
            <a:off x="5453620" y="3286655"/>
            <a:ext cx="361764" cy="329693"/>
            <a:chOff x="8205788" y="-103188"/>
            <a:chExt cx="1343025" cy="1223964"/>
          </a:xfrm>
          <a:solidFill>
            <a:schemeClr val="bg1"/>
          </a:solidFill>
        </p:grpSpPr>
        <p:sp>
          <p:nvSpPr>
            <p:cNvPr id="56" name="Rectangle 12"/>
            <p:cNvSpPr>
              <a:spLocks noChangeArrowheads="1"/>
            </p:cNvSpPr>
            <p:nvPr/>
          </p:nvSpPr>
          <p:spPr bwMode="auto">
            <a:xfrm>
              <a:off x="8288338" y="868363"/>
              <a:ext cx="252413" cy="2524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800"/>
              <a:endParaRPr lang="id-ID" sz="1350">
                <a:solidFill>
                  <a:prstClr val="black"/>
                </a:solidFill>
              </a:endParaRPr>
            </a:p>
          </p:txBody>
        </p:sp>
        <p:sp>
          <p:nvSpPr>
            <p:cNvPr id="57" name="Rectangle 13"/>
            <p:cNvSpPr>
              <a:spLocks noChangeArrowheads="1"/>
            </p:cNvSpPr>
            <p:nvPr/>
          </p:nvSpPr>
          <p:spPr bwMode="auto">
            <a:xfrm>
              <a:off x="8624888" y="698500"/>
              <a:ext cx="252413" cy="42227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800"/>
              <a:endParaRPr lang="id-ID" sz="1350">
                <a:solidFill>
                  <a:prstClr val="black"/>
                </a:solidFill>
              </a:endParaRPr>
            </a:p>
          </p:txBody>
        </p:sp>
        <p:sp>
          <p:nvSpPr>
            <p:cNvPr id="58" name="Rectangle 14"/>
            <p:cNvSpPr>
              <a:spLocks noChangeArrowheads="1"/>
            </p:cNvSpPr>
            <p:nvPr/>
          </p:nvSpPr>
          <p:spPr bwMode="auto">
            <a:xfrm>
              <a:off x="8961438" y="530225"/>
              <a:ext cx="252413" cy="5905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800"/>
              <a:endParaRPr lang="id-ID" sz="1350">
                <a:solidFill>
                  <a:prstClr val="black"/>
                </a:solidFill>
              </a:endParaRPr>
            </a:p>
          </p:txBody>
        </p:sp>
        <p:sp>
          <p:nvSpPr>
            <p:cNvPr id="59" name="Rectangle 15"/>
            <p:cNvSpPr>
              <a:spLocks noChangeArrowheads="1"/>
            </p:cNvSpPr>
            <p:nvPr/>
          </p:nvSpPr>
          <p:spPr bwMode="auto">
            <a:xfrm>
              <a:off x="9297988" y="361950"/>
              <a:ext cx="250825" cy="7588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800"/>
              <a:endParaRPr lang="id-ID" sz="1350">
                <a:solidFill>
                  <a:prstClr val="black"/>
                </a:solidFill>
              </a:endParaRPr>
            </a:p>
          </p:txBody>
        </p:sp>
        <p:sp>
          <p:nvSpPr>
            <p:cNvPr id="60" name="Freeform 16"/>
            <p:cNvSpPr>
              <a:spLocks/>
            </p:cNvSpPr>
            <p:nvPr/>
          </p:nvSpPr>
          <p:spPr bwMode="auto">
            <a:xfrm>
              <a:off x="8205788" y="-103188"/>
              <a:ext cx="1343025" cy="801688"/>
            </a:xfrm>
            <a:custGeom>
              <a:avLst/>
              <a:gdLst>
                <a:gd name="T0" fmla="*/ 727 w 846"/>
                <a:gd name="T1" fmla="*/ 120 h 505"/>
                <a:gd name="T2" fmla="*/ 569 w 846"/>
                <a:gd name="T3" fmla="*/ 120 h 505"/>
                <a:gd name="T4" fmla="*/ 370 w 846"/>
                <a:gd name="T5" fmla="*/ 266 h 505"/>
                <a:gd name="T6" fmla="*/ 264 w 846"/>
                <a:gd name="T7" fmla="*/ 213 h 505"/>
                <a:gd name="T8" fmla="*/ 0 w 846"/>
                <a:gd name="T9" fmla="*/ 439 h 505"/>
                <a:gd name="T10" fmla="*/ 0 w 846"/>
                <a:gd name="T11" fmla="*/ 505 h 505"/>
                <a:gd name="T12" fmla="*/ 264 w 846"/>
                <a:gd name="T13" fmla="*/ 279 h 505"/>
                <a:gd name="T14" fmla="*/ 370 w 846"/>
                <a:gd name="T15" fmla="*/ 333 h 505"/>
                <a:gd name="T16" fmla="*/ 595 w 846"/>
                <a:gd name="T17" fmla="*/ 173 h 505"/>
                <a:gd name="T18" fmla="*/ 754 w 846"/>
                <a:gd name="T19" fmla="*/ 173 h 505"/>
                <a:gd name="T20" fmla="*/ 846 w 846"/>
                <a:gd name="T21" fmla="*/ 80 h 505"/>
                <a:gd name="T22" fmla="*/ 846 w 846"/>
                <a:gd name="T23" fmla="*/ 0 h 505"/>
                <a:gd name="T24" fmla="*/ 727 w 846"/>
                <a:gd name="T25" fmla="*/ 12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6" h="505">
                  <a:moveTo>
                    <a:pt x="727" y="120"/>
                  </a:moveTo>
                  <a:lnTo>
                    <a:pt x="569" y="120"/>
                  </a:lnTo>
                  <a:lnTo>
                    <a:pt x="370" y="266"/>
                  </a:lnTo>
                  <a:lnTo>
                    <a:pt x="264" y="213"/>
                  </a:lnTo>
                  <a:lnTo>
                    <a:pt x="0" y="439"/>
                  </a:lnTo>
                  <a:lnTo>
                    <a:pt x="0" y="505"/>
                  </a:lnTo>
                  <a:lnTo>
                    <a:pt x="264" y="279"/>
                  </a:lnTo>
                  <a:lnTo>
                    <a:pt x="370" y="333"/>
                  </a:lnTo>
                  <a:lnTo>
                    <a:pt x="595" y="173"/>
                  </a:lnTo>
                  <a:lnTo>
                    <a:pt x="754" y="173"/>
                  </a:lnTo>
                  <a:lnTo>
                    <a:pt x="846" y="80"/>
                  </a:lnTo>
                  <a:lnTo>
                    <a:pt x="846" y="0"/>
                  </a:lnTo>
                  <a:lnTo>
                    <a:pt x="727"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id-ID" sz="1350">
                <a:solidFill>
                  <a:prstClr val="black"/>
                </a:solidFill>
              </a:endParaRPr>
            </a:p>
          </p:txBody>
        </p:sp>
      </p:grpSp>
      <p:grpSp>
        <p:nvGrpSpPr>
          <p:cNvPr id="75" name="Group 74"/>
          <p:cNvGrpSpPr/>
          <p:nvPr/>
        </p:nvGrpSpPr>
        <p:grpSpPr>
          <a:xfrm>
            <a:off x="5200014" y="4221508"/>
            <a:ext cx="464615" cy="327528"/>
            <a:chOff x="0" y="0"/>
            <a:chExt cx="5681663" cy="4005263"/>
          </a:xfrm>
          <a:solidFill>
            <a:schemeClr val="bg1"/>
          </a:solidFill>
        </p:grpSpPr>
        <p:sp>
          <p:nvSpPr>
            <p:cNvPr id="76" name="Freeform 18"/>
            <p:cNvSpPr>
              <a:spLocks noEditPoints="1"/>
            </p:cNvSpPr>
            <p:nvPr/>
          </p:nvSpPr>
          <p:spPr bwMode="auto">
            <a:xfrm>
              <a:off x="0" y="0"/>
              <a:ext cx="5681663" cy="4005263"/>
            </a:xfrm>
            <a:custGeom>
              <a:avLst/>
              <a:gdLst>
                <a:gd name="T0" fmla="*/ 1383 w 1512"/>
                <a:gd name="T1" fmla="*/ 1065 h 1065"/>
                <a:gd name="T2" fmla="*/ 129 w 1512"/>
                <a:gd name="T3" fmla="*/ 1065 h 1065"/>
                <a:gd name="T4" fmla="*/ 0 w 1512"/>
                <a:gd name="T5" fmla="*/ 936 h 1065"/>
                <a:gd name="T6" fmla="*/ 0 w 1512"/>
                <a:gd name="T7" fmla="*/ 563 h 1065"/>
                <a:gd name="T8" fmla="*/ 469 w 1512"/>
                <a:gd name="T9" fmla="*/ 0 h 1065"/>
                <a:gd name="T10" fmla="*/ 1043 w 1512"/>
                <a:gd name="T11" fmla="*/ 0 h 1065"/>
                <a:gd name="T12" fmla="*/ 1512 w 1512"/>
                <a:gd name="T13" fmla="*/ 563 h 1065"/>
                <a:gd name="T14" fmla="*/ 1512 w 1512"/>
                <a:gd name="T15" fmla="*/ 936 h 1065"/>
                <a:gd name="T16" fmla="*/ 1383 w 1512"/>
                <a:gd name="T17" fmla="*/ 1065 h 1065"/>
                <a:gd name="T18" fmla="*/ 79 w 1512"/>
                <a:gd name="T19" fmla="*/ 592 h 1065"/>
                <a:gd name="T20" fmla="*/ 79 w 1512"/>
                <a:gd name="T21" fmla="*/ 936 h 1065"/>
                <a:gd name="T22" fmla="*/ 129 w 1512"/>
                <a:gd name="T23" fmla="*/ 986 h 1065"/>
                <a:gd name="T24" fmla="*/ 1383 w 1512"/>
                <a:gd name="T25" fmla="*/ 986 h 1065"/>
                <a:gd name="T26" fmla="*/ 1433 w 1512"/>
                <a:gd name="T27" fmla="*/ 936 h 1065"/>
                <a:gd name="T28" fmla="*/ 1433 w 1512"/>
                <a:gd name="T29" fmla="*/ 592 h 1065"/>
                <a:gd name="T30" fmla="*/ 1006 w 1512"/>
                <a:gd name="T31" fmla="*/ 79 h 1065"/>
                <a:gd name="T32" fmla="*/ 506 w 1512"/>
                <a:gd name="T33" fmla="*/ 79 h 1065"/>
                <a:gd name="T34" fmla="*/ 79 w 1512"/>
                <a:gd name="T35" fmla="*/ 592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12" h="1065">
                  <a:moveTo>
                    <a:pt x="1383" y="1065"/>
                  </a:moveTo>
                  <a:cubicBezTo>
                    <a:pt x="129" y="1065"/>
                    <a:pt x="129" y="1065"/>
                    <a:pt x="129" y="1065"/>
                  </a:cubicBezTo>
                  <a:cubicBezTo>
                    <a:pt x="58" y="1065"/>
                    <a:pt x="0" y="1007"/>
                    <a:pt x="0" y="936"/>
                  </a:cubicBezTo>
                  <a:cubicBezTo>
                    <a:pt x="0" y="563"/>
                    <a:pt x="0" y="563"/>
                    <a:pt x="0" y="563"/>
                  </a:cubicBezTo>
                  <a:cubicBezTo>
                    <a:pt x="469" y="0"/>
                    <a:pt x="469" y="0"/>
                    <a:pt x="469" y="0"/>
                  </a:cubicBezTo>
                  <a:cubicBezTo>
                    <a:pt x="1043" y="0"/>
                    <a:pt x="1043" y="0"/>
                    <a:pt x="1043" y="0"/>
                  </a:cubicBezTo>
                  <a:cubicBezTo>
                    <a:pt x="1512" y="563"/>
                    <a:pt x="1512" y="563"/>
                    <a:pt x="1512" y="563"/>
                  </a:cubicBezTo>
                  <a:cubicBezTo>
                    <a:pt x="1512" y="936"/>
                    <a:pt x="1512" y="936"/>
                    <a:pt x="1512" y="936"/>
                  </a:cubicBezTo>
                  <a:cubicBezTo>
                    <a:pt x="1512" y="1007"/>
                    <a:pt x="1454" y="1065"/>
                    <a:pt x="1383" y="1065"/>
                  </a:cubicBezTo>
                  <a:close/>
                  <a:moveTo>
                    <a:pt x="79" y="592"/>
                  </a:moveTo>
                  <a:cubicBezTo>
                    <a:pt x="79" y="936"/>
                    <a:pt x="79" y="936"/>
                    <a:pt x="79" y="936"/>
                  </a:cubicBezTo>
                  <a:cubicBezTo>
                    <a:pt x="79" y="963"/>
                    <a:pt x="101" y="986"/>
                    <a:pt x="129" y="986"/>
                  </a:cubicBezTo>
                  <a:cubicBezTo>
                    <a:pt x="1383" y="986"/>
                    <a:pt x="1383" y="986"/>
                    <a:pt x="1383" y="986"/>
                  </a:cubicBezTo>
                  <a:cubicBezTo>
                    <a:pt x="1411" y="986"/>
                    <a:pt x="1433" y="963"/>
                    <a:pt x="1433" y="936"/>
                  </a:cubicBezTo>
                  <a:cubicBezTo>
                    <a:pt x="1433" y="592"/>
                    <a:pt x="1433" y="592"/>
                    <a:pt x="1433" y="592"/>
                  </a:cubicBezTo>
                  <a:cubicBezTo>
                    <a:pt x="1006" y="79"/>
                    <a:pt x="1006" y="79"/>
                    <a:pt x="1006" y="79"/>
                  </a:cubicBezTo>
                  <a:cubicBezTo>
                    <a:pt x="506" y="79"/>
                    <a:pt x="506" y="79"/>
                    <a:pt x="506" y="79"/>
                  </a:cubicBezTo>
                  <a:lnTo>
                    <a:pt x="79" y="5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id-ID" sz="1350">
                <a:solidFill>
                  <a:prstClr val="black"/>
                </a:solidFill>
              </a:endParaRPr>
            </a:p>
          </p:txBody>
        </p:sp>
        <p:sp>
          <p:nvSpPr>
            <p:cNvPr id="77" name="Freeform 19"/>
            <p:cNvSpPr>
              <a:spLocks noEditPoints="1"/>
            </p:cNvSpPr>
            <p:nvPr/>
          </p:nvSpPr>
          <p:spPr bwMode="auto">
            <a:xfrm>
              <a:off x="1652588" y="2433638"/>
              <a:ext cx="2374900" cy="484188"/>
            </a:xfrm>
            <a:custGeom>
              <a:avLst/>
              <a:gdLst>
                <a:gd name="T0" fmla="*/ 1191 w 1496"/>
                <a:gd name="T1" fmla="*/ 305 h 305"/>
                <a:gd name="T2" fmla="*/ 306 w 1496"/>
                <a:gd name="T3" fmla="*/ 305 h 305"/>
                <a:gd name="T4" fmla="*/ 0 w 1496"/>
                <a:gd name="T5" fmla="*/ 0 h 305"/>
                <a:gd name="T6" fmla="*/ 1496 w 1496"/>
                <a:gd name="T7" fmla="*/ 0 h 305"/>
                <a:gd name="T8" fmla="*/ 1191 w 1496"/>
                <a:gd name="T9" fmla="*/ 305 h 305"/>
                <a:gd name="T10" fmla="*/ 343 w 1496"/>
                <a:gd name="T11" fmla="*/ 213 h 305"/>
                <a:gd name="T12" fmla="*/ 1153 w 1496"/>
                <a:gd name="T13" fmla="*/ 213 h 305"/>
                <a:gd name="T14" fmla="*/ 1271 w 1496"/>
                <a:gd name="T15" fmla="*/ 94 h 305"/>
                <a:gd name="T16" fmla="*/ 225 w 1496"/>
                <a:gd name="T17" fmla="*/ 94 h 305"/>
                <a:gd name="T18" fmla="*/ 343 w 1496"/>
                <a:gd name="T19" fmla="*/ 213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6" h="305">
                  <a:moveTo>
                    <a:pt x="1191" y="305"/>
                  </a:moveTo>
                  <a:lnTo>
                    <a:pt x="306" y="305"/>
                  </a:lnTo>
                  <a:lnTo>
                    <a:pt x="0" y="0"/>
                  </a:lnTo>
                  <a:lnTo>
                    <a:pt x="1496" y="0"/>
                  </a:lnTo>
                  <a:lnTo>
                    <a:pt x="1191" y="305"/>
                  </a:lnTo>
                  <a:close/>
                  <a:moveTo>
                    <a:pt x="343" y="213"/>
                  </a:moveTo>
                  <a:lnTo>
                    <a:pt x="1153" y="213"/>
                  </a:lnTo>
                  <a:lnTo>
                    <a:pt x="1271" y="94"/>
                  </a:lnTo>
                  <a:lnTo>
                    <a:pt x="225" y="94"/>
                  </a:lnTo>
                  <a:lnTo>
                    <a:pt x="343"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id-ID" sz="1350">
                <a:solidFill>
                  <a:prstClr val="black"/>
                </a:solidFill>
              </a:endParaRPr>
            </a:p>
          </p:txBody>
        </p:sp>
        <p:sp>
          <p:nvSpPr>
            <p:cNvPr id="78" name="Freeform 20"/>
            <p:cNvSpPr>
              <a:spLocks noEditPoints="1"/>
            </p:cNvSpPr>
            <p:nvPr/>
          </p:nvSpPr>
          <p:spPr bwMode="auto">
            <a:xfrm>
              <a:off x="427038" y="412750"/>
              <a:ext cx="4826000" cy="1831975"/>
            </a:xfrm>
            <a:custGeom>
              <a:avLst/>
              <a:gdLst>
                <a:gd name="T0" fmla="*/ 3040 w 3040"/>
                <a:gd name="T1" fmla="*/ 1154 h 1154"/>
                <a:gd name="T2" fmla="*/ 0 w 3040"/>
                <a:gd name="T3" fmla="*/ 1154 h 1154"/>
                <a:gd name="T4" fmla="*/ 962 w 3040"/>
                <a:gd name="T5" fmla="*/ 0 h 1154"/>
                <a:gd name="T6" fmla="*/ 2079 w 3040"/>
                <a:gd name="T7" fmla="*/ 0 h 1154"/>
                <a:gd name="T8" fmla="*/ 3040 w 3040"/>
                <a:gd name="T9" fmla="*/ 1154 h 1154"/>
                <a:gd name="T10" fmla="*/ 199 w 3040"/>
                <a:gd name="T11" fmla="*/ 1062 h 1154"/>
                <a:gd name="T12" fmla="*/ 2841 w 3040"/>
                <a:gd name="T13" fmla="*/ 1062 h 1154"/>
                <a:gd name="T14" fmla="*/ 2036 w 3040"/>
                <a:gd name="T15" fmla="*/ 93 h 1154"/>
                <a:gd name="T16" fmla="*/ 1006 w 3040"/>
                <a:gd name="T17" fmla="*/ 93 h 1154"/>
                <a:gd name="T18" fmla="*/ 199 w 3040"/>
                <a:gd name="T19" fmla="*/ 1062 h 1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0" h="1154">
                  <a:moveTo>
                    <a:pt x="3040" y="1154"/>
                  </a:moveTo>
                  <a:lnTo>
                    <a:pt x="0" y="1154"/>
                  </a:lnTo>
                  <a:lnTo>
                    <a:pt x="962" y="0"/>
                  </a:lnTo>
                  <a:lnTo>
                    <a:pt x="2079" y="0"/>
                  </a:lnTo>
                  <a:lnTo>
                    <a:pt x="3040" y="1154"/>
                  </a:lnTo>
                  <a:close/>
                  <a:moveTo>
                    <a:pt x="199" y="1062"/>
                  </a:moveTo>
                  <a:lnTo>
                    <a:pt x="2841" y="1062"/>
                  </a:lnTo>
                  <a:lnTo>
                    <a:pt x="2036" y="93"/>
                  </a:lnTo>
                  <a:lnTo>
                    <a:pt x="1006" y="93"/>
                  </a:lnTo>
                  <a:lnTo>
                    <a:pt x="199" y="10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id-ID" sz="1350">
                <a:solidFill>
                  <a:prstClr val="black"/>
                </a:solidFill>
              </a:endParaRPr>
            </a:p>
          </p:txBody>
        </p:sp>
        <p:sp>
          <p:nvSpPr>
            <p:cNvPr id="83" name="Freeform 21"/>
            <p:cNvSpPr>
              <a:spLocks noEditPoints="1"/>
            </p:cNvSpPr>
            <p:nvPr/>
          </p:nvSpPr>
          <p:spPr bwMode="auto">
            <a:xfrm>
              <a:off x="1641475" y="747713"/>
              <a:ext cx="2397125" cy="485775"/>
            </a:xfrm>
            <a:custGeom>
              <a:avLst/>
              <a:gdLst>
                <a:gd name="T0" fmla="*/ 1510 w 1510"/>
                <a:gd name="T1" fmla="*/ 306 h 306"/>
                <a:gd name="T2" fmla="*/ 0 w 1510"/>
                <a:gd name="T3" fmla="*/ 306 h 306"/>
                <a:gd name="T4" fmla="*/ 225 w 1510"/>
                <a:gd name="T5" fmla="*/ 0 h 306"/>
                <a:gd name="T6" fmla="*/ 1285 w 1510"/>
                <a:gd name="T7" fmla="*/ 0 h 306"/>
                <a:gd name="T8" fmla="*/ 1510 w 1510"/>
                <a:gd name="T9" fmla="*/ 306 h 306"/>
                <a:gd name="T10" fmla="*/ 185 w 1510"/>
                <a:gd name="T11" fmla="*/ 214 h 306"/>
                <a:gd name="T12" fmla="*/ 1326 w 1510"/>
                <a:gd name="T13" fmla="*/ 214 h 306"/>
                <a:gd name="T14" fmla="*/ 1238 w 1510"/>
                <a:gd name="T15" fmla="*/ 95 h 306"/>
                <a:gd name="T16" fmla="*/ 272 w 1510"/>
                <a:gd name="T17" fmla="*/ 95 h 306"/>
                <a:gd name="T18" fmla="*/ 185 w 1510"/>
                <a:gd name="T19" fmla="*/ 21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10" h="306">
                  <a:moveTo>
                    <a:pt x="1510" y="306"/>
                  </a:moveTo>
                  <a:lnTo>
                    <a:pt x="0" y="306"/>
                  </a:lnTo>
                  <a:lnTo>
                    <a:pt x="225" y="0"/>
                  </a:lnTo>
                  <a:lnTo>
                    <a:pt x="1285" y="0"/>
                  </a:lnTo>
                  <a:lnTo>
                    <a:pt x="1510" y="306"/>
                  </a:lnTo>
                  <a:close/>
                  <a:moveTo>
                    <a:pt x="185" y="214"/>
                  </a:moveTo>
                  <a:lnTo>
                    <a:pt x="1326" y="214"/>
                  </a:lnTo>
                  <a:lnTo>
                    <a:pt x="1238" y="95"/>
                  </a:lnTo>
                  <a:lnTo>
                    <a:pt x="272" y="95"/>
                  </a:lnTo>
                  <a:lnTo>
                    <a:pt x="185"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id-ID" sz="1350">
                <a:solidFill>
                  <a:prstClr val="black"/>
                </a:solidFill>
              </a:endParaRPr>
            </a:p>
          </p:txBody>
        </p:sp>
        <p:sp>
          <p:nvSpPr>
            <p:cNvPr id="84" name="Freeform 22"/>
            <p:cNvSpPr>
              <a:spLocks noEditPoints="1"/>
            </p:cNvSpPr>
            <p:nvPr/>
          </p:nvSpPr>
          <p:spPr bwMode="auto">
            <a:xfrm>
              <a:off x="1149350" y="1420813"/>
              <a:ext cx="3381375" cy="488950"/>
            </a:xfrm>
            <a:custGeom>
              <a:avLst/>
              <a:gdLst>
                <a:gd name="T0" fmla="*/ 2130 w 2130"/>
                <a:gd name="T1" fmla="*/ 308 h 308"/>
                <a:gd name="T2" fmla="*/ 0 w 2130"/>
                <a:gd name="T3" fmla="*/ 308 h 308"/>
                <a:gd name="T4" fmla="*/ 222 w 2130"/>
                <a:gd name="T5" fmla="*/ 0 h 308"/>
                <a:gd name="T6" fmla="*/ 1908 w 2130"/>
                <a:gd name="T7" fmla="*/ 0 h 308"/>
                <a:gd name="T8" fmla="*/ 2130 w 2130"/>
                <a:gd name="T9" fmla="*/ 308 h 308"/>
                <a:gd name="T10" fmla="*/ 185 w 2130"/>
                <a:gd name="T11" fmla="*/ 214 h 308"/>
                <a:gd name="T12" fmla="*/ 1946 w 2130"/>
                <a:gd name="T13" fmla="*/ 214 h 308"/>
                <a:gd name="T14" fmla="*/ 1860 w 2130"/>
                <a:gd name="T15" fmla="*/ 95 h 308"/>
                <a:gd name="T16" fmla="*/ 270 w 2130"/>
                <a:gd name="T17" fmla="*/ 95 h 308"/>
                <a:gd name="T18" fmla="*/ 185 w 2130"/>
                <a:gd name="T19" fmla="*/ 21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0" h="308">
                  <a:moveTo>
                    <a:pt x="2130" y="308"/>
                  </a:moveTo>
                  <a:lnTo>
                    <a:pt x="0" y="308"/>
                  </a:lnTo>
                  <a:lnTo>
                    <a:pt x="222" y="0"/>
                  </a:lnTo>
                  <a:lnTo>
                    <a:pt x="1908" y="0"/>
                  </a:lnTo>
                  <a:lnTo>
                    <a:pt x="2130" y="308"/>
                  </a:lnTo>
                  <a:close/>
                  <a:moveTo>
                    <a:pt x="185" y="214"/>
                  </a:moveTo>
                  <a:lnTo>
                    <a:pt x="1946" y="214"/>
                  </a:lnTo>
                  <a:lnTo>
                    <a:pt x="1860" y="95"/>
                  </a:lnTo>
                  <a:lnTo>
                    <a:pt x="270" y="95"/>
                  </a:lnTo>
                  <a:lnTo>
                    <a:pt x="185" y="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id-ID" sz="1350">
                <a:solidFill>
                  <a:prstClr val="black"/>
                </a:solidFill>
              </a:endParaRPr>
            </a:p>
          </p:txBody>
        </p:sp>
      </p:grpSp>
      <p:grpSp>
        <p:nvGrpSpPr>
          <p:cNvPr id="85" name="Group 84"/>
          <p:cNvGrpSpPr/>
          <p:nvPr/>
        </p:nvGrpSpPr>
        <p:grpSpPr>
          <a:xfrm>
            <a:off x="4371399" y="4621422"/>
            <a:ext cx="515196" cy="365584"/>
            <a:chOff x="-1090613" y="2197100"/>
            <a:chExt cx="338138" cy="319088"/>
          </a:xfrm>
          <a:solidFill>
            <a:schemeClr val="bg2"/>
          </a:solidFill>
          <a:effectLst/>
        </p:grpSpPr>
        <p:sp>
          <p:nvSpPr>
            <p:cNvPr id="88" name="Freeform 24"/>
            <p:cNvSpPr>
              <a:spLocks noEditPoints="1"/>
            </p:cNvSpPr>
            <p:nvPr/>
          </p:nvSpPr>
          <p:spPr bwMode="auto">
            <a:xfrm>
              <a:off x="-944563" y="2208213"/>
              <a:ext cx="192088" cy="222250"/>
            </a:xfrm>
            <a:custGeom>
              <a:avLst/>
              <a:gdLst>
                <a:gd name="T0" fmla="*/ 47 w 51"/>
                <a:gd name="T1" fmla="*/ 58 h 59"/>
                <a:gd name="T2" fmla="*/ 42 w 51"/>
                <a:gd name="T3" fmla="*/ 59 h 59"/>
                <a:gd name="T4" fmla="*/ 38 w 51"/>
                <a:gd name="T5" fmla="*/ 56 h 59"/>
                <a:gd name="T6" fmla="*/ 29 w 51"/>
                <a:gd name="T7" fmla="*/ 44 h 59"/>
                <a:gd name="T8" fmla="*/ 19 w 51"/>
                <a:gd name="T9" fmla="*/ 44 h 59"/>
                <a:gd name="T10" fmla="*/ 2 w 51"/>
                <a:gd name="T11" fmla="*/ 19 h 59"/>
                <a:gd name="T12" fmla="*/ 27 w 51"/>
                <a:gd name="T13" fmla="*/ 2 h 59"/>
                <a:gd name="T14" fmla="*/ 44 w 51"/>
                <a:gd name="T15" fmla="*/ 27 h 59"/>
                <a:gd name="T16" fmla="*/ 40 w 51"/>
                <a:gd name="T17" fmla="*/ 36 h 59"/>
                <a:gd name="T18" fmla="*/ 48 w 51"/>
                <a:gd name="T19" fmla="*/ 48 h 59"/>
                <a:gd name="T20" fmla="*/ 47 w 51"/>
                <a:gd name="T21" fmla="*/ 58 h 59"/>
                <a:gd name="T22" fmla="*/ 20 w 51"/>
                <a:gd name="T23" fmla="*/ 37 h 59"/>
                <a:gd name="T24" fmla="*/ 37 w 51"/>
                <a:gd name="T25" fmla="*/ 26 h 59"/>
                <a:gd name="T26" fmla="*/ 25 w 51"/>
                <a:gd name="T27" fmla="*/ 9 h 59"/>
                <a:gd name="T28" fmla="*/ 9 w 51"/>
                <a:gd name="T29" fmla="*/ 21 h 59"/>
                <a:gd name="T30" fmla="*/ 20 w 51"/>
                <a:gd name="T31" fmla="*/ 3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59">
                  <a:moveTo>
                    <a:pt x="47" y="58"/>
                  </a:moveTo>
                  <a:cubicBezTo>
                    <a:pt x="45" y="59"/>
                    <a:pt x="43" y="59"/>
                    <a:pt x="42" y="59"/>
                  </a:cubicBezTo>
                  <a:cubicBezTo>
                    <a:pt x="40" y="58"/>
                    <a:pt x="39" y="57"/>
                    <a:pt x="38" y="56"/>
                  </a:cubicBezTo>
                  <a:cubicBezTo>
                    <a:pt x="29" y="44"/>
                    <a:pt x="29" y="44"/>
                    <a:pt x="29" y="44"/>
                  </a:cubicBezTo>
                  <a:cubicBezTo>
                    <a:pt x="26" y="45"/>
                    <a:pt x="23" y="45"/>
                    <a:pt x="19" y="44"/>
                  </a:cubicBezTo>
                  <a:cubicBezTo>
                    <a:pt x="7" y="42"/>
                    <a:pt x="0" y="31"/>
                    <a:pt x="2" y="19"/>
                  </a:cubicBezTo>
                  <a:cubicBezTo>
                    <a:pt x="4" y="7"/>
                    <a:pt x="15" y="0"/>
                    <a:pt x="27" y="2"/>
                  </a:cubicBezTo>
                  <a:cubicBezTo>
                    <a:pt x="39" y="4"/>
                    <a:pt x="46" y="15"/>
                    <a:pt x="44" y="27"/>
                  </a:cubicBezTo>
                  <a:cubicBezTo>
                    <a:pt x="44" y="30"/>
                    <a:pt x="42" y="34"/>
                    <a:pt x="40" y="36"/>
                  </a:cubicBezTo>
                  <a:cubicBezTo>
                    <a:pt x="48" y="48"/>
                    <a:pt x="48" y="48"/>
                    <a:pt x="48" y="48"/>
                  </a:cubicBezTo>
                  <a:cubicBezTo>
                    <a:pt x="51" y="51"/>
                    <a:pt x="50" y="55"/>
                    <a:pt x="47" y="58"/>
                  </a:cubicBezTo>
                  <a:close/>
                  <a:moveTo>
                    <a:pt x="20" y="37"/>
                  </a:moveTo>
                  <a:cubicBezTo>
                    <a:pt x="28" y="38"/>
                    <a:pt x="35" y="33"/>
                    <a:pt x="37" y="26"/>
                  </a:cubicBezTo>
                  <a:cubicBezTo>
                    <a:pt x="38" y="18"/>
                    <a:pt x="33" y="11"/>
                    <a:pt x="25" y="9"/>
                  </a:cubicBezTo>
                  <a:cubicBezTo>
                    <a:pt x="18" y="8"/>
                    <a:pt x="11" y="13"/>
                    <a:pt x="9" y="21"/>
                  </a:cubicBezTo>
                  <a:cubicBezTo>
                    <a:pt x="8" y="28"/>
                    <a:pt x="13" y="35"/>
                    <a:pt x="20" y="3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id-ID" sz="1350">
                <a:solidFill>
                  <a:prstClr val="black"/>
                </a:solidFill>
              </a:endParaRPr>
            </a:p>
          </p:txBody>
        </p:sp>
        <p:sp>
          <p:nvSpPr>
            <p:cNvPr id="89" name="Freeform 25"/>
            <p:cNvSpPr>
              <a:spLocks/>
            </p:cNvSpPr>
            <p:nvPr/>
          </p:nvSpPr>
          <p:spPr bwMode="auto">
            <a:xfrm>
              <a:off x="-1090613" y="2197100"/>
              <a:ext cx="293688" cy="319088"/>
            </a:xfrm>
            <a:custGeom>
              <a:avLst/>
              <a:gdLst>
                <a:gd name="T0" fmla="*/ 71 w 78"/>
                <a:gd name="T1" fmla="*/ 62 h 85"/>
                <a:gd name="T2" fmla="*/ 69 w 78"/>
                <a:gd name="T3" fmla="*/ 60 h 85"/>
                <a:gd name="T4" fmla="*/ 43 w 78"/>
                <a:gd name="T5" fmla="*/ 75 h 85"/>
                <a:gd name="T6" fmla="*/ 11 w 78"/>
                <a:gd name="T7" fmla="*/ 43 h 85"/>
                <a:gd name="T8" fmla="*/ 16 w 78"/>
                <a:gd name="T9" fmla="*/ 25 h 85"/>
                <a:gd name="T10" fmla="*/ 17 w 78"/>
                <a:gd name="T11" fmla="*/ 25 h 85"/>
                <a:gd name="T12" fmla="*/ 26 w 78"/>
                <a:gd name="T13" fmla="*/ 41 h 85"/>
                <a:gd name="T14" fmla="*/ 25 w 78"/>
                <a:gd name="T15" fmla="*/ 42 h 85"/>
                <a:gd name="T16" fmla="*/ 41 w 78"/>
                <a:gd name="T17" fmla="*/ 50 h 85"/>
                <a:gd name="T18" fmla="*/ 51 w 78"/>
                <a:gd name="T19" fmla="*/ 71 h 85"/>
                <a:gd name="T20" fmla="*/ 64 w 78"/>
                <a:gd name="T21" fmla="*/ 54 h 85"/>
                <a:gd name="T22" fmla="*/ 62 w 78"/>
                <a:gd name="T23" fmla="*/ 53 h 85"/>
                <a:gd name="T24" fmla="*/ 55 w 78"/>
                <a:gd name="T25" fmla="*/ 53 h 85"/>
                <a:gd name="T26" fmla="*/ 44 w 78"/>
                <a:gd name="T27" fmla="*/ 48 h 85"/>
                <a:gd name="T28" fmla="*/ 31 w 78"/>
                <a:gd name="T29" fmla="*/ 41 h 85"/>
                <a:gd name="T30" fmla="*/ 37 w 78"/>
                <a:gd name="T31" fmla="*/ 40 h 85"/>
                <a:gd name="T32" fmla="*/ 33 w 78"/>
                <a:gd name="T33" fmla="*/ 22 h 85"/>
                <a:gd name="T34" fmla="*/ 34 w 78"/>
                <a:gd name="T35" fmla="*/ 17 h 85"/>
                <a:gd name="T36" fmla="*/ 33 w 78"/>
                <a:gd name="T37" fmla="*/ 18 h 85"/>
                <a:gd name="T38" fmla="*/ 32 w 78"/>
                <a:gd name="T39" fmla="*/ 17 h 85"/>
                <a:gd name="T40" fmla="*/ 31 w 78"/>
                <a:gd name="T41" fmla="*/ 18 h 85"/>
                <a:gd name="T42" fmla="*/ 30 w 78"/>
                <a:gd name="T43" fmla="*/ 17 h 85"/>
                <a:gd name="T44" fmla="*/ 26 w 78"/>
                <a:gd name="T45" fmla="*/ 22 h 85"/>
                <a:gd name="T46" fmla="*/ 19 w 78"/>
                <a:gd name="T47" fmla="*/ 21 h 85"/>
                <a:gd name="T48" fmla="*/ 37 w 78"/>
                <a:gd name="T49" fmla="*/ 11 h 85"/>
                <a:gd name="T50" fmla="*/ 51 w 78"/>
                <a:gd name="T51" fmla="*/ 1 h 85"/>
                <a:gd name="T52" fmla="*/ 43 w 78"/>
                <a:gd name="T53" fmla="*/ 0 h 85"/>
                <a:gd name="T54" fmla="*/ 0 w 78"/>
                <a:gd name="T55" fmla="*/ 43 h 85"/>
                <a:gd name="T56" fmla="*/ 43 w 78"/>
                <a:gd name="T57" fmla="*/ 85 h 85"/>
                <a:gd name="T58" fmla="*/ 78 w 78"/>
                <a:gd name="T59" fmla="*/ 67 h 85"/>
                <a:gd name="T60" fmla="*/ 71 w 78"/>
                <a:gd name="T61" fmla="*/ 6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8" h="85">
                  <a:moveTo>
                    <a:pt x="71" y="62"/>
                  </a:moveTo>
                  <a:cubicBezTo>
                    <a:pt x="69" y="60"/>
                    <a:pt x="69" y="60"/>
                    <a:pt x="69" y="60"/>
                  </a:cubicBezTo>
                  <a:cubicBezTo>
                    <a:pt x="64" y="69"/>
                    <a:pt x="54" y="75"/>
                    <a:pt x="43" y="75"/>
                  </a:cubicBezTo>
                  <a:cubicBezTo>
                    <a:pt x="25" y="75"/>
                    <a:pt x="11" y="60"/>
                    <a:pt x="11" y="43"/>
                  </a:cubicBezTo>
                  <a:cubicBezTo>
                    <a:pt x="11" y="36"/>
                    <a:pt x="13" y="30"/>
                    <a:pt x="16" y="25"/>
                  </a:cubicBezTo>
                  <a:cubicBezTo>
                    <a:pt x="16" y="25"/>
                    <a:pt x="17" y="25"/>
                    <a:pt x="17" y="25"/>
                  </a:cubicBezTo>
                  <a:cubicBezTo>
                    <a:pt x="21" y="27"/>
                    <a:pt x="18" y="40"/>
                    <a:pt x="26" y="41"/>
                  </a:cubicBezTo>
                  <a:cubicBezTo>
                    <a:pt x="26" y="42"/>
                    <a:pt x="25" y="41"/>
                    <a:pt x="25" y="42"/>
                  </a:cubicBezTo>
                  <a:cubicBezTo>
                    <a:pt x="28" y="44"/>
                    <a:pt x="37" y="48"/>
                    <a:pt x="41" y="50"/>
                  </a:cubicBezTo>
                  <a:cubicBezTo>
                    <a:pt x="39" y="54"/>
                    <a:pt x="48" y="72"/>
                    <a:pt x="51" y="71"/>
                  </a:cubicBezTo>
                  <a:cubicBezTo>
                    <a:pt x="51" y="70"/>
                    <a:pt x="61" y="58"/>
                    <a:pt x="64" y="54"/>
                  </a:cubicBezTo>
                  <a:cubicBezTo>
                    <a:pt x="63" y="54"/>
                    <a:pt x="63" y="53"/>
                    <a:pt x="62" y="53"/>
                  </a:cubicBezTo>
                  <a:cubicBezTo>
                    <a:pt x="60" y="53"/>
                    <a:pt x="58" y="53"/>
                    <a:pt x="55" y="53"/>
                  </a:cubicBezTo>
                  <a:cubicBezTo>
                    <a:pt x="51" y="52"/>
                    <a:pt x="47" y="50"/>
                    <a:pt x="44" y="48"/>
                  </a:cubicBezTo>
                  <a:cubicBezTo>
                    <a:pt x="38" y="47"/>
                    <a:pt x="33" y="45"/>
                    <a:pt x="31" y="41"/>
                  </a:cubicBezTo>
                  <a:cubicBezTo>
                    <a:pt x="32" y="41"/>
                    <a:pt x="35" y="40"/>
                    <a:pt x="37" y="40"/>
                  </a:cubicBezTo>
                  <a:cubicBezTo>
                    <a:pt x="34" y="35"/>
                    <a:pt x="32" y="29"/>
                    <a:pt x="33" y="22"/>
                  </a:cubicBezTo>
                  <a:cubicBezTo>
                    <a:pt x="33" y="20"/>
                    <a:pt x="34" y="18"/>
                    <a:pt x="34" y="17"/>
                  </a:cubicBezTo>
                  <a:cubicBezTo>
                    <a:pt x="34" y="17"/>
                    <a:pt x="34" y="18"/>
                    <a:pt x="33" y="18"/>
                  </a:cubicBezTo>
                  <a:cubicBezTo>
                    <a:pt x="33" y="18"/>
                    <a:pt x="32" y="17"/>
                    <a:pt x="32" y="17"/>
                  </a:cubicBezTo>
                  <a:cubicBezTo>
                    <a:pt x="32" y="17"/>
                    <a:pt x="31" y="18"/>
                    <a:pt x="31" y="18"/>
                  </a:cubicBezTo>
                  <a:cubicBezTo>
                    <a:pt x="31" y="18"/>
                    <a:pt x="31" y="17"/>
                    <a:pt x="30" y="17"/>
                  </a:cubicBezTo>
                  <a:cubicBezTo>
                    <a:pt x="25" y="20"/>
                    <a:pt x="27" y="20"/>
                    <a:pt x="26" y="22"/>
                  </a:cubicBezTo>
                  <a:cubicBezTo>
                    <a:pt x="24" y="22"/>
                    <a:pt x="21" y="21"/>
                    <a:pt x="19" y="21"/>
                  </a:cubicBezTo>
                  <a:cubicBezTo>
                    <a:pt x="23" y="16"/>
                    <a:pt x="30" y="12"/>
                    <a:pt x="37" y="11"/>
                  </a:cubicBezTo>
                  <a:cubicBezTo>
                    <a:pt x="41" y="6"/>
                    <a:pt x="45" y="3"/>
                    <a:pt x="51" y="1"/>
                  </a:cubicBezTo>
                  <a:cubicBezTo>
                    <a:pt x="48" y="0"/>
                    <a:pt x="45" y="0"/>
                    <a:pt x="43" y="0"/>
                  </a:cubicBezTo>
                  <a:cubicBezTo>
                    <a:pt x="19" y="0"/>
                    <a:pt x="0" y="19"/>
                    <a:pt x="0" y="43"/>
                  </a:cubicBezTo>
                  <a:cubicBezTo>
                    <a:pt x="0" y="66"/>
                    <a:pt x="19" y="85"/>
                    <a:pt x="43" y="85"/>
                  </a:cubicBezTo>
                  <a:cubicBezTo>
                    <a:pt x="57" y="85"/>
                    <a:pt x="70" y="78"/>
                    <a:pt x="78" y="67"/>
                  </a:cubicBezTo>
                  <a:cubicBezTo>
                    <a:pt x="75" y="66"/>
                    <a:pt x="72" y="64"/>
                    <a:pt x="71" y="6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00"/>
              <a:endParaRPr lang="id-ID" sz="1350">
                <a:solidFill>
                  <a:prstClr val="black"/>
                </a:solidFill>
              </a:endParaRPr>
            </a:p>
          </p:txBody>
        </p:sp>
      </p:grpSp>
      <p:sp>
        <p:nvSpPr>
          <p:cNvPr id="61" name="Title 1"/>
          <p:cNvSpPr>
            <a:spLocks noGrp="1"/>
          </p:cNvSpPr>
          <p:nvPr>
            <p:ph type="title"/>
          </p:nvPr>
        </p:nvSpPr>
        <p:spPr>
          <a:xfrm>
            <a:off x="3822374" y="478175"/>
            <a:ext cx="4456266" cy="845452"/>
          </a:xfrm>
        </p:spPr>
        <p:txBody>
          <a:bodyPr>
            <a:noAutofit/>
          </a:bodyPr>
          <a:lstStyle/>
          <a:p>
            <a:pPr algn="r"/>
            <a:r>
              <a:rPr lang="en-US" sz="3600" b="1" dirty="0" smtClean="0">
                <a:latin typeface="+mn-lt"/>
              </a:rPr>
              <a:t>Main Features</a:t>
            </a:r>
            <a:endParaRPr lang="en-US" sz="3600" b="1" dirty="0">
              <a:latin typeface="+mn-lt"/>
            </a:endParaRPr>
          </a:p>
        </p:txBody>
      </p:sp>
    </p:spTree>
    <p:extLst>
      <p:ext uri="{BB962C8B-B14F-4D97-AF65-F5344CB8AC3E}">
        <p14:creationId xmlns:p14="http://schemas.microsoft.com/office/powerpoint/2010/main" val="302301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p:cTn id="12" dur="500" fill="hold"/>
                                        <p:tgtEl>
                                          <p:spTgt spid="7"/>
                                        </p:tgtEl>
                                        <p:attrNameLst>
                                          <p:attrName>ppt_w</p:attrName>
                                        </p:attrNameLst>
                                      </p:cBhvr>
                                      <p:tavLst>
                                        <p:tav tm="0">
                                          <p:val>
                                            <p:fltVal val="0"/>
                                          </p:val>
                                        </p:tav>
                                        <p:tav tm="100000">
                                          <p:val>
                                            <p:strVal val="#ppt_w"/>
                                          </p:val>
                                        </p:tav>
                                      </p:tavLst>
                                    </p:anim>
                                    <p:anim calcmode="lin" valueType="num">
                                      <p:cBhvr>
                                        <p:cTn id="13" dur="500" fill="hold"/>
                                        <p:tgtEl>
                                          <p:spTgt spid="7"/>
                                        </p:tgtEl>
                                        <p:attrNameLst>
                                          <p:attrName>ppt_h</p:attrName>
                                        </p:attrNameLst>
                                      </p:cBhvr>
                                      <p:tavLst>
                                        <p:tav tm="0">
                                          <p:val>
                                            <p:fltVal val="0"/>
                                          </p:val>
                                        </p:tav>
                                        <p:tav tm="100000">
                                          <p:val>
                                            <p:strVal val="#ppt_h"/>
                                          </p:val>
                                        </p:tav>
                                      </p:tavLst>
                                    </p:anim>
                                    <p:animEffect transition="in" filter="fade">
                                      <p:cBhvr>
                                        <p:cTn id="14" dur="500"/>
                                        <p:tgtEl>
                                          <p:spTgt spid="7"/>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p:cTn id="17" dur="500" fill="hold"/>
                                        <p:tgtEl>
                                          <p:spTgt spid="10"/>
                                        </p:tgtEl>
                                        <p:attrNameLst>
                                          <p:attrName>ppt_w</p:attrName>
                                        </p:attrNameLst>
                                      </p:cBhvr>
                                      <p:tavLst>
                                        <p:tav tm="0">
                                          <p:val>
                                            <p:fltVal val="0"/>
                                          </p:val>
                                        </p:tav>
                                        <p:tav tm="100000">
                                          <p:val>
                                            <p:strVal val="#ppt_w"/>
                                          </p:val>
                                        </p:tav>
                                      </p:tavLst>
                                    </p:anim>
                                    <p:anim calcmode="lin" valueType="num">
                                      <p:cBhvr>
                                        <p:cTn id="18" dur="500" fill="hold"/>
                                        <p:tgtEl>
                                          <p:spTgt spid="10"/>
                                        </p:tgtEl>
                                        <p:attrNameLst>
                                          <p:attrName>ppt_h</p:attrName>
                                        </p:attrNameLst>
                                      </p:cBhvr>
                                      <p:tavLst>
                                        <p:tav tm="0">
                                          <p:val>
                                            <p:fltVal val="0"/>
                                          </p:val>
                                        </p:tav>
                                        <p:tav tm="100000">
                                          <p:val>
                                            <p:strVal val="#ppt_h"/>
                                          </p:val>
                                        </p:tav>
                                      </p:tavLst>
                                    </p:anim>
                                    <p:animEffect transition="in" filter="fade">
                                      <p:cBhvr>
                                        <p:cTn id="19" dur="500"/>
                                        <p:tgtEl>
                                          <p:spTgt spid="10"/>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 calcmode="lin" valueType="num">
                                      <p:cBhvr>
                                        <p:cTn id="22" dur="500" fill="hold"/>
                                        <p:tgtEl>
                                          <p:spTgt spid="8"/>
                                        </p:tgtEl>
                                        <p:attrNameLst>
                                          <p:attrName>ppt_w</p:attrName>
                                        </p:attrNameLst>
                                      </p:cBhvr>
                                      <p:tavLst>
                                        <p:tav tm="0">
                                          <p:val>
                                            <p:fltVal val="0"/>
                                          </p:val>
                                        </p:tav>
                                        <p:tav tm="100000">
                                          <p:val>
                                            <p:strVal val="#ppt_w"/>
                                          </p:val>
                                        </p:tav>
                                      </p:tavLst>
                                    </p:anim>
                                    <p:anim calcmode="lin" valueType="num">
                                      <p:cBhvr>
                                        <p:cTn id="23" dur="500" fill="hold"/>
                                        <p:tgtEl>
                                          <p:spTgt spid="8"/>
                                        </p:tgtEl>
                                        <p:attrNameLst>
                                          <p:attrName>ppt_h</p:attrName>
                                        </p:attrNameLst>
                                      </p:cBhvr>
                                      <p:tavLst>
                                        <p:tav tm="0">
                                          <p:val>
                                            <p:fltVal val="0"/>
                                          </p:val>
                                        </p:tav>
                                        <p:tav tm="100000">
                                          <p:val>
                                            <p:strVal val="#ppt_h"/>
                                          </p:val>
                                        </p:tav>
                                      </p:tavLst>
                                    </p:anim>
                                    <p:animEffect transition="in" filter="fade">
                                      <p:cBhvr>
                                        <p:cTn id="24" dur="500"/>
                                        <p:tgtEl>
                                          <p:spTgt spid="8"/>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anim calcmode="lin" valueType="num">
                                      <p:cBhvr>
                                        <p:cTn id="27" dur="500" fill="hold"/>
                                        <p:tgtEl>
                                          <p:spTgt spid="9"/>
                                        </p:tgtEl>
                                        <p:attrNameLst>
                                          <p:attrName>ppt_w</p:attrName>
                                        </p:attrNameLst>
                                      </p:cBhvr>
                                      <p:tavLst>
                                        <p:tav tm="0">
                                          <p:val>
                                            <p:fltVal val="0"/>
                                          </p:val>
                                        </p:tav>
                                        <p:tav tm="100000">
                                          <p:val>
                                            <p:strVal val="#ppt_w"/>
                                          </p:val>
                                        </p:tav>
                                      </p:tavLst>
                                    </p:anim>
                                    <p:anim calcmode="lin" valueType="num">
                                      <p:cBhvr>
                                        <p:cTn id="28" dur="500" fill="hold"/>
                                        <p:tgtEl>
                                          <p:spTgt spid="9"/>
                                        </p:tgtEl>
                                        <p:attrNameLst>
                                          <p:attrName>ppt_h</p:attrName>
                                        </p:attrNameLst>
                                      </p:cBhvr>
                                      <p:tavLst>
                                        <p:tav tm="0">
                                          <p:val>
                                            <p:fltVal val="0"/>
                                          </p:val>
                                        </p:tav>
                                        <p:tav tm="100000">
                                          <p:val>
                                            <p:strVal val="#ppt_h"/>
                                          </p:val>
                                        </p:tav>
                                      </p:tavLst>
                                    </p:anim>
                                    <p:animEffect transition="in" filter="fade">
                                      <p:cBhvr>
                                        <p:cTn id="29" dur="500"/>
                                        <p:tgtEl>
                                          <p:spTgt spid="9"/>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11"/>
                                        </p:tgtEl>
                                        <p:attrNameLst>
                                          <p:attrName>style.visibility</p:attrName>
                                        </p:attrNameLst>
                                      </p:cBhvr>
                                      <p:to>
                                        <p:strVal val="visible"/>
                                      </p:to>
                                    </p:set>
                                    <p:anim calcmode="lin" valueType="num">
                                      <p:cBhvr>
                                        <p:cTn id="32" dur="500" fill="hold"/>
                                        <p:tgtEl>
                                          <p:spTgt spid="11"/>
                                        </p:tgtEl>
                                        <p:attrNameLst>
                                          <p:attrName>ppt_w</p:attrName>
                                        </p:attrNameLst>
                                      </p:cBhvr>
                                      <p:tavLst>
                                        <p:tav tm="0">
                                          <p:val>
                                            <p:fltVal val="0"/>
                                          </p:val>
                                        </p:tav>
                                        <p:tav tm="100000">
                                          <p:val>
                                            <p:strVal val="#ppt_w"/>
                                          </p:val>
                                        </p:tav>
                                      </p:tavLst>
                                    </p:anim>
                                    <p:anim calcmode="lin" valueType="num">
                                      <p:cBhvr>
                                        <p:cTn id="33" dur="500" fill="hold"/>
                                        <p:tgtEl>
                                          <p:spTgt spid="11"/>
                                        </p:tgtEl>
                                        <p:attrNameLst>
                                          <p:attrName>ppt_h</p:attrName>
                                        </p:attrNameLst>
                                      </p:cBhvr>
                                      <p:tavLst>
                                        <p:tav tm="0">
                                          <p:val>
                                            <p:fltVal val="0"/>
                                          </p:val>
                                        </p:tav>
                                        <p:tav tm="100000">
                                          <p:val>
                                            <p:strVal val="#ppt_h"/>
                                          </p:val>
                                        </p:tav>
                                      </p:tavLst>
                                    </p:anim>
                                    <p:animEffect transition="in" filter="fade">
                                      <p:cBhvr>
                                        <p:cTn id="34" dur="500"/>
                                        <p:tgtEl>
                                          <p:spTgt spid="11"/>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5"/>
                                        </p:tgtEl>
                                        <p:attrNameLst>
                                          <p:attrName>style.visibility</p:attrName>
                                        </p:attrNameLst>
                                      </p:cBhvr>
                                      <p:to>
                                        <p:strVal val="visible"/>
                                      </p:to>
                                    </p:set>
                                    <p:anim calcmode="lin" valueType="num">
                                      <p:cBhvr>
                                        <p:cTn id="37" dur="500" fill="hold"/>
                                        <p:tgtEl>
                                          <p:spTgt spid="5"/>
                                        </p:tgtEl>
                                        <p:attrNameLst>
                                          <p:attrName>ppt_w</p:attrName>
                                        </p:attrNameLst>
                                      </p:cBhvr>
                                      <p:tavLst>
                                        <p:tav tm="0">
                                          <p:val>
                                            <p:fltVal val="0"/>
                                          </p:val>
                                        </p:tav>
                                        <p:tav tm="100000">
                                          <p:val>
                                            <p:strVal val="#ppt_w"/>
                                          </p:val>
                                        </p:tav>
                                      </p:tavLst>
                                    </p:anim>
                                    <p:anim calcmode="lin" valueType="num">
                                      <p:cBhvr>
                                        <p:cTn id="38" dur="500" fill="hold"/>
                                        <p:tgtEl>
                                          <p:spTgt spid="5"/>
                                        </p:tgtEl>
                                        <p:attrNameLst>
                                          <p:attrName>ppt_h</p:attrName>
                                        </p:attrNameLst>
                                      </p:cBhvr>
                                      <p:tavLst>
                                        <p:tav tm="0">
                                          <p:val>
                                            <p:fltVal val="0"/>
                                          </p:val>
                                        </p:tav>
                                        <p:tav tm="100000">
                                          <p:val>
                                            <p:strVal val="#ppt_h"/>
                                          </p:val>
                                        </p:tav>
                                      </p:tavLst>
                                    </p:anim>
                                    <p:animEffect transition="in" filter="fade">
                                      <p:cBhvr>
                                        <p:cTn id="39" dur="500"/>
                                        <p:tgtEl>
                                          <p:spTgt spid="5"/>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110"/>
                                        </p:tgtEl>
                                        <p:attrNameLst>
                                          <p:attrName>style.visibility</p:attrName>
                                        </p:attrNameLst>
                                      </p:cBhvr>
                                      <p:to>
                                        <p:strVal val="visible"/>
                                      </p:to>
                                    </p:set>
                                    <p:anim calcmode="lin" valueType="num">
                                      <p:cBhvr>
                                        <p:cTn id="42" dur="500" fill="hold"/>
                                        <p:tgtEl>
                                          <p:spTgt spid="110"/>
                                        </p:tgtEl>
                                        <p:attrNameLst>
                                          <p:attrName>ppt_w</p:attrName>
                                        </p:attrNameLst>
                                      </p:cBhvr>
                                      <p:tavLst>
                                        <p:tav tm="0">
                                          <p:val>
                                            <p:fltVal val="0"/>
                                          </p:val>
                                        </p:tav>
                                        <p:tav tm="100000">
                                          <p:val>
                                            <p:strVal val="#ppt_w"/>
                                          </p:val>
                                        </p:tav>
                                      </p:tavLst>
                                    </p:anim>
                                    <p:anim calcmode="lin" valueType="num">
                                      <p:cBhvr>
                                        <p:cTn id="43" dur="500" fill="hold"/>
                                        <p:tgtEl>
                                          <p:spTgt spid="110"/>
                                        </p:tgtEl>
                                        <p:attrNameLst>
                                          <p:attrName>ppt_h</p:attrName>
                                        </p:attrNameLst>
                                      </p:cBhvr>
                                      <p:tavLst>
                                        <p:tav tm="0">
                                          <p:val>
                                            <p:fltVal val="0"/>
                                          </p:val>
                                        </p:tav>
                                        <p:tav tm="100000">
                                          <p:val>
                                            <p:strVal val="#ppt_h"/>
                                          </p:val>
                                        </p:tav>
                                      </p:tavLst>
                                    </p:anim>
                                    <p:animEffect transition="in" filter="fade">
                                      <p:cBhvr>
                                        <p:cTn id="44" dur="500"/>
                                        <p:tgtEl>
                                          <p:spTgt spid="110"/>
                                        </p:tgtEl>
                                      </p:cBhvr>
                                    </p:animEffect>
                                  </p:childTnLst>
                                </p:cTn>
                              </p:par>
                              <p:par>
                                <p:cTn id="45" presetID="53" presetClass="entr" presetSubtype="16" fill="hold" grpId="0" nodeType="withEffect">
                                  <p:stCondLst>
                                    <p:cond delay="0"/>
                                  </p:stCondLst>
                                  <p:childTnLst>
                                    <p:set>
                                      <p:cBhvr>
                                        <p:cTn id="46" dur="1" fill="hold">
                                          <p:stCondLst>
                                            <p:cond delay="0"/>
                                          </p:stCondLst>
                                        </p:cTn>
                                        <p:tgtEl>
                                          <p:spTgt spid="113"/>
                                        </p:tgtEl>
                                        <p:attrNameLst>
                                          <p:attrName>style.visibility</p:attrName>
                                        </p:attrNameLst>
                                      </p:cBhvr>
                                      <p:to>
                                        <p:strVal val="visible"/>
                                      </p:to>
                                    </p:set>
                                    <p:anim calcmode="lin" valueType="num">
                                      <p:cBhvr>
                                        <p:cTn id="47" dur="500" fill="hold"/>
                                        <p:tgtEl>
                                          <p:spTgt spid="113"/>
                                        </p:tgtEl>
                                        <p:attrNameLst>
                                          <p:attrName>ppt_w</p:attrName>
                                        </p:attrNameLst>
                                      </p:cBhvr>
                                      <p:tavLst>
                                        <p:tav tm="0">
                                          <p:val>
                                            <p:fltVal val="0"/>
                                          </p:val>
                                        </p:tav>
                                        <p:tav tm="100000">
                                          <p:val>
                                            <p:strVal val="#ppt_w"/>
                                          </p:val>
                                        </p:tav>
                                      </p:tavLst>
                                    </p:anim>
                                    <p:anim calcmode="lin" valueType="num">
                                      <p:cBhvr>
                                        <p:cTn id="48" dur="500" fill="hold"/>
                                        <p:tgtEl>
                                          <p:spTgt spid="113"/>
                                        </p:tgtEl>
                                        <p:attrNameLst>
                                          <p:attrName>ppt_h</p:attrName>
                                        </p:attrNameLst>
                                      </p:cBhvr>
                                      <p:tavLst>
                                        <p:tav tm="0">
                                          <p:val>
                                            <p:fltVal val="0"/>
                                          </p:val>
                                        </p:tav>
                                        <p:tav tm="100000">
                                          <p:val>
                                            <p:strVal val="#ppt_h"/>
                                          </p:val>
                                        </p:tav>
                                      </p:tavLst>
                                    </p:anim>
                                    <p:animEffect transition="in" filter="fade">
                                      <p:cBhvr>
                                        <p:cTn id="49" dur="500"/>
                                        <p:tgtEl>
                                          <p:spTgt spid="113"/>
                                        </p:tgtEl>
                                      </p:cBhvr>
                                    </p:animEffect>
                                  </p:childTnLst>
                                </p:cTn>
                              </p:par>
                              <p:par>
                                <p:cTn id="50" presetID="22" presetClass="entr" presetSubtype="8" fill="hold" nodeType="withEffect">
                                  <p:stCondLst>
                                    <p:cond delay="0"/>
                                  </p:stCondLst>
                                  <p:childTnLst>
                                    <p:set>
                                      <p:cBhvr>
                                        <p:cTn id="51" dur="1" fill="hold">
                                          <p:stCondLst>
                                            <p:cond delay="0"/>
                                          </p:stCondLst>
                                        </p:cTn>
                                        <p:tgtEl>
                                          <p:spTgt spid="70"/>
                                        </p:tgtEl>
                                        <p:attrNameLst>
                                          <p:attrName>style.visibility</p:attrName>
                                        </p:attrNameLst>
                                      </p:cBhvr>
                                      <p:to>
                                        <p:strVal val="visible"/>
                                      </p:to>
                                    </p:set>
                                    <p:animEffect transition="in" filter="wipe(left)">
                                      <p:cBhvr>
                                        <p:cTn id="52" dur="500"/>
                                        <p:tgtEl>
                                          <p:spTgt spid="70"/>
                                        </p:tgtEl>
                                      </p:cBhvr>
                                    </p:animEffect>
                                  </p:childTnLst>
                                </p:cTn>
                              </p:par>
                              <p:par>
                                <p:cTn id="53" presetID="22" presetClass="entr" presetSubtype="8" fill="hold" nodeType="withEffect">
                                  <p:stCondLst>
                                    <p:cond delay="0"/>
                                  </p:stCondLst>
                                  <p:childTnLst>
                                    <p:set>
                                      <p:cBhvr>
                                        <p:cTn id="54" dur="1" fill="hold">
                                          <p:stCondLst>
                                            <p:cond delay="0"/>
                                          </p:stCondLst>
                                        </p:cTn>
                                        <p:tgtEl>
                                          <p:spTgt spid="69"/>
                                        </p:tgtEl>
                                        <p:attrNameLst>
                                          <p:attrName>style.visibility</p:attrName>
                                        </p:attrNameLst>
                                      </p:cBhvr>
                                      <p:to>
                                        <p:strVal val="visible"/>
                                      </p:to>
                                    </p:set>
                                    <p:animEffect transition="in" filter="wipe(left)">
                                      <p:cBhvr>
                                        <p:cTn id="55" dur="500"/>
                                        <p:tgtEl>
                                          <p:spTgt spid="69"/>
                                        </p:tgtEl>
                                      </p:cBhvr>
                                    </p:animEffect>
                                  </p:childTnLst>
                                </p:cTn>
                              </p:par>
                              <p:par>
                                <p:cTn id="56" presetID="22" presetClass="entr" presetSubtype="2" fill="hold" nodeType="withEffect">
                                  <p:stCondLst>
                                    <p:cond delay="0"/>
                                  </p:stCondLst>
                                  <p:childTnLst>
                                    <p:set>
                                      <p:cBhvr>
                                        <p:cTn id="57" dur="1" fill="hold">
                                          <p:stCondLst>
                                            <p:cond delay="0"/>
                                          </p:stCondLst>
                                        </p:cTn>
                                        <p:tgtEl>
                                          <p:spTgt spid="80"/>
                                        </p:tgtEl>
                                        <p:attrNameLst>
                                          <p:attrName>style.visibility</p:attrName>
                                        </p:attrNameLst>
                                      </p:cBhvr>
                                      <p:to>
                                        <p:strVal val="visible"/>
                                      </p:to>
                                    </p:set>
                                    <p:animEffect transition="in" filter="wipe(right)">
                                      <p:cBhvr>
                                        <p:cTn id="58" dur="500"/>
                                        <p:tgtEl>
                                          <p:spTgt spid="80"/>
                                        </p:tgtEl>
                                      </p:cBhvr>
                                    </p:animEffect>
                                  </p:childTnLst>
                                </p:cTn>
                              </p:par>
                              <p:par>
                                <p:cTn id="59" presetID="22" presetClass="entr" presetSubtype="2" fill="hold" nodeType="withEffect">
                                  <p:stCondLst>
                                    <p:cond delay="0"/>
                                  </p:stCondLst>
                                  <p:childTnLst>
                                    <p:set>
                                      <p:cBhvr>
                                        <p:cTn id="60" dur="1" fill="hold">
                                          <p:stCondLst>
                                            <p:cond delay="0"/>
                                          </p:stCondLst>
                                        </p:cTn>
                                        <p:tgtEl>
                                          <p:spTgt spid="79"/>
                                        </p:tgtEl>
                                        <p:attrNameLst>
                                          <p:attrName>style.visibility</p:attrName>
                                        </p:attrNameLst>
                                      </p:cBhvr>
                                      <p:to>
                                        <p:strVal val="visible"/>
                                      </p:to>
                                    </p:set>
                                    <p:animEffect transition="in" filter="wipe(right)">
                                      <p:cBhvr>
                                        <p:cTn id="61" dur="500"/>
                                        <p:tgtEl>
                                          <p:spTgt spid="79"/>
                                        </p:tgtEl>
                                      </p:cBhvr>
                                    </p:animEffect>
                                  </p:childTnLst>
                                </p:cTn>
                              </p:par>
                              <p:par>
                                <p:cTn id="62" presetID="22" presetClass="entr" presetSubtype="2" fill="hold" nodeType="withEffect">
                                  <p:stCondLst>
                                    <p:cond delay="0"/>
                                  </p:stCondLst>
                                  <p:childTnLst>
                                    <p:set>
                                      <p:cBhvr>
                                        <p:cTn id="63" dur="1" fill="hold">
                                          <p:stCondLst>
                                            <p:cond delay="0"/>
                                          </p:stCondLst>
                                        </p:cTn>
                                        <p:tgtEl>
                                          <p:spTgt spid="66"/>
                                        </p:tgtEl>
                                        <p:attrNameLst>
                                          <p:attrName>style.visibility</p:attrName>
                                        </p:attrNameLst>
                                      </p:cBhvr>
                                      <p:to>
                                        <p:strVal val="visible"/>
                                      </p:to>
                                    </p:set>
                                    <p:animEffect transition="in" filter="wipe(right)">
                                      <p:cBhvr>
                                        <p:cTn id="64" dur="500"/>
                                        <p:tgtEl>
                                          <p:spTgt spid="66"/>
                                        </p:tgtEl>
                                      </p:cBhvr>
                                    </p:animEffect>
                                  </p:childTnLst>
                                </p:cTn>
                              </p:par>
                              <p:par>
                                <p:cTn id="65" presetID="1" presetClass="entr" presetSubtype="0" fill="hold" nodeType="withEffect">
                                  <p:stCondLst>
                                    <p:cond delay="0"/>
                                  </p:stCondLst>
                                  <p:childTnLst>
                                    <p:set>
                                      <p:cBhvr>
                                        <p:cTn id="66" dur="1" fill="hold">
                                          <p:stCondLst>
                                            <p:cond delay="0"/>
                                          </p:stCondLst>
                                        </p:cTn>
                                        <p:tgtEl>
                                          <p:spTgt spid="72"/>
                                        </p:tgtEl>
                                        <p:attrNameLst>
                                          <p:attrName>style.visibility</p:attrName>
                                        </p:attrNameLst>
                                      </p:cBhvr>
                                      <p:to>
                                        <p:strVal val="visible"/>
                                      </p:to>
                                    </p:set>
                                  </p:childTnLst>
                                </p:cTn>
                              </p:par>
                              <p:par>
                                <p:cTn id="67" presetID="22" presetClass="entr" presetSubtype="8" fill="hold" nodeType="withEffect">
                                  <p:stCondLst>
                                    <p:cond delay="0"/>
                                  </p:stCondLst>
                                  <p:childTnLst>
                                    <p:set>
                                      <p:cBhvr>
                                        <p:cTn id="68" dur="1" fill="hold">
                                          <p:stCondLst>
                                            <p:cond delay="0"/>
                                          </p:stCondLst>
                                        </p:cTn>
                                        <p:tgtEl>
                                          <p:spTgt spid="2"/>
                                        </p:tgtEl>
                                        <p:attrNameLst>
                                          <p:attrName>style.visibility</p:attrName>
                                        </p:attrNameLst>
                                      </p:cBhvr>
                                      <p:to>
                                        <p:strVal val="visible"/>
                                      </p:to>
                                    </p:set>
                                    <p:animEffect transition="in" filter="wipe(left)">
                                      <p:cBhvr>
                                        <p:cTn id="69" dur="500"/>
                                        <p:tgtEl>
                                          <p:spTgt spid="2"/>
                                        </p:tgtEl>
                                      </p:cBhvr>
                                    </p:animEffect>
                                  </p:childTnLst>
                                </p:cTn>
                              </p:par>
                            </p:childTnLst>
                          </p:cTn>
                        </p:par>
                        <p:par>
                          <p:cTn id="70" fill="hold">
                            <p:stCondLst>
                              <p:cond delay="500"/>
                            </p:stCondLst>
                            <p:childTnLst>
                              <p:par>
                                <p:cTn id="71" presetID="10" presetClass="entr" presetSubtype="0" fill="hold" grpId="0" nodeType="afterEffect">
                                  <p:stCondLst>
                                    <p:cond delay="0"/>
                                  </p:stCondLst>
                                  <p:childTnLst>
                                    <p:set>
                                      <p:cBhvr>
                                        <p:cTn id="72" dur="1" fill="hold">
                                          <p:stCondLst>
                                            <p:cond delay="0"/>
                                          </p:stCondLst>
                                        </p:cTn>
                                        <p:tgtEl>
                                          <p:spTgt spid="99"/>
                                        </p:tgtEl>
                                        <p:attrNameLst>
                                          <p:attrName>style.visibility</p:attrName>
                                        </p:attrNameLst>
                                      </p:cBhvr>
                                      <p:to>
                                        <p:strVal val="visible"/>
                                      </p:to>
                                    </p:set>
                                    <p:animEffect transition="in" filter="fade">
                                      <p:cBhvr>
                                        <p:cTn id="73" dur="500"/>
                                        <p:tgtEl>
                                          <p:spTgt spid="9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01"/>
                                        </p:tgtEl>
                                        <p:attrNameLst>
                                          <p:attrName>style.visibility</p:attrName>
                                        </p:attrNameLst>
                                      </p:cBhvr>
                                      <p:to>
                                        <p:strVal val="visible"/>
                                      </p:to>
                                    </p:set>
                                    <p:animEffect transition="in" filter="fade">
                                      <p:cBhvr>
                                        <p:cTn id="76" dur="500"/>
                                        <p:tgtEl>
                                          <p:spTgt spid="10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04"/>
                                        </p:tgtEl>
                                        <p:attrNameLst>
                                          <p:attrName>style.visibility</p:attrName>
                                        </p:attrNameLst>
                                      </p:cBhvr>
                                      <p:to>
                                        <p:strVal val="visible"/>
                                      </p:to>
                                    </p:set>
                                    <p:animEffect transition="in" filter="fade">
                                      <p:cBhvr>
                                        <p:cTn id="79" dur="500"/>
                                        <p:tgtEl>
                                          <p:spTgt spid="104"/>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94"/>
                                        </p:tgtEl>
                                        <p:attrNameLst>
                                          <p:attrName>style.visibility</p:attrName>
                                        </p:attrNameLst>
                                      </p:cBhvr>
                                      <p:to>
                                        <p:strVal val="visible"/>
                                      </p:to>
                                    </p:set>
                                    <p:animEffect transition="in" filter="fade">
                                      <p:cBhvr>
                                        <p:cTn id="82" dur="500"/>
                                        <p:tgtEl>
                                          <p:spTgt spid="94"/>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92"/>
                                        </p:tgtEl>
                                        <p:attrNameLst>
                                          <p:attrName>style.visibility</p:attrName>
                                        </p:attrNameLst>
                                      </p:cBhvr>
                                      <p:to>
                                        <p:strVal val="visible"/>
                                      </p:to>
                                    </p:set>
                                    <p:animEffect transition="in" filter="fade">
                                      <p:cBhvr>
                                        <p:cTn id="85" dur="500"/>
                                        <p:tgtEl>
                                          <p:spTgt spid="92"/>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86"/>
                                        </p:tgtEl>
                                        <p:attrNameLst>
                                          <p:attrName>style.visibility</p:attrName>
                                        </p:attrNameLst>
                                      </p:cBhvr>
                                      <p:to>
                                        <p:strVal val="visible"/>
                                      </p:to>
                                    </p:set>
                                    <p:animEffect transition="in" filter="fade">
                                      <p:cBhvr>
                                        <p:cTn id="88" dur="500"/>
                                        <p:tgtEl>
                                          <p:spTgt spid="86"/>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81"/>
                                        </p:tgtEl>
                                        <p:attrNameLst>
                                          <p:attrName>style.visibility</p:attrName>
                                        </p:attrNameLst>
                                      </p:cBhvr>
                                      <p:to>
                                        <p:strVal val="visible"/>
                                      </p:to>
                                    </p:set>
                                    <p:animEffect transition="in" filter="fade">
                                      <p:cBhvr>
                                        <p:cTn id="91" dur="500"/>
                                        <p:tgtEl>
                                          <p:spTgt spid="81"/>
                                        </p:tgtEl>
                                      </p:cBhvr>
                                    </p:animEffect>
                                  </p:childTnLst>
                                </p:cTn>
                              </p:par>
                            </p:childTnLst>
                          </p:cTn>
                        </p:par>
                        <p:par>
                          <p:cTn id="92" fill="hold">
                            <p:stCondLst>
                              <p:cond delay="1000"/>
                            </p:stCondLst>
                            <p:childTnLst>
                              <p:par>
                                <p:cTn id="93" presetID="10" presetClass="entr" presetSubtype="0" fill="hold" grpId="0" nodeType="afterEffect">
                                  <p:stCondLst>
                                    <p:cond delay="0"/>
                                  </p:stCondLst>
                                  <p:childTnLst>
                                    <p:set>
                                      <p:cBhvr>
                                        <p:cTn id="94" dur="1" fill="hold">
                                          <p:stCondLst>
                                            <p:cond delay="0"/>
                                          </p:stCondLst>
                                        </p:cTn>
                                        <p:tgtEl>
                                          <p:spTgt spid="100"/>
                                        </p:tgtEl>
                                        <p:attrNameLst>
                                          <p:attrName>style.visibility</p:attrName>
                                        </p:attrNameLst>
                                      </p:cBhvr>
                                      <p:to>
                                        <p:strVal val="visible"/>
                                      </p:to>
                                    </p:set>
                                    <p:animEffect transition="in" filter="fade">
                                      <p:cBhvr>
                                        <p:cTn id="95" dur="500"/>
                                        <p:tgtEl>
                                          <p:spTgt spid="100"/>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102"/>
                                        </p:tgtEl>
                                        <p:attrNameLst>
                                          <p:attrName>style.visibility</p:attrName>
                                        </p:attrNameLst>
                                      </p:cBhvr>
                                      <p:to>
                                        <p:strVal val="visible"/>
                                      </p:to>
                                    </p:set>
                                    <p:animEffect transition="in" filter="fade">
                                      <p:cBhvr>
                                        <p:cTn id="98" dur="500"/>
                                        <p:tgtEl>
                                          <p:spTgt spid="102"/>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105"/>
                                        </p:tgtEl>
                                        <p:attrNameLst>
                                          <p:attrName>style.visibility</p:attrName>
                                        </p:attrNameLst>
                                      </p:cBhvr>
                                      <p:to>
                                        <p:strVal val="visible"/>
                                      </p:to>
                                    </p:set>
                                    <p:animEffect transition="in" filter="fade">
                                      <p:cBhvr>
                                        <p:cTn id="101" dur="500"/>
                                        <p:tgtEl>
                                          <p:spTgt spid="105"/>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82"/>
                                        </p:tgtEl>
                                        <p:attrNameLst>
                                          <p:attrName>style.visibility</p:attrName>
                                        </p:attrNameLst>
                                      </p:cBhvr>
                                      <p:to>
                                        <p:strVal val="visible"/>
                                      </p:to>
                                    </p:set>
                                    <p:animEffect transition="in" filter="fade">
                                      <p:cBhvr>
                                        <p:cTn id="104" dur="500"/>
                                        <p:tgtEl>
                                          <p:spTgt spid="82"/>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87"/>
                                        </p:tgtEl>
                                        <p:attrNameLst>
                                          <p:attrName>style.visibility</p:attrName>
                                        </p:attrNameLst>
                                      </p:cBhvr>
                                      <p:to>
                                        <p:strVal val="visible"/>
                                      </p:to>
                                    </p:set>
                                    <p:animEffect transition="in" filter="fade">
                                      <p:cBhvr>
                                        <p:cTn id="107" dur="500"/>
                                        <p:tgtEl>
                                          <p:spTgt spid="87"/>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93"/>
                                        </p:tgtEl>
                                        <p:attrNameLst>
                                          <p:attrName>style.visibility</p:attrName>
                                        </p:attrNameLst>
                                      </p:cBhvr>
                                      <p:to>
                                        <p:strVal val="visible"/>
                                      </p:to>
                                    </p:set>
                                    <p:animEffect transition="in" filter="fade">
                                      <p:cBhvr>
                                        <p:cTn id="110" dur="500"/>
                                        <p:tgtEl>
                                          <p:spTgt spid="93"/>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95"/>
                                        </p:tgtEl>
                                        <p:attrNameLst>
                                          <p:attrName>style.visibility</p:attrName>
                                        </p:attrNameLst>
                                      </p:cBhvr>
                                      <p:to>
                                        <p:strVal val="visible"/>
                                      </p:to>
                                    </p:set>
                                    <p:animEffect transition="in" filter="fade">
                                      <p:cBhvr>
                                        <p:cTn id="113" dur="500"/>
                                        <p:tgtEl>
                                          <p:spTgt spid="95"/>
                                        </p:tgtEl>
                                      </p:cBhvr>
                                    </p:animEffect>
                                  </p:childTnLst>
                                </p:cTn>
                              </p:par>
                              <p:par>
                                <p:cTn id="114" presetID="53" presetClass="entr" presetSubtype="16" fill="hold" grpId="0" nodeType="withEffect">
                                  <p:stCondLst>
                                    <p:cond delay="0"/>
                                  </p:stCondLst>
                                  <p:childTnLst>
                                    <p:set>
                                      <p:cBhvr>
                                        <p:cTn id="115" dur="1" fill="hold">
                                          <p:stCondLst>
                                            <p:cond delay="0"/>
                                          </p:stCondLst>
                                        </p:cTn>
                                        <p:tgtEl>
                                          <p:spTgt spid="46"/>
                                        </p:tgtEl>
                                        <p:attrNameLst>
                                          <p:attrName>style.visibility</p:attrName>
                                        </p:attrNameLst>
                                      </p:cBhvr>
                                      <p:to>
                                        <p:strVal val="visible"/>
                                      </p:to>
                                    </p:set>
                                    <p:anim calcmode="lin" valueType="num">
                                      <p:cBhvr>
                                        <p:cTn id="116" dur="500" fill="hold"/>
                                        <p:tgtEl>
                                          <p:spTgt spid="46"/>
                                        </p:tgtEl>
                                        <p:attrNameLst>
                                          <p:attrName>ppt_w</p:attrName>
                                        </p:attrNameLst>
                                      </p:cBhvr>
                                      <p:tavLst>
                                        <p:tav tm="0">
                                          <p:val>
                                            <p:fltVal val="0"/>
                                          </p:val>
                                        </p:tav>
                                        <p:tav tm="100000">
                                          <p:val>
                                            <p:strVal val="#ppt_w"/>
                                          </p:val>
                                        </p:tav>
                                      </p:tavLst>
                                    </p:anim>
                                    <p:anim calcmode="lin" valueType="num">
                                      <p:cBhvr>
                                        <p:cTn id="117" dur="500" fill="hold"/>
                                        <p:tgtEl>
                                          <p:spTgt spid="46"/>
                                        </p:tgtEl>
                                        <p:attrNameLst>
                                          <p:attrName>ppt_h</p:attrName>
                                        </p:attrNameLst>
                                      </p:cBhvr>
                                      <p:tavLst>
                                        <p:tav tm="0">
                                          <p:val>
                                            <p:fltVal val="0"/>
                                          </p:val>
                                        </p:tav>
                                        <p:tav tm="100000">
                                          <p:val>
                                            <p:strVal val="#ppt_h"/>
                                          </p:val>
                                        </p:tav>
                                      </p:tavLst>
                                    </p:anim>
                                    <p:animEffect transition="in" filter="fade">
                                      <p:cBhvr>
                                        <p:cTn id="118" dur="500"/>
                                        <p:tgtEl>
                                          <p:spTgt spid="46"/>
                                        </p:tgtEl>
                                      </p:cBhvr>
                                    </p:animEffect>
                                  </p:childTnLst>
                                </p:cTn>
                              </p:par>
                            </p:childTnLst>
                          </p:cTn>
                        </p:par>
                        <p:par>
                          <p:cTn id="119" fill="hold">
                            <p:stCondLst>
                              <p:cond delay="1500"/>
                            </p:stCondLst>
                            <p:childTnLst>
                              <p:par>
                                <p:cTn id="120" presetID="53" presetClass="entr" presetSubtype="16" fill="hold" grpId="0" nodeType="afterEffect">
                                  <p:stCondLst>
                                    <p:cond delay="0"/>
                                  </p:stCondLst>
                                  <p:childTnLst>
                                    <p:set>
                                      <p:cBhvr>
                                        <p:cTn id="121" dur="1" fill="hold">
                                          <p:stCondLst>
                                            <p:cond delay="0"/>
                                          </p:stCondLst>
                                        </p:cTn>
                                        <p:tgtEl>
                                          <p:spTgt spid="48"/>
                                        </p:tgtEl>
                                        <p:attrNameLst>
                                          <p:attrName>style.visibility</p:attrName>
                                        </p:attrNameLst>
                                      </p:cBhvr>
                                      <p:to>
                                        <p:strVal val="visible"/>
                                      </p:to>
                                    </p:set>
                                    <p:anim calcmode="lin" valueType="num">
                                      <p:cBhvr>
                                        <p:cTn id="122" dur="500" fill="hold"/>
                                        <p:tgtEl>
                                          <p:spTgt spid="48"/>
                                        </p:tgtEl>
                                        <p:attrNameLst>
                                          <p:attrName>ppt_w</p:attrName>
                                        </p:attrNameLst>
                                      </p:cBhvr>
                                      <p:tavLst>
                                        <p:tav tm="0">
                                          <p:val>
                                            <p:fltVal val="0"/>
                                          </p:val>
                                        </p:tav>
                                        <p:tav tm="100000">
                                          <p:val>
                                            <p:strVal val="#ppt_w"/>
                                          </p:val>
                                        </p:tav>
                                      </p:tavLst>
                                    </p:anim>
                                    <p:anim calcmode="lin" valueType="num">
                                      <p:cBhvr>
                                        <p:cTn id="123" dur="500" fill="hold"/>
                                        <p:tgtEl>
                                          <p:spTgt spid="48"/>
                                        </p:tgtEl>
                                        <p:attrNameLst>
                                          <p:attrName>ppt_h</p:attrName>
                                        </p:attrNameLst>
                                      </p:cBhvr>
                                      <p:tavLst>
                                        <p:tav tm="0">
                                          <p:val>
                                            <p:fltVal val="0"/>
                                          </p:val>
                                        </p:tav>
                                        <p:tav tm="100000">
                                          <p:val>
                                            <p:strVal val="#ppt_h"/>
                                          </p:val>
                                        </p:tav>
                                      </p:tavLst>
                                    </p:anim>
                                    <p:animEffect transition="in" filter="fade">
                                      <p:cBhvr>
                                        <p:cTn id="124" dur="500"/>
                                        <p:tgtEl>
                                          <p:spTgt spid="48"/>
                                        </p:tgtEl>
                                      </p:cBhvr>
                                    </p:animEffect>
                                  </p:childTnLst>
                                </p:cTn>
                              </p:par>
                              <p:par>
                                <p:cTn id="125" presetID="10" presetClass="entr" presetSubtype="0" fill="hold" nodeType="withEffect">
                                  <p:stCondLst>
                                    <p:cond delay="0"/>
                                  </p:stCondLst>
                                  <p:childTnLst>
                                    <p:set>
                                      <p:cBhvr>
                                        <p:cTn id="126" dur="1" fill="hold">
                                          <p:stCondLst>
                                            <p:cond delay="0"/>
                                          </p:stCondLst>
                                        </p:cTn>
                                        <p:tgtEl>
                                          <p:spTgt spid="51"/>
                                        </p:tgtEl>
                                        <p:attrNameLst>
                                          <p:attrName>style.visibility</p:attrName>
                                        </p:attrNameLst>
                                      </p:cBhvr>
                                      <p:to>
                                        <p:strVal val="visible"/>
                                      </p:to>
                                    </p:set>
                                    <p:animEffect transition="in" filter="fade">
                                      <p:cBhvr>
                                        <p:cTn id="127" dur="500"/>
                                        <p:tgtEl>
                                          <p:spTgt spid="51"/>
                                        </p:tgtEl>
                                      </p:cBhvr>
                                    </p:animEffect>
                                  </p:childTnLst>
                                </p:cTn>
                              </p:par>
                              <p:par>
                                <p:cTn id="128" presetID="10" presetClass="entr" presetSubtype="0" fill="hold" nodeType="withEffect">
                                  <p:stCondLst>
                                    <p:cond delay="0"/>
                                  </p:stCondLst>
                                  <p:childTnLst>
                                    <p:set>
                                      <p:cBhvr>
                                        <p:cTn id="129" dur="1" fill="hold">
                                          <p:stCondLst>
                                            <p:cond delay="0"/>
                                          </p:stCondLst>
                                        </p:cTn>
                                        <p:tgtEl>
                                          <p:spTgt spid="55"/>
                                        </p:tgtEl>
                                        <p:attrNameLst>
                                          <p:attrName>style.visibility</p:attrName>
                                        </p:attrNameLst>
                                      </p:cBhvr>
                                      <p:to>
                                        <p:strVal val="visible"/>
                                      </p:to>
                                    </p:set>
                                    <p:animEffect transition="in" filter="fade">
                                      <p:cBhvr>
                                        <p:cTn id="130" dur="500"/>
                                        <p:tgtEl>
                                          <p:spTgt spid="55"/>
                                        </p:tgtEl>
                                      </p:cBhvr>
                                    </p:animEffect>
                                  </p:childTnLst>
                                </p:cTn>
                              </p:par>
                              <p:par>
                                <p:cTn id="131" presetID="10" presetClass="entr" presetSubtype="0" fill="hold" nodeType="withEffect">
                                  <p:stCondLst>
                                    <p:cond delay="0"/>
                                  </p:stCondLst>
                                  <p:childTnLst>
                                    <p:set>
                                      <p:cBhvr>
                                        <p:cTn id="132" dur="1" fill="hold">
                                          <p:stCondLst>
                                            <p:cond delay="0"/>
                                          </p:stCondLst>
                                        </p:cTn>
                                        <p:tgtEl>
                                          <p:spTgt spid="75"/>
                                        </p:tgtEl>
                                        <p:attrNameLst>
                                          <p:attrName>style.visibility</p:attrName>
                                        </p:attrNameLst>
                                      </p:cBhvr>
                                      <p:to>
                                        <p:strVal val="visible"/>
                                      </p:to>
                                    </p:set>
                                    <p:animEffect transition="in" filter="fade">
                                      <p:cBhvr>
                                        <p:cTn id="133" dur="500"/>
                                        <p:tgtEl>
                                          <p:spTgt spid="75"/>
                                        </p:tgtEl>
                                      </p:cBhvr>
                                    </p:animEffect>
                                  </p:childTnLst>
                                </p:cTn>
                              </p:par>
                              <p:par>
                                <p:cTn id="134" presetID="10" presetClass="entr" presetSubtype="0" fill="hold" nodeType="withEffect">
                                  <p:stCondLst>
                                    <p:cond delay="0"/>
                                  </p:stCondLst>
                                  <p:childTnLst>
                                    <p:set>
                                      <p:cBhvr>
                                        <p:cTn id="135" dur="1" fill="hold">
                                          <p:stCondLst>
                                            <p:cond delay="0"/>
                                          </p:stCondLst>
                                        </p:cTn>
                                        <p:tgtEl>
                                          <p:spTgt spid="85"/>
                                        </p:tgtEl>
                                        <p:attrNameLst>
                                          <p:attrName>style.visibility</p:attrName>
                                        </p:attrNameLst>
                                      </p:cBhvr>
                                      <p:to>
                                        <p:strVal val="visible"/>
                                      </p:to>
                                    </p:set>
                                    <p:animEffect transition="in" filter="fade">
                                      <p:cBhvr>
                                        <p:cTn id="136" dur="50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81" grpId="0"/>
      <p:bldP spid="82" grpId="0"/>
      <p:bldP spid="86" grpId="0"/>
      <p:bldP spid="87" grpId="0"/>
      <p:bldP spid="92" grpId="0"/>
      <p:bldP spid="93" grpId="0"/>
      <p:bldP spid="94" grpId="0"/>
      <p:bldP spid="95" grpId="0"/>
      <p:bldP spid="99" grpId="0"/>
      <p:bldP spid="100" grpId="0"/>
      <p:bldP spid="101" grpId="0"/>
      <p:bldP spid="102" grpId="0"/>
      <p:bldP spid="104" grpId="0"/>
      <p:bldP spid="105" grpId="0"/>
      <p:bldP spid="110" grpId="0" animBg="1"/>
      <p:bldP spid="113" grpId="0" animBg="1"/>
      <p:bldP spid="46" grpId="0" animBg="1"/>
      <p:bldP spid="48"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6550562" y="2879398"/>
            <a:ext cx="3145218" cy="319090"/>
          </a:xfrm>
          <a:prstGeom prst="rect">
            <a:avLst/>
          </a:prstGeom>
          <a:noFill/>
        </p:spPr>
        <p:txBody>
          <a:bodyPr wrap="square" rtlCol="0">
            <a:spAutoFit/>
          </a:bodyPr>
          <a:lstStyle/>
          <a:p>
            <a:pPr defTabSz="685800"/>
            <a:r>
              <a:rPr lang="en-US" sz="1400" dirty="0" smtClean="0">
                <a:solidFill>
                  <a:prstClr val="black"/>
                </a:solidFill>
                <a:latin typeface="montserrat"/>
                <a:ea typeface="Kozuka Gothic Pro L" panose="020B0200000000000000" pitchFamily="34" charset="-128"/>
              </a:rPr>
              <a:t>Prices</a:t>
            </a:r>
            <a:endParaRPr lang="id-ID" sz="1400" dirty="0">
              <a:solidFill>
                <a:prstClr val="black"/>
              </a:solidFill>
              <a:latin typeface="montserrat"/>
              <a:ea typeface="Kozuka Gothic Pro L" panose="020B0200000000000000" pitchFamily="34" charset="-128"/>
            </a:endParaRPr>
          </a:p>
        </p:txBody>
      </p:sp>
      <p:sp>
        <p:nvSpPr>
          <p:cNvPr id="7" name="TextBox 6"/>
          <p:cNvSpPr txBox="1"/>
          <p:nvPr/>
        </p:nvSpPr>
        <p:spPr>
          <a:xfrm>
            <a:off x="6572775" y="3189633"/>
            <a:ext cx="2230816" cy="1015663"/>
          </a:xfrm>
          <a:prstGeom prst="rect">
            <a:avLst/>
          </a:prstGeom>
          <a:noFill/>
        </p:spPr>
        <p:txBody>
          <a:bodyPr wrap="square" rtlCol="0">
            <a:spAutoFit/>
          </a:bodyPr>
          <a:lstStyle/>
          <a:p>
            <a:pPr defTabSz="685800">
              <a:lnSpc>
                <a:spcPct val="150000"/>
              </a:lnSpc>
            </a:pPr>
            <a:r>
              <a:rPr lang="en-US" sz="1000" dirty="0" smtClean="0">
                <a:solidFill>
                  <a:prstClr val="black">
                    <a:lumMod val="65000"/>
                    <a:lumOff val="35000"/>
                  </a:prstClr>
                </a:solidFill>
                <a:ea typeface="Open Sans Light" panose="020B0306030504020204" pitchFamily="34" charset="0"/>
                <a:cs typeface="Open Sans Light" panose="020B0306030504020204" pitchFamily="34" charset="0"/>
              </a:rPr>
              <a:t>Monthly and weekly commodity prices of hard wheat, soft wheat, maize, rice and soybeans and daily futures prices</a:t>
            </a:r>
            <a:endParaRPr lang="en-US" sz="1000" dirty="0">
              <a:solidFill>
                <a:prstClr val="black">
                  <a:lumMod val="65000"/>
                  <a:lumOff val="35000"/>
                </a:prstClr>
              </a:solidFill>
              <a:ea typeface="Open Sans Light" panose="020B0306030504020204" pitchFamily="34" charset="0"/>
              <a:cs typeface="Open Sans Light" panose="020B0306030504020204" pitchFamily="34" charset="0"/>
            </a:endParaRPr>
          </a:p>
        </p:txBody>
      </p:sp>
      <p:cxnSp>
        <p:nvCxnSpPr>
          <p:cNvPr id="8" name="Straight Connector 7"/>
          <p:cNvCxnSpPr/>
          <p:nvPr/>
        </p:nvCxnSpPr>
        <p:spPr>
          <a:xfrm>
            <a:off x="5769095" y="3212300"/>
            <a:ext cx="612147"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6550562" y="4339014"/>
            <a:ext cx="3003703" cy="307777"/>
          </a:xfrm>
          <a:prstGeom prst="rect">
            <a:avLst/>
          </a:prstGeom>
          <a:noFill/>
        </p:spPr>
        <p:txBody>
          <a:bodyPr wrap="square" rtlCol="0">
            <a:spAutoFit/>
          </a:bodyPr>
          <a:lstStyle/>
          <a:p>
            <a:pPr defTabSz="685800"/>
            <a:r>
              <a:rPr lang="en-US" sz="1400" dirty="0" smtClean="0">
                <a:solidFill>
                  <a:prstClr val="black"/>
                </a:solidFill>
                <a:latin typeface="montserrat"/>
                <a:ea typeface="Kozuka Gothic Pro L" panose="020B0200000000000000" pitchFamily="34" charset="-128"/>
              </a:rPr>
              <a:t>Early warning system</a:t>
            </a:r>
            <a:endParaRPr lang="id-ID" sz="1400" dirty="0">
              <a:solidFill>
                <a:prstClr val="black"/>
              </a:solidFill>
              <a:latin typeface="montserrat"/>
              <a:ea typeface="Kozuka Gothic Pro L" panose="020B0200000000000000" pitchFamily="34" charset="-128"/>
            </a:endParaRPr>
          </a:p>
        </p:txBody>
      </p:sp>
      <p:sp>
        <p:nvSpPr>
          <p:cNvPr id="10" name="TextBox 9"/>
          <p:cNvSpPr txBox="1"/>
          <p:nvPr/>
        </p:nvSpPr>
        <p:spPr>
          <a:xfrm>
            <a:off x="6550562" y="4646791"/>
            <a:ext cx="2181224" cy="1708160"/>
          </a:xfrm>
          <a:prstGeom prst="rect">
            <a:avLst/>
          </a:prstGeom>
          <a:noFill/>
        </p:spPr>
        <p:txBody>
          <a:bodyPr wrap="square" rtlCol="0">
            <a:spAutoFit/>
          </a:bodyPr>
          <a:lstStyle/>
          <a:p>
            <a:pPr defTabSz="685800">
              <a:lnSpc>
                <a:spcPct val="150000"/>
              </a:lnSpc>
            </a:pPr>
            <a:r>
              <a:rPr lang="en-US" sz="1000" dirty="0" smtClean="0">
                <a:solidFill>
                  <a:prstClr val="black">
                    <a:lumMod val="65000"/>
                    <a:lumOff val="35000"/>
                  </a:prstClr>
                </a:solidFill>
                <a:ea typeface="Open Sans Light" panose="020B0306030504020204" pitchFamily="34" charset="0"/>
                <a:cs typeface="Open Sans Light" panose="020B0306030504020204" pitchFamily="34" charset="0"/>
              </a:rPr>
              <a:t>Global information and early warning system (GIEWS) and Famine Early Warning Systems Network covering  east, west, and south Africa</a:t>
            </a:r>
          </a:p>
          <a:p>
            <a:pPr defTabSz="685800">
              <a:lnSpc>
                <a:spcPct val="150000"/>
              </a:lnSpc>
            </a:pPr>
            <a:r>
              <a:rPr lang="en-US" sz="1000" b="1" dirty="0" smtClean="0">
                <a:solidFill>
                  <a:srgbClr val="FF0000"/>
                </a:solidFill>
                <a:ea typeface="Open Sans Light" panose="020B0306030504020204" pitchFamily="34" charset="0"/>
                <a:cs typeface="Open Sans Light" panose="020B0306030504020204" pitchFamily="34" charset="0"/>
              </a:rPr>
              <a:t>GOAL is and Early Warning Dashboard of indicators</a:t>
            </a:r>
            <a:endParaRPr lang="id-ID" sz="1000" b="1" dirty="0">
              <a:solidFill>
                <a:srgbClr val="FF0000"/>
              </a:solidFill>
              <a:ea typeface="Open Sans Light" panose="020B0306030504020204" pitchFamily="34" charset="0"/>
              <a:cs typeface="Open Sans Light" panose="020B0306030504020204" pitchFamily="34" charset="0"/>
            </a:endParaRPr>
          </a:p>
        </p:txBody>
      </p:sp>
      <p:cxnSp>
        <p:nvCxnSpPr>
          <p:cNvPr id="11" name="Straight Connector 10"/>
          <p:cNvCxnSpPr/>
          <p:nvPr/>
        </p:nvCxnSpPr>
        <p:spPr>
          <a:xfrm>
            <a:off x="5769094" y="4498634"/>
            <a:ext cx="752920" cy="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6550562" y="1208585"/>
            <a:ext cx="1908000" cy="307777"/>
          </a:xfrm>
          <a:prstGeom prst="rect">
            <a:avLst/>
          </a:prstGeom>
          <a:noFill/>
        </p:spPr>
        <p:txBody>
          <a:bodyPr wrap="square" rtlCol="0">
            <a:spAutoFit/>
          </a:bodyPr>
          <a:lstStyle/>
          <a:p>
            <a:pPr defTabSz="685800"/>
            <a:r>
              <a:rPr lang="en-US" sz="1400" dirty="0" smtClean="0">
                <a:solidFill>
                  <a:prstClr val="black"/>
                </a:solidFill>
                <a:latin typeface="montserrat"/>
                <a:ea typeface="Kozuka Gothic Pro L" panose="020B0200000000000000" pitchFamily="34" charset="-128"/>
              </a:rPr>
              <a:t>Volatility warning</a:t>
            </a:r>
            <a:endParaRPr lang="id-ID" sz="1400" dirty="0">
              <a:solidFill>
                <a:prstClr val="black"/>
              </a:solidFill>
              <a:latin typeface="montserrat"/>
              <a:ea typeface="Kozuka Gothic Pro L" panose="020B0200000000000000" pitchFamily="34" charset="-128"/>
            </a:endParaRPr>
          </a:p>
        </p:txBody>
      </p:sp>
      <p:sp>
        <p:nvSpPr>
          <p:cNvPr id="17" name="TextBox 16"/>
          <p:cNvSpPr txBox="1"/>
          <p:nvPr/>
        </p:nvSpPr>
        <p:spPr>
          <a:xfrm>
            <a:off x="6550562" y="1592577"/>
            <a:ext cx="2332180" cy="1015663"/>
          </a:xfrm>
          <a:prstGeom prst="rect">
            <a:avLst/>
          </a:prstGeom>
          <a:noFill/>
        </p:spPr>
        <p:txBody>
          <a:bodyPr wrap="square" rtlCol="0">
            <a:spAutoFit/>
          </a:bodyPr>
          <a:lstStyle/>
          <a:p>
            <a:pPr defTabSz="685800">
              <a:lnSpc>
                <a:spcPct val="150000"/>
              </a:lnSpc>
            </a:pPr>
            <a:r>
              <a:rPr lang="en-US" sz="1000" dirty="0" smtClean="0">
                <a:solidFill>
                  <a:prstClr val="black">
                    <a:lumMod val="65000"/>
                    <a:lumOff val="35000"/>
                  </a:prstClr>
                </a:solidFill>
                <a:ea typeface="Open Sans Light" panose="020B0306030504020204" pitchFamily="34" charset="0"/>
                <a:cs typeface="Open Sans Light" panose="020B0306030504020204" pitchFamily="34" charset="0"/>
              </a:rPr>
              <a:t>Visual </a:t>
            </a:r>
            <a:r>
              <a:rPr lang="en-US" sz="1000" dirty="0">
                <a:solidFill>
                  <a:prstClr val="black">
                    <a:lumMod val="65000"/>
                    <a:lumOff val="35000"/>
                  </a:prstClr>
                </a:solidFill>
                <a:ea typeface="Open Sans Light" panose="020B0306030504020204" pitchFamily="34" charset="0"/>
                <a:cs typeface="Open Sans Light" panose="020B0306030504020204" pitchFamily="34" charset="0"/>
              </a:rPr>
              <a:t>representation of historical periods of excessive global price volatility from 2000-present, as well as a daily volatility </a:t>
            </a:r>
            <a:r>
              <a:rPr lang="en-US" sz="1000" dirty="0" smtClean="0">
                <a:solidFill>
                  <a:prstClr val="black">
                    <a:lumMod val="65000"/>
                    <a:lumOff val="35000"/>
                  </a:prstClr>
                </a:solidFill>
                <a:ea typeface="Open Sans Light" panose="020B0306030504020204" pitchFamily="34" charset="0"/>
                <a:cs typeface="Open Sans Light" panose="020B0306030504020204" pitchFamily="34" charset="0"/>
              </a:rPr>
              <a:t>status</a:t>
            </a:r>
            <a:r>
              <a:rPr lang="id-ID" sz="1000" dirty="0" smtClean="0">
                <a:solidFill>
                  <a:prstClr val="black">
                    <a:lumMod val="65000"/>
                    <a:lumOff val="35000"/>
                  </a:prstClr>
                </a:solidFill>
                <a:ea typeface="Open Sans Light" panose="020B0306030504020204" pitchFamily="34" charset="0"/>
                <a:cs typeface="Open Sans Light" panose="020B0306030504020204" pitchFamily="34" charset="0"/>
              </a:rPr>
              <a:t>. </a:t>
            </a:r>
            <a:endParaRPr lang="en-US" sz="1000" dirty="0">
              <a:solidFill>
                <a:prstClr val="black">
                  <a:lumMod val="65000"/>
                  <a:lumOff val="35000"/>
                </a:prstClr>
              </a:solidFill>
              <a:ea typeface="Open Sans Light" panose="020B0306030504020204" pitchFamily="34" charset="0"/>
              <a:cs typeface="Open Sans Light" panose="020B0306030504020204" pitchFamily="34" charset="0"/>
            </a:endParaRPr>
          </a:p>
        </p:txBody>
      </p:sp>
      <p:cxnSp>
        <p:nvCxnSpPr>
          <p:cNvPr id="18" name="Straight Connector 17"/>
          <p:cNvCxnSpPr/>
          <p:nvPr/>
        </p:nvCxnSpPr>
        <p:spPr>
          <a:xfrm>
            <a:off x="5769095" y="1581959"/>
            <a:ext cx="1193653"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Freeform 22"/>
          <p:cNvSpPr/>
          <p:nvPr/>
        </p:nvSpPr>
        <p:spPr>
          <a:xfrm>
            <a:off x="84499" y="457200"/>
            <a:ext cx="5684595" cy="6858000"/>
          </a:xfrm>
          <a:custGeom>
            <a:avLst/>
            <a:gdLst>
              <a:gd name="connsiteX0" fmla="*/ 0 w 4048125"/>
              <a:gd name="connsiteY0" fmla="*/ 0 h 5143500"/>
              <a:gd name="connsiteX1" fmla="*/ 2847975 w 4048125"/>
              <a:gd name="connsiteY1" fmla="*/ 0 h 5143500"/>
              <a:gd name="connsiteX2" fmla="*/ 3038475 w 4048125"/>
              <a:gd name="connsiteY2" fmla="*/ 0 h 5143500"/>
              <a:gd name="connsiteX3" fmla="*/ 3448050 w 4048125"/>
              <a:gd name="connsiteY3" fmla="*/ 0 h 5143500"/>
              <a:gd name="connsiteX4" fmla="*/ 4048125 w 4048125"/>
              <a:gd name="connsiteY4" fmla="*/ 2571750 h 5143500"/>
              <a:gd name="connsiteX5" fmla="*/ 3448050 w 4048125"/>
              <a:gd name="connsiteY5" fmla="*/ 5143500 h 5143500"/>
              <a:gd name="connsiteX6" fmla="*/ 3038475 w 4048125"/>
              <a:gd name="connsiteY6" fmla="*/ 5143500 h 5143500"/>
              <a:gd name="connsiteX7" fmla="*/ 2847975 w 4048125"/>
              <a:gd name="connsiteY7" fmla="*/ 5143500 h 5143500"/>
              <a:gd name="connsiteX8" fmla="*/ 0 w 4048125"/>
              <a:gd name="connsiteY8" fmla="*/ 5143500 h 5143500"/>
              <a:gd name="connsiteX0" fmla="*/ 0 w 4048125"/>
              <a:gd name="connsiteY0" fmla="*/ 7620 h 5151120"/>
              <a:gd name="connsiteX1" fmla="*/ 2847975 w 4048125"/>
              <a:gd name="connsiteY1" fmla="*/ 7620 h 5151120"/>
              <a:gd name="connsiteX2" fmla="*/ 3038475 w 4048125"/>
              <a:gd name="connsiteY2" fmla="*/ 7620 h 5151120"/>
              <a:gd name="connsiteX3" fmla="*/ 3836613 w 4048125"/>
              <a:gd name="connsiteY3" fmla="*/ 0 h 5151120"/>
              <a:gd name="connsiteX4" fmla="*/ 4048125 w 4048125"/>
              <a:gd name="connsiteY4" fmla="*/ 2579370 h 5151120"/>
              <a:gd name="connsiteX5" fmla="*/ 3448050 w 4048125"/>
              <a:gd name="connsiteY5" fmla="*/ 5151120 h 5151120"/>
              <a:gd name="connsiteX6" fmla="*/ 3038475 w 4048125"/>
              <a:gd name="connsiteY6" fmla="*/ 5151120 h 5151120"/>
              <a:gd name="connsiteX7" fmla="*/ 2847975 w 4048125"/>
              <a:gd name="connsiteY7" fmla="*/ 5151120 h 5151120"/>
              <a:gd name="connsiteX8" fmla="*/ 0 w 4048125"/>
              <a:gd name="connsiteY8" fmla="*/ 5151120 h 5151120"/>
              <a:gd name="connsiteX9" fmla="*/ 0 w 4048125"/>
              <a:gd name="connsiteY9" fmla="*/ 7620 h 5151120"/>
              <a:gd name="connsiteX0" fmla="*/ 0 w 4048125"/>
              <a:gd name="connsiteY0" fmla="*/ 7620 h 5166360"/>
              <a:gd name="connsiteX1" fmla="*/ 2847975 w 4048125"/>
              <a:gd name="connsiteY1" fmla="*/ 7620 h 5166360"/>
              <a:gd name="connsiteX2" fmla="*/ 3038475 w 4048125"/>
              <a:gd name="connsiteY2" fmla="*/ 7620 h 5166360"/>
              <a:gd name="connsiteX3" fmla="*/ 3836613 w 4048125"/>
              <a:gd name="connsiteY3" fmla="*/ 0 h 5166360"/>
              <a:gd name="connsiteX4" fmla="*/ 4048125 w 4048125"/>
              <a:gd name="connsiteY4" fmla="*/ 2579370 h 5166360"/>
              <a:gd name="connsiteX5" fmla="*/ 3829549 w 4048125"/>
              <a:gd name="connsiteY5" fmla="*/ 5166360 h 5166360"/>
              <a:gd name="connsiteX6" fmla="*/ 3038475 w 4048125"/>
              <a:gd name="connsiteY6" fmla="*/ 5151120 h 5166360"/>
              <a:gd name="connsiteX7" fmla="*/ 2847975 w 4048125"/>
              <a:gd name="connsiteY7" fmla="*/ 5151120 h 5166360"/>
              <a:gd name="connsiteX8" fmla="*/ 0 w 4048125"/>
              <a:gd name="connsiteY8" fmla="*/ 5151120 h 5166360"/>
              <a:gd name="connsiteX9" fmla="*/ 0 w 4048125"/>
              <a:gd name="connsiteY9" fmla="*/ 7620 h 516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48125" h="5166360">
                <a:moveTo>
                  <a:pt x="0" y="7620"/>
                </a:moveTo>
                <a:lnTo>
                  <a:pt x="2847975" y="7620"/>
                </a:lnTo>
                <a:lnTo>
                  <a:pt x="3038475" y="7620"/>
                </a:lnTo>
                <a:lnTo>
                  <a:pt x="3836613" y="0"/>
                </a:lnTo>
                <a:lnTo>
                  <a:pt x="4048125" y="2579370"/>
                </a:lnTo>
                <a:lnTo>
                  <a:pt x="3829549" y="5166360"/>
                </a:lnTo>
                <a:lnTo>
                  <a:pt x="3038475" y="5151120"/>
                </a:lnTo>
                <a:lnTo>
                  <a:pt x="2847975" y="5151120"/>
                </a:lnTo>
                <a:lnTo>
                  <a:pt x="0" y="5151120"/>
                </a:lnTo>
                <a:lnTo>
                  <a:pt x="0" y="762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id-ID" sz="1350">
              <a:solidFill>
                <a:prstClr val="white"/>
              </a:solidFill>
            </a:endParaRPr>
          </a:p>
        </p:txBody>
      </p:sp>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l="15102" r="11429" b="58792"/>
          <a:stretch/>
        </p:blipFill>
        <p:spPr>
          <a:xfrm>
            <a:off x="85480" y="115652"/>
            <a:ext cx="6487295" cy="5846581"/>
          </a:xfrm>
          <a:prstGeom prst="rect">
            <a:avLst/>
          </a:prstGeom>
        </p:spPr>
      </p:pic>
      <p:sp>
        <p:nvSpPr>
          <p:cNvPr id="15" name="Rectangle 14"/>
          <p:cNvSpPr/>
          <p:nvPr/>
        </p:nvSpPr>
        <p:spPr>
          <a:xfrm>
            <a:off x="0" y="1388073"/>
            <a:ext cx="1091158" cy="4618781"/>
          </a:xfrm>
          <a:prstGeom prst="rect">
            <a:avLst/>
          </a:prstGeom>
          <a:noFill/>
          <a:ln w="76200">
            <a:solidFill>
              <a:srgbClr val="C0392B"/>
            </a:solidFill>
          </a:ln>
        </p:spPr>
        <p:style>
          <a:lnRef idx="0">
            <a:schemeClr val="accent2"/>
          </a:lnRef>
          <a:fillRef idx="3">
            <a:schemeClr val="accent2"/>
          </a:fillRef>
          <a:effectRef idx="3">
            <a:schemeClr val="accent2"/>
          </a:effectRef>
          <a:fontRef idx="minor">
            <a:schemeClr val="lt1"/>
          </a:fontRef>
        </p:style>
        <p:txBody>
          <a:bodyPr rtlCol="0" anchor="ctr"/>
          <a:lstStyle/>
          <a:p>
            <a:pPr algn="ctr" defTabSz="685800"/>
            <a:endParaRPr lang="en-US" sz="1350">
              <a:solidFill>
                <a:prstClr val="white"/>
              </a:solidFill>
            </a:endParaRPr>
          </a:p>
        </p:txBody>
      </p:sp>
    </p:spTree>
    <p:extLst>
      <p:ext uri="{BB962C8B-B14F-4D97-AF65-F5344CB8AC3E}">
        <p14:creationId xmlns:p14="http://schemas.microsoft.com/office/powerpoint/2010/main" val="852021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fade">
                                      <p:cBhvr>
                                        <p:cTn id="14" dur="500"/>
                                        <p:tgtEl>
                                          <p:spTgt spid="16"/>
                                        </p:tgtEl>
                                      </p:cBhvr>
                                    </p:animEffect>
                                  </p:childTnLst>
                                </p:cTn>
                              </p:par>
                            </p:childTnLst>
                          </p:cTn>
                        </p:par>
                        <p:par>
                          <p:cTn id="15" fill="hold">
                            <p:stCondLst>
                              <p:cond delay="1000"/>
                            </p:stCondLst>
                            <p:childTnLst>
                              <p:par>
                                <p:cTn id="16" presetID="22" presetClass="entr" presetSubtype="8" fill="hold" nodeType="after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wipe(left)">
                                      <p:cBhvr>
                                        <p:cTn id="18" dur="500"/>
                                        <p:tgtEl>
                                          <p:spTgt spid="18"/>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500"/>
                                        <p:tgtEl>
                                          <p:spTgt spid="6"/>
                                        </p:tgtEl>
                                      </p:cBhvr>
                                    </p:animEffect>
                                  </p:childTnLst>
                                </p:cTn>
                              </p:par>
                            </p:childTnLst>
                          </p:cTn>
                        </p:par>
                        <p:par>
                          <p:cTn id="27" fill="hold">
                            <p:stCondLst>
                              <p:cond delay="2500"/>
                            </p:stCondLst>
                            <p:childTnLst>
                              <p:par>
                                <p:cTn id="28" presetID="22" presetClass="entr" presetSubtype="8" fill="hold" nodeType="afterEffect">
                                  <p:stCondLst>
                                    <p:cond delay="0"/>
                                  </p:stCondLst>
                                  <p:childTnLst>
                                    <p:set>
                                      <p:cBhvr>
                                        <p:cTn id="29" dur="1" fill="hold">
                                          <p:stCondLst>
                                            <p:cond delay="0"/>
                                          </p:stCondLst>
                                        </p:cTn>
                                        <p:tgtEl>
                                          <p:spTgt spid="8"/>
                                        </p:tgtEl>
                                        <p:attrNameLst>
                                          <p:attrName>style.visibility</p:attrName>
                                        </p:attrNameLst>
                                      </p:cBhvr>
                                      <p:to>
                                        <p:strVal val="visible"/>
                                      </p:to>
                                    </p:set>
                                    <p:animEffect transition="in" filter="wipe(left)">
                                      <p:cBhvr>
                                        <p:cTn id="30" dur="500"/>
                                        <p:tgtEl>
                                          <p:spTgt spid="8"/>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7"/>
                                        </p:tgtEl>
                                        <p:attrNameLst>
                                          <p:attrName>style.visibility</p:attrName>
                                        </p:attrNameLst>
                                      </p:cBhvr>
                                      <p:to>
                                        <p:strVal val="visible"/>
                                      </p:to>
                                    </p:set>
                                    <p:animEffect transition="in" filter="fade">
                                      <p:cBhvr>
                                        <p:cTn id="34" dur="500"/>
                                        <p:tgtEl>
                                          <p:spTgt spid="7"/>
                                        </p:tgtEl>
                                      </p:cBhvr>
                                    </p:animEffect>
                                  </p:childTnLst>
                                </p:cTn>
                              </p:par>
                            </p:childTnLst>
                          </p:cTn>
                        </p:par>
                        <p:par>
                          <p:cTn id="35" fill="hold">
                            <p:stCondLst>
                              <p:cond delay="3500"/>
                            </p:stCondLst>
                            <p:childTnLst>
                              <p:par>
                                <p:cTn id="36" presetID="10" presetClass="entr" presetSubtype="0" fill="hold" grpId="0" nodeType="after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childTnLst>
                                </p:cTn>
                              </p:par>
                            </p:childTnLst>
                          </p:cTn>
                        </p:par>
                        <p:par>
                          <p:cTn id="39" fill="hold">
                            <p:stCondLst>
                              <p:cond delay="4000"/>
                            </p:stCondLst>
                            <p:childTnLst>
                              <p:par>
                                <p:cTn id="40" presetID="22" presetClass="entr" presetSubtype="8" fill="hold" nodeType="afterEffect">
                                  <p:stCondLst>
                                    <p:cond delay="0"/>
                                  </p:stCondLst>
                                  <p:childTnLst>
                                    <p:set>
                                      <p:cBhvr>
                                        <p:cTn id="41" dur="1" fill="hold">
                                          <p:stCondLst>
                                            <p:cond delay="0"/>
                                          </p:stCondLst>
                                        </p:cTn>
                                        <p:tgtEl>
                                          <p:spTgt spid="11"/>
                                        </p:tgtEl>
                                        <p:attrNameLst>
                                          <p:attrName>style.visibility</p:attrName>
                                        </p:attrNameLst>
                                      </p:cBhvr>
                                      <p:to>
                                        <p:strVal val="visible"/>
                                      </p:to>
                                    </p:set>
                                    <p:animEffect transition="in" filter="wipe(left)">
                                      <p:cBhvr>
                                        <p:cTn id="42" dur="500"/>
                                        <p:tgtEl>
                                          <p:spTgt spid="11"/>
                                        </p:tgtEl>
                                      </p:cBhvr>
                                    </p:animEffect>
                                  </p:childTnLst>
                                </p:cTn>
                              </p:par>
                            </p:childTnLst>
                          </p:cTn>
                        </p:par>
                        <p:par>
                          <p:cTn id="43" fill="hold">
                            <p:stCondLst>
                              <p:cond delay="4500"/>
                            </p:stCondLst>
                            <p:childTnLst>
                              <p:par>
                                <p:cTn id="44" presetID="10" presetClass="entr" presetSubtype="0" fill="hold" grpId="0" nodeType="afterEffect">
                                  <p:stCondLst>
                                    <p:cond delay="0"/>
                                  </p:stCondLst>
                                  <p:childTnLst>
                                    <p:set>
                                      <p:cBhvr>
                                        <p:cTn id="45" dur="1" fill="hold">
                                          <p:stCondLst>
                                            <p:cond delay="0"/>
                                          </p:stCondLst>
                                        </p:cTn>
                                        <p:tgtEl>
                                          <p:spTgt spid="10"/>
                                        </p:tgtEl>
                                        <p:attrNameLst>
                                          <p:attrName>style.visibility</p:attrName>
                                        </p:attrNameLst>
                                      </p:cBhvr>
                                      <p:to>
                                        <p:strVal val="visible"/>
                                      </p:to>
                                    </p:set>
                                    <p:animEffect transition="in" filter="fade">
                                      <p:cBhvr>
                                        <p:cTn id="46"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9" grpId="0"/>
      <p:bldP spid="10" grpId="0"/>
      <p:bldP spid="16" grpId="0"/>
      <p:bldP spid="17" grpId="0"/>
      <p:bldP spid="23" grpId="0"/>
      <p:bldP spid="15"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273995" y="297837"/>
            <a:ext cx="4123245" cy="523220"/>
          </a:xfrm>
          <a:prstGeom prst="rect">
            <a:avLst/>
          </a:prstGeom>
        </p:spPr>
        <p:txBody>
          <a:bodyPr wrap="none">
            <a:spAutoFit/>
          </a:bodyPr>
          <a:lstStyle/>
          <a:p>
            <a:pPr algn="r" defTabSz="685800"/>
            <a:r>
              <a:rPr lang="en-US" sz="2800" dirty="0">
                <a:solidFill>
                  <a:prstClr val="black"/>
                </a:solidFill>
              </a:rPr>
              <a:t>Themes and </a:t>
            </a:r>
            <a:r>
              <a:rPr lang="en-US" sz="2800" dirty="0" smtClean="0">
                <a:solidFill>
                  <a:prstClr val="black"/>
                </a:solidFill>
              </a:rPr>
              <a:t>Discussion </a:t>
            </a:r>
            <a:endParaRPr lang="id-ID" sz="2800" dirty="0">
              <a:solidFill>
                <a:prstClr val="black"/>
              </a:solidFill>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9120" y="956219"/>
            <a:ext cx="7984618" cy="5477221"/>
          </a:xfrm>
          <a:prstGeom prst="rect">
            <a:avLst/>
          </a:prstGeom>
        </p:spPr>
      </p:pic>
    </p:spTree>
    <p:extLst>
      <p:ext uri="{BB962C8B-B14F-4D97-AF65-F5344CB8AC3E}">
        <p14:creationId xmlns:p14="http://schemas.microsoft.com/office/powerpoint/2010/main" val="1161101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48F63A3B-78C7-47BE-AE5E-E10140E04643}" type="slidenum">
              <a:rPr lang="en-US" smtClean="0">
                <a:solidFill>
                  <a:prstClr val="black">
                    <a:tint val="75000"/>
                  </a:prstClr>
                </a:solidFill>
              </a:rPr>
              <a:pPr/>
              <a:t>49</a:t>
            </a:fld>
            <a:endParaRPr lang="en-US" dirty="0">
              <a:solidFill>
                <a:prstClr val="black">
                  <a:tint val="75000"/>
                </a:prstClr>
              </a:solidFill>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318256"/>
            <a:ext cx="9038095" cy="5038095"/>
          </a:xfrm>
          <a:prstGeom prst="rect">
            <a:avLst/>
          </a:prstGeom>
        </p:spPr>
      </p:pic>
      <p:sp>
        <p:nvSpPr>
          <p:cNvPr id="7" name="Title 1"/>
          <p:cNvSpPr txBox="1">
            <a:spLocks/>
          </p:cNvSpPr>
          <p:nvPr/>
        </p:nvSpPr>
        <p:spPr>
          <a:xfrm>
            <a:off x="4165600" y="323629"/>
            <a:ext cx="7264400" cy="125900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smtClean="0">
                <a:solidFill>
                  <a:prstClr val="black"/>
                </a:solidFill>
              </a:rPr>
              <a:t>Virtual Dialogues</a:t>
            </a:r>
            <a:endParaRPr lang="en-US" sz="3600" b="1" dirty="0">
              <a:solidFill>
                <a:prstClr val="black"/>
              </a:solidFill>
            </a:endParaRPr>
          </a:p>
        </p:txBody>
      </p:sp>
    </p:spTree>
    <p:extLst>
      <p:ext uri="{BB962C8B-B14F-4D97-AF65-F5344CB8AC3E}">
        <p14:creationId xmlns:p14="http://schemas.microsoft.com/office/powerpoint/2010/main" val="186614319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p:cNvSpPr/>
          <p:nvPr/>
        </p:nvSpPr>
        <p:spPr>
          <a:xfrm>
            <a:off x="717642" y="315183"/>
            <a:ext cx="5138958" cy="646331"/>
          </a:xfrm>
          <a:prstGeom prst="rect">
            <a:avLst/>
          </a:prstGeom>
        </p:spPr>
        <p:txBody>
          <a:bodyPr wrap="square">
            <a:spAutoFit/>
          </a:bodyPr>
          <a:lstStyle/>
          <a:p>
            <a:r>
              <a:rPr lang="en-US" sz="3600" dirty="0" smtClean="0">
                <a:cs typeface="Arial" panose="020B0604020202020204" pitchFamily="34" charset="0"/>
              </a:rPr>
              <a:t>WATER STRESS RISK</a:t>
            </a:r>
            <a:endParaRPr lang="en-US" sz="3600" dirty="0">
              <a:cs typeface="Arial" panose="020B0604020202020204" pitchFamily="34" charset="0"/>
            </a:endParaRPr>
          </a:p>
        </p:txBody>
      </p:sp>
      <p:grpSp>
        <p:nvGrpSpPr>
          <p:cNvPr id="3" name="Group 2"/>
          <p:cNvGrpSpPr/>
          <p:nvPr/>
        </p:nvGrpSpPr>
        <p:grpSpPr>
          <a:xfrm>
            <a:off x="266946" y="3264909"/>
            <a:ext cx="4355012" cy="3491822"/>
            <a:chOff x="266946" y="3264909"/>
            <a:chExt cx="4355012" cy="3491822"/>
          </a:xfrm>
        </p:grpSpPr>
        <p:sp>
          <p:nvSpPr>
            <p:cNvPr id="84" name="Rectangle 83"/>
            <p:cNvSpPr/>
            <p:nvPr/>
          </p:nvSpPr>
          <p:spPr>
            <a:xfrm>
              <a:off x="266946" y="5329927"/>
              <a:ext cx="2734437" cy="492902"/>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5"/>
                </a:solidFill>
              </a:endParaRPr>
            </a:p>
          </p:txBody>
        </p:sp>
        <p:sp>
          <p:nvSpPr>
            <p:cNvPr id="85" name="Rectangle 84"/>
            <p:cNvSpPr/>
            <p:nvPr/>
          </p:nvSpPr>
          <p:spPr>
            <a:xfrm>
              <a:off x="277608" y="4622014"/>
              <a:ext cx="2732175" cy="64885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p:cNvSpPr/>
            <p:nvPr/>
          </p:nvSpPr>
          <p:spPr>
            <a:xfrm>
              <a:off x="277609" y="4107606"/>
              <a:ext cx="2732174" cy="49210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p:cNvSpPr/>
            <p:nvPr/>
          </p:nvSpPr>
          <p:spPr>
            <a:xfrm>
              <a:off x="266990" y="5866438"/>
              <a:ext cx="2732131" cy="673876"/>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89" name="Freeform 49"/>
            <p:cNvSpPr>
              <a:spLocks noChangeAspect="1"/>
            </p:cNvSpPr>
            <p:nvPr>
              <p:custDataLst>
                <p:tags r:id="rId11"/>
              </p:custDataLst>
            </p:nvPr>
          </p:nvSpPr>
          <p:spPr bwMode="gray">
            <a:xfrm flipH="1">
              <a:off x="429815" y="4712606"/>
              <a:ext cx="189005" cy="491368"/>
            </a:xfrm>
            <a:custGeom>
              <a:avLst/>
              <a:gdLst>
                <a:gd name="T0" fmla="*/ 326 w 364"/>
                <a:gd name="T1" fmla="*/ 232 h 1186"/>
                <a:gd name="T2" fmla="*/ 306 w 364"/>
                <a:gd name="T3" fmla="*/ 210 h 1186"/>
                <a:gd name="T4" fmla="*/ 246 w 364"/>
                <a:gd name="T5" fmla="*/ 186 h 1186"/>
                <a:gd name="T6" fmla="*/ 224 w 364"/>
                <a:gd name="T7" fmla="*/ 162 h 1186"/>
                <a:gd name="T8" fmla="*/ 218 w 364"/>
                <a:gd name="T9" fmla="*/ 140 h 1186"/>
                <a:gd name="T10" fmla="*/ 238 w 364"/>
                <a:gd name="T11" fmla="*/ 102 h 1186"/>
                <a:gd name="T12" fmla="*/ 236 w 364"/>
                <a:gd name="T13" fmla="*/ 76 h 1186"/>
                <a:gd name="T14" fmla="*/ 230 w 364"/>
                <a:gd name="T15" fmla="*/ 32 h 1186"/>
                <a:gd name="T16" fmla="*/ 192 w 364"/>
                <a:gd name="T17" fmla="*/ 0 h 1186"/>
                <a:gd name="T18" fmla="*/ 136 w 364"/>
                <a:gd name="T19" fmla="*/ 14 h 1186"/>
                <a:gd name="T20" fmla="*/ 118 w 364"/>
                <a:gd name="T21" fmla="*/ 44 h 1186"/>
                <a:gd name="T22" fmla="*/ 118 w 364"/>
                <a:gd name="T23" fmla="*/ 84 h 1186"/>
                <a:gd name="T24" fmla="*/ 130 w 364"/>
                <a:gd name="T25" fmla="*/ 126 h 1186"/>
                <a:gd name="T26" fmla="*/ 136 w 364"/>
                <a:gd name="T27" fmla="*/ 136 h 1186"/>
                <a:gd name="T28" fmla="*/ 134 w 364"/>
                <a:gd name="T29" fmla="*/ 168 h 1186"/>
                <a:gd name="T30" fmla="*/ 90 w 364"/>
                <a:gd name="T31" fmla="*/ 198 h 1186"/>
                <a:gd name="T32" fmla="*/ 46 w 364"/>
                <a:gd name="T33" fmla="*/ 216 h 1186"/>
                <a:gd name="T34" fmla="*/ 32 w 364"/>
                <a:gd name="T35" fmla="*/ 274 h 1186"/>
                <a:gd name="T36" fmla="*/ 18 w 364"/>
                <a:gd name="T37" fmla="*/ 448 h 1186"/>
                <a:gd name="T38" fmla="*/ 6 w 364"/>
                <a:gd name="T39" fmla="*/ 566 h 1186"/>
                <a:gd name="T40" fmla="*/ 12 w 364"/>
                <a:gd name="T41" fmla="*/ 598 h 1186"/>
                <a:gd name="T42" fmla="*/ 0 w 364"/>
                <a:gd name="T43" fmla="*/ 638 h 1186"/>
                <a:gd name="T44" fmla="*/ 26 w 364"/>
                <a:gd name="T45" fmla="*/ 676 h 1186"/>
                <a:gd name="T46" fmla="*/ 42 w 364"/>
                <a:gd name="T47" fmla="*/ 674 h 1186"/>
                <a:gd name="T48" fmla="*/ 34 w 364"/>
                <a:gd name="T49" fmla="*/ 654 h 1186"/>
                <a:gd name="T50" fmla="*/ 38 w 364"/>
                <a:gd name="T51" fmla="*/ 628 h 1186"/>
                <a:gd name="T52" fmla="*/ 38 w 364"/>
                <a:gd name="T53" fmla="*/ 608 h 1186"/>
                <a:gd name="T54" fmla="*/ 48 w 364"/>
                <a:gd name="T55" fmla="*/ 602 h 1186"/>
                <a:gd name="T56" fmla="*/ 58 w 364"/>
                <a:gd name="T57" fmla="*/ 534 h 1186"/>
                <a:gd name="T58" fmla="*/ 56 w 364"/>
                <a:gd name="T59" fmla="*/ 586 h 1186"/>
                <a:gd name="T60" fmla="*/ 62 w 364"/>
                <a:gd name="T61" fmla="*/ 644 h 1186"/>
                <a:gd name="T62" fmla="*/ 78 w 364"/>
                <a:gd name="T63" fmla="*/ 876 h 1186"/>
                <a:gd name="T64" fmla="*/ 74 w 364"/>
                <a:gd name="T65" fmla="*/ 1044 h 1186"/>
                <a:gd name="T66" fmla="*/ 84 w 364"/>
                <a:gd name="T67" fmla="*/ 1124 h 1186"/>
                <a:gd name="T68" fmla="*/ 56 w 364"/>
                <a:gd name="T69" fmla="*/ 1162 h 1186"/>
                <a:gd name="T70" fmla="*/ 60 w 364"/>
                <a:gd name="T71" fmla="*/ 1176 h 1186"/>
                <a:gd name="T72" fmla="*/ 118 w 364"/>
                <a:gd name="T73" fmla="*/ 1168 h 1186"/>
                <a:gd name="T74" fmla="*/ 152 w 364"/>
                <a:gd name="T75" fmla="*/ 1156 h 1186"/>
                <a:gd name="T76" fmla="*/ 150 w 364"/>
                <a:gd name="T77" fmla="*/ 1130 h 1186"/>
                <a:gd name="T78" fmla="*/ 156 w 364"/>
                <a:gd name="T79" fmla="*/ 1052 h 1186"/>
                <a:gd name="T80" fmla="*/ 164 w 364"/>
                <a:gd name="T81" fmla="*/ 868 h 1186"/>
                <a:gd name="T82" fmla="*/ 178 w 364"/>
                <a:gd name="T83" fmla="*/ 666 h 1186"/>
                <a:gd name="T84" fmla="*/ 190 w 364"/>
                <a:gd name="T85" fmla="*/ 714 h 1186"/>
                <a:gd name="T86" fmla="*/ 204 w 364"/>
                <a:gd name="T87" fmla="*/ 878 h 1186"/>
                <a:gd name="T88" fmla="*/ 206 w 364"/>
                <a:gd name="T89" fmla="*/ 1040 h 1186"/>
                <a:gd name="T90" fmla="*/ 214 w 364"/>
                <a:gd name="T91" fmla="*/ 1126 h 1186"/>
                <a:gd name="T92" fmla="*/ 220 w 364"/>
                <a:gd name="T93" fmla="*/ 1154 h 1186"/>
                <a:gd name="T94" fmla="*/ 252 w 364"/>
                <a:gd name="T95" fmla="*/ 1186 h 1186"/>
                <a:gd name="T96" fmla="*/ 292 w 364"/>
                <a:gd name="T97" fmla="*/ 1176 h 1186"/>
                <a:gd name="T98" fmla="*/ 274 w 364"/>
                <a:gd name="T99" fmla="*/ 1142 h 1186"/>
                <a:gd name="T100" fmla="*/ 284 w 364"/>
                <a:gd name="T101" fmla="*/ 1130 h 1186"/>
                <a:gd name="T102" fmla="*/ 286 w 364"/>
                <a:gd name="T103" fmla="*/ 936 h 1186"/>
                <a:gd name="T104" fmla="*/ 286 w 364"/>
                <a:gd name="T105" fmla="*/ 780 h 1186"/>
                <a:gd name="T106" fmla="*/ 290 w 364"/>
                <a:gd name="T107" fmla="*/ 602 h 1186"/>
                <a:gd name="T108" fmla="*/ 330 w 364"/>
                <a:gd name="T109" fmla="*/ 564 h 1186"/>
                <a:gd name="T110" fmla="*/ 334 w 364"/>
                <a:gd name="T111" fmla="*/ 530 h 1186"/>
                <a:gd name="T112" fmla="*/ 346 w 364"/>
                <a:gd name="T113" fmla="*/ 526 h 1186"/>
                <a:gd name="T114" fmla="*/ 356 w 364"/>
                <a:gd name="T115" fmla="*/ 492 h 1186"/>
                <a:gd name="T116" fmla="*/ 362 w 364"/>
                <a:gd name="T117" fmla="*/ 382 h 118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4"/>
                <a:gd name="T178" fmla="*/ 0 h 1186"/>
                <a:gd name="T179" fmla="*/ 364 w 364"/>
                <a:gd name="T180" fmla="*/ 1186 h 118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4" h="1186">
                  <a:moveTo>
                    <a:pt x="350" y="338"/>
                  </a:moveTo>
                  <a:lnTo>
                    <a:pt x="350" y="338"/>
                  </a:lnTo>
                  <a:lnTo>
                    <a:pt x="342" y="314"/>
                  </a:lnTo>
                  <a:lnTo>
                    <a:pt x="336" y="286"/>
                  </a:lnTo>
                  <a:lnTo>
                    <a:pt x="326" y="232"/>
                  </a:lnTo>
                  <a:lnTo>
                    <a:pt x="322" y="224"/>
                  </a:lnTo>
                  <a:lnTo>
                    <a:pt x="318" y="216"/>
                  </a:lnTo>
                  <a:lnTo>
                    <a:pt x="312" y="212"/>
                  </a:lnTo>
                  <a:lnTo>
                    <a:pt x="306" y="210"/>
                  </a:lnTo>
                  <a:lnTo>
                    <a:pt x="278" y="200"/>
                  </a:lnTo>
                  <a:lnTo>
                    <a:pt x="258" y="192"/>
                  </a:lnTo>
                  <a:lnTo>
                    <a:pt x="246" y="186"/>
                  </a:lnTo>
                  <a:lnTo>
                    <a:pt x="240" y="180"/>
                  </a:lnTo>
                  <a:lnTo>
                    <a:pt x="234" y="174"/>
                  </a:lnTo>
                  <a:lnTo>
                    <a:pt x="230" y="168"/>
                  </a:lnTo>
                  <a:lnTo>
                    <a:pt x="224" y="162"/>
                  </a:lnTo>
                  <a:lnTo>
                    <a:pt x="220" y="158"/>
                  </a:lnTo>
                  <a:lnTo>
                    <a:pt x="216" y="156"/>
                  </a:lnTo>
                  <a:lnTo>
                    <a:pt x="216" y="146"/>
                  </a:lnTo>
                  <a:lnTo>
                    <a:pt x="218" y="140"/>
                  </a:lnTo>
                  <a:lnTo>
                    <a:pt x="222" y="136"/>
                  </a:lnTo>
                  <a:lnTo>
                    <a:pt x="228" y="126"/>
                  </a:lnTo>
                  <a:lnTo>
                    <a:pt x="236" y="110"/>
                  </a:lnTo>
                  <a:lnTo>
                    <a:pt x="238" y="102"/>
                  </a:lnTo>
                  <a:lnTo>
                    <a:pt x="238" y="96"/>
                  </a:lnTo>
                  <a:lnTo>
                    <a:pt x="238" y="90"/>
                  </a:lnTo>
                  <a:lnTo>
                    <a:pt x="234" y="88"/>
                  </a:lnTo>
                  <a:lnTo>
                    <a:pt x="236" y="76"/>
                  </a:lnTo>
                  <a:lnTo>
                    <a:pt x="236" y="68"/>
                  </a:lnTo>
                  <a:lnTo>
                    <a:pt x="236" y="56"/>
                  </a:lnTo>
                  <a:lnTo>
                    <a:pt x="232" y="42"/>
                  </a:lnTo>
                  <a:lnTo>
                    <a:pt x="230" y="32"/>
                  </a:lnTo>
                  <a:lnTo>
                    <a:pt x="226" y="24"/>
                  </a:lnTo>
                  <a:lnTo>
                    <a:pt x="222" y="16"/>
                  </a:lnTo>
                  <a:lnTo>
                    <a:pt x="214" y="10"/>
                  </a:lnTo>
                  <a:lnTo>
                    <a:pt x="204" y="4"/>
                  </a:lnTo>
                  <a:lnTo>
                    <a:pt x="192" y="0"/>
                  </a:lnTo>
                  <a:lnTo>
                    <a:pt x="174" y="0"/>
                  </a:lnTo>
                  <a:lnTo>
                    <a:pt x="158" y="2"/>
                  </a:lnTo>
                  <a:lnTo>
                    <a:pt x="146" y="6"/>
                  </a:lnTo>
                  <a:lnTo>
                    <a:pt x="136" y="14"/>
                  </a:lnTo>
                  <a:lnTo>
                    <a:pt x="128" y="20"/>
                  </a:lnTo>
                  <a:lnTo>
                    <a:pt x="124" y="28"/>
                  </a:lnTo>
                  <a:lnTo>
                    <a:pt x="120" y="36"/>
                  </a:lnTo>
                  <a:lnTo>
                    <a:pt x="118" y="44"/>
                  </a:lnTo>
                  <a:lnTo>
                    <a:pt x="116" y="60"/>
                  </a:lnTo>
                  <a:lnTo>
                    <a:pt x="118" y="72"/>
                  </a:lnTo>
                  <a:lnTo>
                    <a:pt x="120" y="82"/>
                  </a:lnTo>
                  <a:lnTo>
                    <a:pt x="118" y="84"/>
                  </a:lnTo>
                  <a:lnTo>
                    <a:pt x="116" y="92"/>
                  </a:lnTo>
                  <a:lnTo>
                    <a:pt x="116" y="98"/>
                  </a:lnTo>
                  <a:lnTo>
                    <a:pt x="118" y="106"/>
                  </a:lnTo>
                  <a:lnTo>
                    <a:pt x="122" y="116"/>
                  </a:lnTo>
                  <a:lnTo>
                    <a:pt x="130" y="126"/>
                  </a:lnTo>
                  <a:lnTo>
                    <a:pt x="132" y="128"/>
                  </a:lnTo>
                  <a:lnTo>
                    <a:pt x="134" y="130"/>
                  </a:lnTo>
                  <a:lnTo>
                    <a:pt x="136" y="136"/>
                  </a:lnTo>
                  <a:lnTo>
                    <a:pt x="138" y="152"/>
                  </a:lnTo>
                  <a:lnTo>
                    <a:pt x="140" y="158"/>
                  </a:lnTo>
                  <a:lnTo>
                    <a:pt x="138" y="164"/>
                  </a:lnTo>
                  <a:lnTo>
                    <a:pt x="134" y="168"/>
                  </a:lnTo>
                  <a:lnTo>
                    <a:pt x="126" y="174"/>
                  </a:lnTo>
                  <a:lnTo>
                    <a:pt x="112" y="186"/>
                  </a:lnTo>
                  <a:lnTo>
                    <a:pt x="102" y="192"/>
                  </a:lnTo>
                  <a:lnTo>
                    <a:pt x="90" y="198"/>
                  </a:lnTo>
                  <a:lnTo>
                    <a:pt x="70" y="204"/>
                  </a:lnTo>
                  <a:lnTo>
                    <a:pt x="62" y="208"/>
                  </a:lnTo>
                  <a:lnTo>
                    <a:pt x="52" y="212"/>
                  </a:lnTo>
                  <a:lnTo>
                    <a:pt x="46" y="216"/>
                  </a:lnTo>
                  <a:lnTo>
                    <a:pt x="42" y="222"/>
                  </a:lnTo>
                  <a:lnTo>
                    <a:pt x="38" y="228"/>
                  </a:lnTo>
                  <a:lnTo>
                    <a:pt x="36" y="236"/>
                  </a:lnTo>
                  <a:lnTo>
                    <a:pt x="32" y="274"/>
                  </a:lnTo>
                  <a:lnTo>
                    <a:pt x="30" y="302"/>
                  </a:lnTo>
                  <a:lnTo>
                    <a:pt x="24" y="392"/>
                  </a:lnTo>
                  <a:lnTo>
                    <a:pt x="18" y="448"/>
                  </a:lnTo>
                  <a:lnTo>
                    <a:pt x="14" y="482"/>
                  </a:lnTo>
                  <a:lnTo>
                    <a:pt x="10" y="514"/>
                  </a:lnTo>
                  <a:lnTo>
                    <a:pt x="8" y="540"/>
                  </a:lnTo>
                  <a:lnTo>
                    <a:pt x="6" y="566"/>
                  </a:lnTo>
                  <a:lnTo>
                    <a:pt x="4" y="588"/>
                  </a:lnTo>
                  <a:lnTo>
                    <a:pt x="6" y="594"/>
                  </a:lnTo>
                  <a:lnTo>
                    <a:pt x="8" y="598"/>
                  </a:lnTo>
                  <a:lnTo>
                    <a:pt x="12" y="598"/>
                  </a:lnTo>
                  <a:lnTo>
                    <a:pt x="4" y="616"/>
                  </a:lnTo>
                  <a:lnTo>
                    <a:pt x="2" y="626"/>
                  </a:lnTo>
                  <a:lnTo>
                    <a:pt x="0" y="638"/>
                  </a:lnTo>
                  <a:lnTo>
                    <a:pt x="2" y="650"/>
                  </a:lnTo>
                  <a:lnTo>
                    <a:pt x="6" y="660"/>
                  </a:lnTo>
                  <a:lnTo>
                    <a:pt x="14" y="670"/>
                  </a:lnTo>
                  <a:lnTo>
                    <a:pt x="26" y="676"/>
                  </a:lnTo>
                  <a:lnTo>
                    <a:pt x="36" y="680"/>
                  </a:lnTo>
                  <a:lnTo>
                    <a:pt x="40" y="680"/>
                  </a:lnTo>
                  <a:lnTo>
                    <a:pt x="42" y="678"/>
                  </a:lnTo>
                  <a:lnTo>
                    <a:pt x="42" y="674"/>
                  </a:lnTo>
                  <a:lnTo>
                    <a:pt x="38" y="670"/>
                  </a:lnTo>
                  <a:lnTo>
                    <a:pt x="36" y="664"/>
                  </a:lnTo>
                  <a:lnTo>
                    <a:pt x="34" y="660"/>
                  </a:lnTo>
                  <a:lnTo>
                    <a:pt x="34" y="654"/>
                  </a:lnTo>
                  <a:lnTo>
                    <a:pt x="36" y="650"/>
                  </a:lnTo>
                  <a:lnTo>
                    <a:pt x="34" y="644"/>
                  </a:lnTo>
                  <a:lnTo>
                    <a:pt x="34" y="636"/>
                  </a:lnTo>
                  <a:lnTo>
                    <a:pt x="38" y="628"/>
                  </a:lnTo>
                  <a:lnTo>
                    <a:pt x="40" y="622"/>
                  </a:lnTo>
                  <a:lnTo>
                    <a:pt x="38" y="616"/>
                  </a:lnTo>
                  <a:lnTo>
                    <a:pt x="38" y="612"/>
                  </a:lnTo>
                  <a:lnTo>
                    <a:pt x="38" y="608"/>
                  </a:lnTo>
                  <a:lnTo>
                    <a:pt x="40" y="606"/>
                  </a:lnTo>
                  <a:lnTo>
                    <a:pt x="42" y="604"/>
                  </a:lnTo>
                  <a:lnTo>
                    <a:pt x="44" y="604"/>
                  </a:lnTo>
                  <a:lnTo>
                    <a:pt x="48" y="602"/>
                  </a:lnTo>
                  <a:lnTo>
                    <a:pt x="50" y="596"/>
                  </a:lnTo>
                  <a:lnTo>
                    <a:pt x="50" y="594"/>
                  </a:lnTo>
                  <a:lnTo>
                    <a:pt x="58" y="534"/>
                  </a:lnTo>
                  <a:lnTo>
                    <a:pt x="56" y="568"/>
                  </a:lnTo>
                  <a:lnTo>
                    <a:pt x="56" y="578"/>
                  </a:lnTo>
                  <a:lnTo>
                    <a:pt x="56" y="586"/>
                  </a:lnTo>
                  <a:lnTo>
                    <a:pt x="60" y="598"/>
                  </a:lnTo>
                  <a:lnTo>
                    <a:pt x="62" y="612"/>
                  </a:lnTo>
                  <a:lnTo>
                    <a:pt x="62" y="644"/>
                  </a:lnTo>
                  <a:lnTo>
                    <a:pt x="64" y="686"/>
                  </a:lnTo>
                  <a:lnTo>
                    <a:pt x="70" y="758"/>
                  </a:lnTo>
                  <a:lnTo>
                    <a:pt x="76" y="832"/>
                  </a:lnTo>
                  <a:lnTo>
                    <a:pt x="78" y="876"/>
                  </a:lnTo>
                  <a:lnTo>
                    <a:pt x="80" y="948"/>
                  </a:lnTo>
                  <a:lnTo>
                    <a:pt x="80" y="990"/>
                  </a:lnTo>
                  <a:lnTo>
                    <a:pt x="76" y="1022"/>
                  </a:lnTo>
                  <a:lnTo>
                    <a:pt x="74" y="1044"/>
                  </a:lnTo>
                  <a:lnTo>
                    <a:pt x="72" y="1068"/>
                  </a:lnTo>
                  <a:lnTo>
                    <a:pt x="74" y="1088"/>
                  </a:lnTo>
                  <a:lnTo>
                    <a:pt x="76" y="1104"/>
                  </a:lnTo>
                  <a:lnTo>
                    <a:pt x="84" y="1124"/>
                  </a:lnTo>
                  <a:lnTo>
                    <a:pt x="86" y="1130"/>
                  </a:lnTo>
                  <a:lnTo>
                    <a:pt x="84" y="1134"/>
                  </a:lnTo>
                  <a:lnTo>
                    <a:pt x="66" y="1150"/>
                  </a:lnTo>
                  <a:lnTo>
                    <a:pt x="56" y="1162"/>
                  </a:lnTo>
                  <a:lnTo>
                    <a:pt x="54" y="1166"/>
                  </a:lnTo>
                  <a:lnTo>
                    <a:pt x="54" y="1170"/>
                  </a:lnTo>
                  <a:lnTo>
                    <a:pt x="56" y="1174"/>
                  </a:lnTo>
                  <a:lnTo>
                    <a:pt x="60" y="1176"/>
                  </a:lnTo>
                  <a:lnTo>
                    <a:pt x="72" y="1180"/>
                  </a:lnTo>
                  <a:lnTo>
                    <a:pt x="86" y="1180"/>
                  </a:lnTo>
                  <a:lnTo>
                    <a:pt x="102" y="1174"/>
                  </a:lnTo>
                  <a:lnTo>
                    <a:pt x="118" y="1168"/>
                  </a:lnTo>
                  <a:lnTo>
                    <a:pt x="134" y="1164"/>
                  </a:lnTo>
                  <a:lnTo>
                    <a:pt x="146" y="1160"/>
                  </a:lnTo>
                  <a:lnTo>
                    <a:pt x="150" y="1158"/>
                  </a:lnTo>
                  <a:lnTo>
                    <a:pt x="152" y="1156"/>
                  </a:lnTo>
                  <a:lnTo>
                    <a:pt x="152" y="1152"/>
                  </a:lnTo>
                  <a:lnTo>
                    <a:pt x="150" y="1146"/>
                  </a:lnTo>
                  <a:lnTo>
                    <a:pt x="148" y="1138"/>
                  </a:lnTo>
                  <a:lnTo>
                    <a:pt x="150" y="1130"/>
                  </a:lnTo>
                  <a:lnTo>
                    <a:pt x="154" y="1116"/>
                  </a:lnTo>
                  <a:lnTo>
                    <a:pt x="156" y="1106"/>
                  </a:lnTo>
                  <a:lnTo>
                    <a:pt x="156" y="1090"/>
                  </a:lnTo>
                  <a:lnTo>
                    <a:pt x="156" y="1052"/>
                  </a:lnTo>
                  <a:lnTo>
                    <a:pt x="156" y="984"/>
                  </a:lnTo>
                  <a:lnTo>
                    <a:pt x="158" y="920"/>
                  </a:lnTo>
                  <a:lnTo>
                    <a:pt x="162" y="886"/>
                  </a:lnTo>
                  <a:lnTo>
                    <a:pt x="164" y="868"/>
                  </a:lnTo>
                  <a:lnTo>
                    <a:pt x="168" y="840"/>
                  </a:lnTo>
                  <a:lnTo>
                    <a:pt x="174" y="772"/>
                  </a:lnTo>
                  <a:lnTo>
                    <a:pt x="178" y="706"/>
                  </a:lnTo>
                  <a:lnTo>
                    <a:pt x="178" y="666"/>
                  </a:lnTo>
                  <a:lnTo>
                    <a:pt x="178" y="624"/>
                  </a:lnTo>
                  <a:lnTo>
                    <a:pt x="182" y="650"/>
                  </a:lnTo>
                  <a:lnTo>
                    <a:pt x="190" y="714"/>
                  </a:lnTo>
                  <a:lnTo>
                    <a:pt x="194" y="756"/>
                  </a:lnTo>
                  <a:lnTo>
                    <a:pt x="196" y="800"/>
                  </a:lnTo>
                  <a:lnTo>
                    <a:pt x="200" y="840"/>
                  </a:lnTo>
                  <a:lnTo>
                    <a:pt x="204" y="878"/>
                  </a:lnTo>
                  <a:lnTo>
                    <a:pt x="206" y="914"/>
                  </a:lnTo>
                  <a:lnTo>
                    <a:pt x="208" y="954"/>
                  </a:lnTo>
                  <a:lnTo>
                    <a:pt x="206" y="1012"/>
                  </a:lnTo>
                  <a:lnTo>
                    <a:pt x="206" y="1040"/>
                  </a:lnTo>
                  <a:lnTo>
                    <a:pt x="206" y="1078"/>
                  </a:lnTo>
                  <a:lnTo>
                    <a:pt x="208" y="1096"/>
                  </a:lnTo>
                  <a:lnTo>
                    <a:pt x="208" y="1112"/>
                  </a:lnTo>
                  <a:lnTo>
                    <a:pt x="212" y="1124"/>
                  </a:lnTo>
                  <a:lnTo>
                    <a:pt x="214" y="1126"/>
                  </a:lnTo>
                  <a:lnTo>
                    <a:pt x="216" y="1128"/>
                  </a:lnTo>
                  <a:lnTo>
                    <a:pt x="218" y="1142"/>
                  </a:lnTo>
                  <a:lnTo>
                    <a:pt x="220" y="1154"/>
                  </a:lnTo>
                  <a:lnTo>
                    <a:pt x="222" y="1162"/>
                  </a:lnTo>
                  <a:lnTo>
                    <a:pt x="226" y="1172"/>
                  </a:lnTo>
                  <a:lnTo>
                    <a:pt x="234" y="1178"/>
                  </a:lnTo>
                  <a:lnTo>
                    <a:pt x="246" y="1184"/>
                  </a:lnTo>
                  <a:lnTo>
                    <a:pt x="252" y="1186"/>
                  </a:lnTo>
                  <a:lnTo>
                    <a:pt x="262" y="1186"/>
                  </a:lnTo>
                  <a:lnTo>
                    <a:pt x="282" y="1182"/>
                  </a:lnTo>
                  <a:lnTo>
                    <a:pt x="290" y="1178"/>
                  </a:lnTo>
                  <a:lnTo>
                    <a:pt x="292" y="1176"/>
                  </a:lnTo>
                  <a:lnTo>
                    <a:pt x="294" y="1174"/>
                  </a:lnTo>
                  <a:lnTo>
                    <a:pt x="292" y="1168"/>
                  </a:lnTo>
                  <a:lnTo>
                    <a:pt x="288" y="1162"/>
                  </a:lnTo>
                  <a:lnTo>
                    <a:pt x="276" y="1148"/>
                  </a:lnTo>
                  <a:lnTo>
                    <a:pt x="274" y="1142"/>
                  </a:lnTo>
                  <a:lnTo>
                    <a:pt x="274" y="1140"/>
                  </a:lnTo>
                  <a:lnTo>
                    <a:pt x="274" y="1138"/>
                  </a:lnTo>
                  <a:lnTo>
                    <a:pt x="280" y="1132"/>
                  </a:lnTo>
                  <a:lnTo>
                    <a:pt x="284" y="1130"/>
                  </a:lnTo>
                  <a:lnTo>
                    <a:pt x="288" y="1128"/>
                  </a:lnTo>
                  <a:lnTo>
                    <a:pt x="288" y="1122"/>
                  </a:lnTo>
                  <a:lnTo>
                    <a:pt x="286" y="936"/>
                  </a:lnTo>
                  <a:lnTo>
                    <a:pt x="288" y="864"/>
                  </a:lnTo>
                  <a:lnTo>
                    <a:pt x="288" y="834"/>
                  </a:lnTo>
                  <a:lnTo>
                    <a:pt x="286" y="810"/>
                  </a:lnTo>
                  <a:lnTo>
                    <a:pt x="286" y="780"/>
                  </a:lnTo>
                  <a:lnTo>
                    <a:pt x="288" y="738"/>
                  </a:lnTo>
                  <a:lnTo>
                    <a:pt x="290" y="660"/>
                  </a:lnTo>
                  <a:lnTo>
                    <a:pt x="290" y="602"/>
                  </a:lnTo>
                  <a:lnTo>
                    <a:pt x="304" y="598"/>
                  </a:lnTo>
                  <a:lnTo>
                    <a:pt x="314" y="590"/>
                  </a:lnTo>
                  <a:lnTo>
                    <a:pt x="322" y="582"/>
                  </a:lnTo>
                  <a:lnTo>
                    <a:pt x="326" y="572"/>
                  </a:lnTo>
                  <a:lnTo>
                    <a:pt x="330" y="564"/>
                  </a:lnTo>
                  <a:lnTo>
                    <a:pt x="330" y="556"/>
                  </a:lnTo>
                  <a:lnTo>
                    <a:pt x="330" y="544"/>
                  </a:lnTo>
                  <a:lnTo>
                    <a:pt x="332" y="536"/>
                  </a:lnTo>
                  <a:lnTo>
                    <a:pt x="334" y="530"/>
                  </a:lnTo>
                  <a:lnTo>
                    <a:pt x="338" y="526"/>
                  </a:lnTo>
                  <a:lnTo>
                    <a:pt x="340" y="526"/>
                  </a:lnTo>
                  <a:lnTo>
                    <a:pt x="344" y="526"/>
                  </a:lnTo>
                  <a:lnTo>
                    <a:pt x="346" y="526"/>
                  </a:lnTo>
                  <a:lnTo>
                    <a:pt x="348" y="524"/>
                  </a:lnTo>
                  <a:lnTo>
                    <a:pt x="352" y="514"/>
                  </a:lnTo>
                  <a:lnTo>
                    <a:pt x="354" y="502"/>
                  </a:lnTo>
                  <a:lnTo>
                    <a:pt x="356" y="492"/>
                  </a:lnTo>
                  <a:lnTo>
                    <a:pt x="358" y="454"/>
                  </a:lnTo>
                  <a:lnTo>
                    <a:pt x="362" y="416"/>
                  </a:lnTo>
                  <a:lnTo>
                    <a:pt x="364" y="396"/>
                  </a:lnTo>
                  <a:lnTo>
                    <a:pt x="362" y="382"/>
                  </a:lnTo>
                  <a:lnTo>
                    <a:pt x="356" y="362"/>
                  </a:lnTo>
                  <a:lnTo>
                    <a:pt x="350" y="338"/>
                  </a:lnTo>
                  <a:close/>
                </a:path>
              </a:pathLst>
            </a:custGeom>
            <a:solidFill>
              <a:schemeClr val="bg1"/>
            </a:solidFill>
            <a:ln w="9525">
              <a:noFill/>
              <a:round/>
              <a:headEnd/>
              <a:tailEnd/>
            </a:ln>
          </p:spPr>
          <p:txBody>
            <a:bodyPr lIns="69972" tIns="34986" rIns="69972" bIns="34986"/>
            <a:lstStyle/>
            <a:p>
              <a:pPr fontAlgn="base">
                <a:spcBef>
                  <a:spcPct val="0"/>
                </a:spcBef>
                <a:spcAft>
                  <a:spcPct val="0"/>
                </a:spcAft>
              </a:pPr>
              <a:endParaRPr lang="de-DE" sz="1350" b="1">
                <a:solidFill>
                  <a:srgbClr val="FAEDBE">
                    <a:lumMod val="10000"/>
                  </a:srgbClr>
                </a:solidFill>
              </a:endParaRPr>
            </a:p>
          </p:txBody>
        </p:sp>
        <p:sp>
          <p:nvSpPr>
            <p:cNvPr id="90" name="Rectangle 113"/>
            <p:cNvSpPr>
              <a:spLocks noChangeArrowheads="1"/>
            </p:cNvSpPr>
            <p:nvPr>
              <p:custDataLst>
                <p:tags r:id="rId12"/>
              </p:custDataLst>
            </p:nvPr>
          </p:nvSpPr>
          <p:spPr bwMode="gray">
            <a:xfrm>
              <a:off x="700785" y="4934286"/>
              <a:ext cx="594824" cy="307969"/>
            </a:xfrm>
            <a:prstGeom prst="rect">
              <a:avLst/>
            </a:prstGeom>
            <a:noFill/>
            <a:ln w="9525">
              <a:noFill/>
              <a:miter lim="800000"/>
              <a:headEnd/>
              <a:tailEnd/>
            </a:ln>
          </p:spPr>
          <p:txBody>
            <a:bodyPr wrap="square" lIns="0" tIns="0" rIns="0" bIns="0" anchor="ctr">
              <a:spAutoFit/>
            </a:bodyPr>
            <a:lstStyle/>
            <a:p>
              <a:pPr defTabSz="685145" fontAlgn="base">
                <a:lnSpc>
                  <a:spcPct val="70000"/>
                </a:lnSpc>
                <a:spcBef>
                  <a:spcPct val="0"/>
                </a:spcBef>
                <a:spcAft>
                  <a:spcPct val="0"/>
                </a:spcAft>
                <a:buClr>
                  <a:srgbClr val="C7A10E"/>
                </a:buClr>
              </a:pPr>
              <a:r>
                <a:rPr lang="en-US" sz="2800" b="1" dirty="0" smtClean="0">
                  <a:solidFill>
                    <a:schemeClr val="bg1"/>
                  </a:solidFill>
                  <a:cs typeface="Arial" panose="020B0604020202020204" pitchFamily="34" charset="0"/>
                </a:rPr>
                <a:t>2.5</a:t>
              </a:r>
              <a:endParaRPr lang="en-US" sz="1100" b="1" dirty="0">
                <a:solidFill>
                  <a:schemeClr val="bg1"/>
                </a:solidFill>
                <a:cs typeface="Arial" panose="020B0604020202020204" pitchFamily="34" charset="0"/>
              </a:endParaRPr>
            </a:p>
          </p:txBody>
        </p:sp>
        <p:sp>
          <p:nvSpPr>
            <p:cNvPr id="91" name="Rectangle 114"/>
            <p:cNvSpPr>
              <a:spLocks noChangeArrowheads="1"/>
            </p:cNvSpPr>
            <p:nvPr>
              <p:custDataLst>
                <p:tags r:id="rId13"/>
              </p:custDataLst>
            </p:nvPr>
          </p:nvSpPr>
          <p:spPr bwMode="gray">
            <a:xfrm>
              <a:off x="795966" y="6010091"/>
              <a:ext cx="1091936" cy="492443"/>
            </a:xfrm>
            <a:prstGeom prst="rect">
              <a:avLst/>
            </a:prstGeom>
            <a:noFill/>
            <a:ln w="9525">
              <a:noFill/>
              <a:miter lim="800000"/>
              <a:headEnd/>
              <a:tailEnd/>
            </a:ln>
          </p:spPr>
          <p:txBody>
            <a:bodyPr wrap="square" lIns="0" tIns="0" rIns="0" bIns="0" anchor="ctr">
              <a:spAutoFit/>
            </a:bodyPr>
            <a:lstStyle/>
            <a:p>
              <a:pPr algn="ctr" defTabSz="685145" fontAlgn="base">
                <a:lnSpc>
                  <a:spcPct val="80000"/>
                </a:lnSpc>
                <a:spcBef>
                  <a:spcPct val="0"/>
                </a:spcBef>
                <a:spcAft>
                  <a:spcPct val="0"/>
                </a:spcAft>
                <a:buClr>
                  <a:srgbClr val="C7A10E"/>
                </a:buClr>
              </a:pPr>
              <a:r>
                <a:rPr lang="en-US" sz="1200" b="1" dirty="0" smtClean="0">
                  <a:solidFill>
                    <a:schemeClr val="bg1"/>
                  </a:solidFill>
                  <a:cs typeface="Arial" panose="020B0604020202020204" pitchFamily="34" charset="0"/>
                </a:rPr>
                <a:t>US$</a:t>
              </a:r>
              <a:r>
                <a:rPr lang="en-US" sz="2800" b="1" dirty="0" smtClean="0">
                  <a:solidFill>
                    <a:schemeClr val="bg1"/>
                  </a:solidFill>
                  <a:cs typeface="Arial" panose="020B0604020202020204" pitchFamily="34" charset="0"/>
                </a:rPr>
                <a:t>9.4</a:t>
              </a:r>
            </a:p>
            <a:p>
              <a:pPr algn="ctr" defTabSz="685145" fontAlgn="base">
                <a:lnSpc>
                  <a:spcPct val="80000"/>
                </a:lnSpc>
                <a:spcBef>
                  <a:spcPct val="0"/>
                </a:spcBef>
                <a:spcAft>
                  <a:spcPct val="0"/>
                </a:spcAft>
                <a:buClr>
                  <a:srgbClr val="C7A10E"/>
                </a:buClr>
              </a:pPr>
              <a:r>
                <a:rPr lang="en-US" sz="1200" b="1" dirty="0" smtClean="0">
                  <a:solidFill>
                    <a:schemeClr val="bg1"/>
                  </a:solidFill>
                  <a:cs typeface="Arial" panose="020B0604020202020204" pitchFamily="34" charset="0"/>
                </a:rPr>
                <a:t>TRILLION</a:t>
              </a:r>
              <a:endParaRPr lang="en-US" sz="1200" b="1" baseline="30000" dirty="0">
                <a:solidFill>
                  <a:schemeClr val="bg1"/>
                </a:solidFill>
                <a:cs typeface="Arial" panose="020B0604020202020204" pitchFamily="34" charset="0"/>
              </a:endParaRPr>
            </a:p>
          </p:txBody>
        </p:sp>
        <p:sp>
          <p:nvSpPr>
            <p:cNvPr id="92" name="McK 5. Source"/>
            <p:cNvSpPr>
              <a:spLocks noChangeArrowheads="1"/>
            </p:cNvSpPr>
            <p:nvPr>
              <p:custDataLst>
                <p:tags r:id="rId14"/>
              </p:custDataLst>
            </p:nvPr>
          </p:nvSpPr>
          <p:spPr bwMode="auto">
            <a:xfrm>
              <a:off x="377271" y="6649009"/>
              <a:ext cx="4244687" cy="107722"/>
            </a:xfrm>
            <a:prstGeom prst="rect">
              <a:avLst/>
            </a:prstGeom>
            <a:noFill/>
            <a:ln w="9525" algn="ctr">
              <a:noFill/>
              <a:miter lim="800000"/>
              <a:headEnd/>
              <a:tailEnd/>
            </a:ln>
          </p:spPr>
          <p:txBody>
            <a:bodyPr wrap="square" lIns="0" tIns="0" rIns="0" bIns="0" anchor="ctr">
              <a:spAutoFit/>
            </a:bodyPr>
            <a:lstStyle/>
            <a:p>
              <a:pPr marL="466481" indent="-466481" defTabSz="685145" fontAlgn="base">
                <a:spcBef>
                  <a:spcPct val="0"/>
                </a:spcBef>
                <a:spcAft>
                  <a:spcPct val="0"/>
                </a:spcAft>
                <a:tabLst>
                  <a:tab pos="468911" algn="l"/>
                </a:tabLst>
              </a:pPr>
              <a:r>
                <a:rPr lang="en-US" sz="700" dirty="0" smtClean="0">
                  <a:solidFill>
                    <a:schemeClr val="accent1"/>
                  </a:solidFill>
                  <a:cs typeface="Arial" panose="020B0604020202020204" pitchFamily="34" charset="0"/>
                </a:rPr>
                <a:t>Source: Veolia Water &amp; IFPRI 2011.</a:t>
              </a:r>
              <a:endParaRPr lang="en-US" sz="700" dirty="0">
                <a:solidFill>
                  <a:schemeClr val="accent1"/>
                </a:solidFill>
                <a:cs typeface="Arial" panose="020B0604020202020204" pitchFamily="34" charset="0"/>
              </a:endParaRPr>
            </a:p>
          </p:txBody>
        </p:sp>
        <p:sp>
          <p:nvSpPr>
            <p:cNvPr id="94" name="Rectangle 93"/>
            <p:cNvSpPr/>
            <p:nvPr/>
          </p:nvSpPr>
          <p:spPr>
            <a:xfrm>
              <a:off x="1210851" y="4866970"/>
              <a:ext cx="883150" cy="353623"/>
            </a:xfrm>
            <a:prstGeom prst="rect">
              <a:avLst/>
            </a:prstGeom>
          </p:spPr>
          <p:txBody>
            <a:bodyPr wrap="square">
              <a:spAutoFit/>
            </a:bodyPr>
            <a:lstStyle/>
            <a:p>
              <a:pPr defTabSz="685145" fontAlgn="base">
                <a:lnSpc>
                  <a:spcPct val="70000"/>
                </a:lnSpc>
                <a:spcBef>
                  <a:spcPct val="0"/>
                </a:spcBef>
                <a:spcAft>
                  <a:spcPct val="0"/>
                </a:spcAft>
                <a:buClr>
                  <a:srgbClr val="C7A10E"/>
                </a:buClr>
              </a:pPr>
              <a:r>
                <a:rPr lang="en-US" sz="1200" b="1" dirty="0">
                  <a:solidFill>
                    <a:schemeClr val="bg1"/>
                  </a:solidFill>
                  <a:cs typeface="Arial" panose="020B0604020202020204" pitchFamily="34" charset="0"/>
                </a:rPr>
                <a:t>BILLION PEOPLE</a:t>
              </a:r>
            </a:p>
          </p:txBody>
        </p:sp>
        <p:grpSp>
          <p:nvGrpSpPr>
            <p:cNvPr id="95" name="Group 90"/>
            <p:cNvGrpSpPr>
              <a:grpSpLocks noChangeAspect="1"/>
            </p:cNvGrpSpPr>
            <p:nvPr>
              <p:custDataLst>
                <p:tags r:id="rId15"/>
              </p:custDataLst>
            </p:nvPr>
          </p:nvGrpSpPr>
          <p:grpSpPr bwMode="auto">
            <a:xfrm>
              <a:off x="466532" y="5964973"/>
              <a:ext cx="367395" cy="498911"/>
              <a:chOff x="956" y="1921"/>
              <a:chExt cx="307" cy="338"/>
            </a:xfrm>
            <a:solidFill>
              <a:schemeClr val="bg1"/>
            </a:solidFill>
          </p:grpSpPr>
          <p:sp>
            <p:nvSpPr>
              <p:cNvPr id="96" name="Freeform 91"/>
              <p:cNvSpPr>
                <a:spLocks noChangeAspect="1"/>
              </p:cNvSpPr>
              <p:nvPr/>
            </p:nvSpPr>
            <p:spPr bwMode="gray">
              <a:xfrm>
                <a:off x="959" y="2002"/>
                <a:ext cx="77" cy="257"/>
              </a:xfrm>
              <a:custGeom>
                <a:avLst/>
                <a:gdLst>
                  <a:gd name="T0" fmla="*/ 0 w 311"/>
                  <a:gd name="T1" fmla="*/ 1533 h 1565"/>
                  <a:gd name="T2" fmla="*/ 0 w 311"/>
                  <a:gd name="T3" fmla="*/ 1538 h 1565"/>
                  <a:gd name="T4" fmla="*/ 2 w 311"/>
                  <a:gd name="T5" fmla="*/ 1542 h 1565"/>
                  <a:gd name="T6" fmla="*/ 5 w 311"/>
                  <a:gd name="T7" fmla="*/ 1546 h 1565"/>
                  <a:gd name="T8" fmla="*/ 9 w 311"/>
                  <a:gd name="T9" fmla="*/ 1550 h 1565"/>
                  <a:gd name="T10" fmla="*/ 12 w 311"/>
                  <a:gd name="T11" fmla="*/ 1552 h 1565"/>
                  <a:gd name="T12" fmla="*/ 17 w 311"/>
                  <a:gd name="T13" fmla="*/ 1555 h 1565"/>
                  <a:gd name="T14" fmla="*/ 27 w 311"/>
                  <a:gd name="T15" fmla="*/ 1559 h 1565"/>
                  <a:gd name="T16" fmla="*/ 33 w 311"/>
                  <a:gd name="T17" fmla="*/ 1560 h 1565"/>
                  <a:gd name="T18" fmla="*/ 40 w 311"/>
                  <a:gd name="T19" fmla="*/ 1561 h 1565"/>
                  <a:gd name="T20" fmla="*/ 53 w 311"/>
                  <a:gd name="T21" fmla="*/ 1564 h 1565"/>
                  <a:gd name="T22" fmla="*/ 66 w 311"/>
                  <a:gd name="T23" fmla="*/ 1564 h 1565"/>
                  <a:gd name="T24" fmla="*/ 80 w 311"/>
                  <a:gd name="T25" fmla="*/ 1565 h 1565"/>
                  <a:gd name="T26" fmla="*/ 141 w 311"/>
                  <a:gd name="T27" fmla="*/ 1565 h 1565"/>
                  <a:gd name="T28" fmla="*/ 179 w 311"/>
                  <a:gd name="T29" fmla="*/ 1565 h 1565"/>
                  <a:gd name="T30" fmla="*/ 217 w 311"/>
                  <a:gd name="T31" fmla="*/ 1564 h 1565"/>
                  <a:gd name="T32" fmla="*/ 235 w 311"/>
                  <a:gd name="T33" fmla="*/ 1563 h 1565"/>
                  <a:gd name="T34" fmla="*/ 252 w 311"/>
                  <a:gd name="T35" fmla="*/ 1561 h 1565"/>
                  <a:gd name="T36" fmla="*/ 268 w 311"/>
                  <a:gd name="T37" fmla="*/ 1559 h 1565"/>
                  <a:gd name="T38" fmla="*/ 282 w 311"/>
                  <a:gd name="T39" fmla="*/ 1556 h 1565"/>
                  <a:gd name="T40" fmla="*/ 293 w 311"/>
                  <a:gd name="T41" fmla="*/ 1552 h 1565"/>
                  <a:gd name="T42" fmla="*/ 303 w 311"/>
                  <a:gd name="T43" fmla="*/ 1547 h 1565"/>
                  <a:gd name="T44" fmla="*/ 306 w 311"/>
                  <a:gd name="T45" fmla="*/ 1545 h 1565"/>
                  <a:gd name="T46" fmla="*/ 308 w 311"/>
                  <a:gd name="T47" fmla="*/ 1542 h 1565"/>
                  <a:gd name="T48" fmla="*/ 310 w 311"/>
                  <a:gd name="T49" fmla="*/ 1539 h 1565"/>
                  <a:gd name="T50" fmla="*/ 311 w 311"/>
                  <a:gd name="T51" fmla="*/ 1536 h 1565"/>
                  <a:gd name="T52" fmla="*/ 275 w 311"/>
                  <a:gd name="T53" fmla="*/ 768 h 1565"/>
                  <a:gd name="T54" fmla="*/ 239 w 311"/>
                  <a:gd name="T55" fmla="*/ 0 h 1565"/>
                  <a:gd name="T56" fmla="*/ 33 w 311"/>
                  <a:gd name="T57" fmla="*/ 0 h 1565"/>
                  <a:gd name="T58" fmla="*/ 32 w 311"/>
                  <a:gd name="T59" fmla="*/ 3 h 1565"/>
                  <a:gd name="T60" fmla="*/ 30 w 311"/>
                  <a:gd name="T61" fmla="*/ 8 h 1565"/>
                  <a:gd name="T62" fmla="*/ 27 w 311"/>
                  <a:gd name="T63" fmla="*/ 24 h 1565"/>
                  <a:gd name="T64" fmla="*/ 25 w 311"/>
                  <a:gd name="T65" fmla="*/ 47 h 1565"/>
                  <a:gd name="T66" fmla="*/ 22 w 311"/>
                  <a:gd name="T67" fmla="*/ 77 h 1565"/>
                  <a:gd name="T68" fmla="*/ 18 w 311"/>
                  <a:gd name="T69" fmla="*/ 155 h 1565"/>
                  <a:gd name="T70" fmla="*/ 13 w 311"/>
                  <a:gd name="T71" fmla="*/ 253 h 1565"/>
                  <a:gd name="T72" fmla="*/ 10 w 311"/>
                  <a:gd name="T73" fmla="*/ 369 h 1565"/>
                  <a:gd name="T74" fmla="*/ 9 w 311"/>
                  <a:gd name="T75" fmla="*/ 497 h 1565"/>
                  <a:gd name="T76" fmla="*/ 7 w 311"/>
                  <a:gd name="T77" fmla="*/ 634 h 1565"/>
                  <a:gd name="T78" fmla="*/ 5 w 311"/>
                  <a:gd name="T79" fmla="*/ 774 h 1565"/>
                  <a:gd name="T80" fmla="*/ 2 w 311"/>
                  <a:gd name="T81" fmla="*/ 1051 h 1565"/>
                  <a:gd name="T82" fmla="*/ 0 w 311"/>
                  <a:gd name="T83" fmla="*/ 1292 h 1565"/>
                  <a:gd name="T84" fmla="*/ 0 w 311"/>
                  <a:gd name="T85" fmla="*/ 1533 h 156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11"/>
                  <a:gd name="T130" fmla="*/ 0 h 1565"/>
                  <a:gd name="T131" fmla="*/ 311 w 311"/>
                  <a:gd name="T132" fmla="*/ 1565 h 156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11" h="1565">
                    <a:moveTo>
                      <a:pt x="0" y="1533"/>
                    </a:moveTo>
                    <a:lnTo>
                      <a:pt x="0" y="1538"/>
                    </a:lnTo>
                    <a:lnTo>
                      <a:pt x="2" y="1542"/>
                    </a:lnTo>
                    <a:lnTo>
                      <a:pt x="5" y="1546"/>
                    </a:lnTo>
                    <a:lnTo>
                      <a:pt x="9" y="1550"/>
                    </a:lnTo>
                    <a:lnTo>
                      <a:pt x="12" y="1552"/>
                    </a:lnTo>
                    <a:lnTo>
                      <a:pt x="17" y="1555"/>
                    </a:lnTo>
                    <a:lnTo>
                      <a:pt x="27" y="1559"/>
                    </a:lnTo>
                    <a:lnTo>
                      <a:pt x="33" y="1560"/>
                    </a:lnTo>
                    <a:lnTo>
                      <a:pt x="40" y="1561"/>
                    </a:lnTo>
                    <a:lnTo>
                      <a:pt x="53" y="1564"/>
                    </a:lnTo>
                    <a:lnTo>
                      <a:pt x="66" y="1564"/>
                    </a:lnTo>
                    <a:lnTo>
                      <a:pt x="80" y="1565"/>
                    </a:lnTo>
                    <a:lnTo>
                      <a:pt x="141" y="1565"/>
                    </a:lnTo>
                    <a:lnTo>
                      <a:pt x="179" y="1565"/>
                    </a:lnTo>
                    <a:lnTo>
                      <a:pt x="217" y="1564"/>
                    </a:lnTo>
                    <a:lnTo>
                      <a:pt x="235" y="1563"/>
                    </a:lnTo>
                    <a:lnTo>
                      <a:pt x="252" y="1561"/>
                    </a:lnTo>
                    <a:lnTo>
                      <a:pt x="268" y="1559"/>
                    </a:lnTo>
                    <a:lnTo>
                      <a:pt x="282" y="1556"/>
                    </a:lnTo>
                    <a:lnTo>
                      <a:pt x="293" y="1552"/>
                    </a:lnTo>
                    <a:lnTo>
                      <a:pt x="303" y="1547"/>
                    </a:lnTo>
                    <a:lnTo>
                      <a:pt x="306" y="1545"/>
                    </a:lnTo>
                    <a:lnTo>
                      <a:pt x="308" y="1542"/>
                    </a:lnTo>
                    <a:lnTo>
                      <a:pt x="310" y="1539"/>
                    </a:lnTo>
                    <a:lnTo>
                      <a:pt x="311" y="1536"/>
                    </a:lnTo>
                    <a:lnTo>
                      <a:pt x="275" y="768"/>
                    </a:lnTo>
                    <a:lnTo>
                      <a:pt x="239" y="0"/>
                    </a:lnTo>
                    <a:lnTo>
                      <a:pt x="33" y="0"/>
                    </a:lnTo>
                    <a:lnTo>
                      <a:pt x="32" y="3"/>
                    </a:lnTo>
                    <a:lnTo>
                      <a:pt x="30" y="8"/>
                    </a:lnTo>
                    <a:lnTo>
                      <a:pt x="27" y="24"/>
                    </a:lnTo>
                    <a:lnTo>
                      <a:pt x="25" y="47"/>
                    </a:lnTo>
                    <a:lnTo>
                      <a:pt x="22" y="77"/>
                    </a:lnTo>
                    <a:lnTo>
                      <a:pt x="18" y="155"/>
                    </a:lnTo>
                    <a:lnTo>
                      <a:pt x="13" y="253"/>
                    </a:lnTo>
                    <a:lnTo>
                      <a:pt x="10" y="369"/>
                    </a:lnTo>
                    <a:lnTo>
                      <a:pt x="9" y="497"/>
                    </a:lnTo>
                    <a:lnTo>
                      <a:pt x="7" y="634"/>
                    </a:lnTo>
                    <a:lnTo>
                      <a:pt x="5" y="774"/>
                    </a:lnTo>
                    <a:lnTo>
                      <a:pt x="2" y="1051"/>
                    </a:lnTo>
                    <a:lnTo>
                      <a:pt x="0" y="1292"/>
                    </a:lnTo>
                    <a:lnTo>
                      <a:pt x="0" y="1533"/>
                    </a:lnTo>
                    <a:close/>
                  </a:path>
                </a:pathLst>
              </a:custGeom>
              <a:grpFill/>
              <a:ln w="9525">
                <a:noFill/>
                <a:round/>
                <a:headEnd/>
                <a:tailEnd/>
              </a:ln>
            </p:spPr>
            <p:txBody>
              <a:bodyPr/>
              <a:lstStyle/>
              <a:p>
                <a:pPr fontAlgn="base">
                  <a:spcBef>
                    <a:spcPct val="0"/>
                  </a:spcBef>
                  <a:spcAft>
                    <a:spcPct val="0"/>
                  </a:spcAft>
                </a:pPr>
                <a:endParaRPr lang="de-DE" sz="1350" b="1">
                  <a:solidFill>
                    <a:srgbClr val="FAEDBE">
                      <a:lumMod val="10000"/>
                    </a:srgbClr>
                  </a:solidFill>
                </a:endParaRPr>
              </a:p>
            </p:txBody>
          </p:sp>
          <p:sp>
            <p:nvSpPr>
              <p:cNvPr id="97" name="Freeform 92"/>
              <p:cNvSpPr>
                <a:spLocks noChangeAspect="1"/>
              </p:cNvSpPr>
              <p:nvPr/>
            </p:nvSpPr>
            <p:spPr bwMode="gray">
              <a:xfrm>
                <a:off x="1015" y="2007"/>
                <a:ext cx="24" cy="252"/>
              </a:xfrm>
              <a:custGeom>
                <a:avLst/>
                <a:gdLst>
                  <a:gd name="T0" fmla="*/ 73 w 98"/>
                  <a:gd name="T1" fmla="*/ 1536 h 1536"/>
                  <a:gd name="T2" fmla="*/ 98 w 98"/>
                  <a:gd name="T3" fmla="*/ 1536 h 1536"/>
                  <a:gd name="T4" fmla="*/ 62 w 98"/>
                  <a:gd name="T5" fmla="*/ 768 h 1536"/>
                  <a:gd name="T6" fmla="*/ 25 w 98"/>
                  <a:gd name="T7" fmla="*/ 0 h 1536"/>
                  <a:gd name="T8" fmla="*/ 0 w 98"/>
                  <a:gd name="T9" fmla="*/ 0 h 1536"/>
                  <a:gd name="T10" fmla="*/ 37 w 98"/>
                  <a:gd name="T11" fmla="*/ 768 h 1536"/>
                  <a:gd name="T12" fmla="*/ 73 w 98"/>
                  <a:gd name="T13" fmla="*/ 1536 h 1536"/>
                  <a:gd name="T14" fmla="*/ 0 60000 65536"/>
                  <a:gd name="T15" fmla="*/ 0 60000 65536"/>
                  <a:gd name="T16" fmla="*/ 0 60000 65536"/>
                  <a:gd name="T17" fmla="*/ 0 60000 65536"/>
                  <a:gd name="T18" fmla="*/ 0 60000 65536"/>
                  <a:gd name="T19" fmla="*/ 0 60000 65536"/>
                  <a:gd name="T20" fmla="*/ 0 60000 65536"/>
                  <a:gd name="T21" fmla="*/ 0 w 98"/>
                  <a:gd name="T22" fmla="*/ 0 h 1536"/>
                  <a:gd name="T23" fmla="*/ 98 w 98"/>
                  <a:gd name="T24" fmla="*/ 1536 h 15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8" h="1536">
                    <a:moveTo>
                      <a:pt x="73" y="1536"/>
                    </a:moveTo>
                    <a:lnTo>
                      <a:pt x="98" y="1536"/>
                    </a:lnTo>
                    <a:lnTo>
                      <a:pt x="62" y="768"/>
                    </a:lnTo>
                    <a:lnTo>
                      <a:pt x="25" y="0"/>
                    </a:lnTo>
                    <a:lnTo>
                      <a:pt x="0" y="0"/>
                    </a:lnTo>
                    <a:lnTo>
                      <a:pt x="37" y="768"/>
                    </a:lnTo>
                    <a:lnTo>
                      <a:pt x="73" y="1536"/>
                    </a:lnTo>
                    <a:close/>
                  </a:path>
                </a:pathLst>
              </a:custGeom>
              <a:grpFill/>
              <a:ln w="9525">
                <a:noFill/>
                <a:round/>
                <a:headEnd/>
                <a:tailEnd/>
              </a:ln>
            </p:spPr>
            <p:txBody>
              <a:bodyPr/>
              <a:lstStyle/>
              <a:p>
                <a:pPr fontAlgn="base">
                  <a:spcBef>
                    <a:spcPct val="0"/>
                  </a:spcBef>
                  <a:spcAft>
                    <a:spcPct val="0"/>
                  </a:spcAft>
                </a:pPr>
                <a:endParaRPr lang="de-DE" sz="1350" b="1">
                  <a:solidFill>
                    <a:srgbClr val="FAEDBE">
                      <a:lumMod val="10000"/>
                    </a:srgbClr>
                  </a:solidFill>
                </a:endParaRPr>
              </a:p>
            </p:txBody>
          </p:sp>
          <p:sp>
            <p:nvSpPr>
              <p:cNvPr id="98" name="Freeform 93"/>
              <p:cNvSpPr>
                <a:spLocks noChangeAspect="1"/>
              </p:cNvSpPr>
              <p:nvPr/>
            </p:nvSpPr>
            <p:spPr bwMode="gray">
              <a:xfrm>
                <a:off x="956" y="2007"/>
                <a:ext cx="15" cy="252"/>
              </a:xfrm>
              <a:custGeom>
                <a:avLst/>
                <a:gdLst>
                  <a:gd name="T0" fmla="*/ 60 w 60"/>
                  <a:gd name="T1" fmla="*/ 3 h 1534"/>
                  <a:gd name="T2" fmla="*/ 53 w 60"/>
                  <a:gd name="T3" fmla="*/ 25 h 1534"/>
                  <a:gd name="T4" fmla="*/ 48 w 60"/>
                  <a:gd name="T5" fmla="*/ 78 h 1534"/>
                  <a:gd name="T6" fmla="*/ 45 w 60"/>
                  <a:gd name="T7" fmla="*/ 156 h 1534"/>
                  <a:gd name="T8" fmla="*/ 40 w 60"/>
                  <a:gd name="T9" fmla="*/ 254 h 1534"/>
                  <a:gd name="T10" fmla="*/ 35 w 60"/>
                  <a:gd name="T11" fmla="*/ 498 h 1534"/>
                  <a:gd name="T12" fmla="*/ 30 w 60"/>
                  <a:gd name="T13" fmla="*/ 775 h 1534"/>
                  <a:gd name="T14" fmla="*/ 26 w 60"/>
                  <a:gd name="T15" fmla="*/ 1293 h 1534"/>
                  <a:gd name="T16" fmla="*/ 26 w 60"/>
                  <a:gd name="T17" fmla="*/ 1534 h 1534"/>
                  <a:gd name="T18" fmla="*/ 0 w 60"/>
                  <a:gd name="T19" fmla="*/ 1534 h 1534"/>
                  <a:gd name="T20" fmla="*/ 0 w 60"/>
                  <a:gd name="T21" fmla="*/ 1293 h 1534"/>
                  <a:gd name="T22" fmla="*/ 3 w 60"/>
                  <a:gd name="T23" fmla="*/ 775 h 1534"/>
                  <a:gd name="T24" fmla="*/ 8 w 60"/>
                  <a:gd name="T25" fmla="*/ 498 h 1534"/>
                  <a:gd name="T26" fmla="*/ 13 w 60"/>
                  <a:gd name="T27" fmla="*/ 254 h 1534"/>
                  <a:gd name="T28" fmla="*/ 18 w 60"/>
                  <a:gd name="T29" fmla="*/ 156 h 1534"/>
                  <a:gd name="T30" fmla="*/ 22 w 60"/>
                  <a:gd name="T31" fmla="*/ 78 h 1534"/>
                  <a:gd name="T32" fmla="*/ 26 w 60"/>
                  <a:gd name="T33" fmla="*/ 23 h 1534"/>
                  <a:gd name="T34" fmla="*/ 33 w 60"/>
                  <a:gd name="T35" fmla="*/ 0 h 1534"/>
                  <a:gd name="T36" fmla="*/ 60 w 60"/>
                  <a:gd name="T37" fmla="*/ 3 h 15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34"/>
                  <a:gd name="T59" fmla="*/ 60 w 60"/>
                  <a:gd name="T60" fmla="*/ 1534 h 15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34">
                    <a:moveTo>
                      <a:pt x="60" y="3"/>
                    </a:moveTo>
                    <a:lnTo>
                      <a:pt x="53" y="25"/>
                    </a:lnTo>
                    <a:lnTo>
                      <a:pt x="48" y="78"/>
                    </a:lnTo>
                    <a:lnTo>
                      <a:pt x="45" y="156"/>
                    </a:lnTo>
                    <a:lnTo>
                      <a:pt x="40" y="254"/>
                    </a:lnTo>
                    <a:lnTo>
                      <a:pt x="35" y="498"/>
                    </a:lnTo>
                    <a:lnTo>
                      <a:pt x="30" y="775"/>
                    </a:lnTo>
                    <a:lnTo>
                      <a:pt x="26" y="1293"/>
                    </a:lnTo>
                    <a:lnTo>
                      <a:pt x="26" y="1534"/>
                    </a:lnTo>
                    <a:lnTo>
                      <a:pt x="0" y="1534"/>
                    </a:lnTo>
                    <a:lnTo>
                      <a:pt x="0" y="1293"/>
                    </a:lnTo>
                    <a:lnTo>
                      <a:pt x="3" y="775"/>
                    </a:lnTo>
                    <a:lnTo>
                      <a:pt x="8" y="498"/>
                    </a:lnTo>
                    <a:lnTo>
                      <a:pt x="13" y="254"/>
                    </a:lnTo>
                    <a:lnTo>
                      <a:pt x="18" y="156"/>
                    </a:lnTo>
                    <a:lnTo>
                      <a:pt x="22" y="78"/>
                    </a:lnTo>
                    <a:lnTo>
                      <a:pt x="26" y="23"/>
                    </a:lnTo>
                    <a:lnTo>
                      <a:pt x="33" y="0"/>
                    </a:lnTo>
                    <a:lnTo>
                      <a:pt x="60" y="3"/>
                    </a:lnTo>
                    <a:close/>
                  </a:path>
                </a:pathLst>
              </a:custGeom>
              <a:grpFill/>
              <a:ln w="9525">
                <a:noFill/>
                <a:round/>
                <a:headEnd/>
                <a:tailEnd/>
              </a:ln>
            </p:spPr>
            <p:txBody>
              <a:bodyPr/>
              <a:lstStyle/>
              <a:p>
                <a:pPr fontAlgn="base">
                  <a:spcBef>
                    <a:spcPct val="0"/>
                  </a:spcBef>
                  <a:spcAft>
                    <a:spcPct val="0"/>
                  </a:spcAft>
                </a:pPr>
                <a:endParaRPr lang="de-DE" sz="1350" b="1">
                  <a:solidFill>
                    <a:srgbClr val="FAEDBE">
                      <a:lumMod val="10000"/>
                    </a:srgbClr>
                  </a:solidFill>
                </a:endParaRPr>
              </a:p>
            </p:txBody>
          </p:sp>
          <p:grpSp>
            <p:nvGrpSpPr>
              <p:cNvPr id="99" name="Group 94"/>
              <p:cNvGrpSpPr>
                <a:grpSpLocks noChangeAspect="1"/>
              </p:cNvGrpSpPr>
              <p:nvPr/>
            </p:nvGrpSpPr>
            <p:grpSpPr bwMode="auto">
              <a:xfrm>
                <a:off x="1002" y="2090"/>
                <a:ext cx="259" cy="169"/>
                <a:chOff x="1002" y="2090"/>
                <a:chExt cx="325" cy="169"/>
              </a:xfrm>
              <a:grpFill/>
            </p:grpSpPr>
            <p:sp>
              <p:nvSpPr>
                <p:cNvPr id="101" name="Freeform 95"/>
                <p:cNvSpPr>
                  <a:spLocks noChangeAspect="1"/>
                </p:cNvSpPr>
                <p:nvPr/>
              </p:nvSpPr>
              <p:spPr bwMode="gray">
                <a:xfrm>
                  <a:off x="1008" y="2099"/>
                  <a:ext cx="319" cy="160"/>
                </a:xfrm>
                <a:custGeom>
                  <a:avLst/>
                  <a:gdLst>
                    <a:gd name="T0" fmla="*/ 10 w 1291"/>
                    <a:gd name="T1" fmla="*/ 306 h 975"/>
                    <a:gd name="T2" fmla="*/ 404 w 1291"/>
                    <a:gd name="T3" fmla="*/ 21 h 975"/>
                    <a:gd name="T4" fmla="*/ 417 w 1291"/>
                    <a:gd name="T5" fmla="*/ 321 h 975"/>
                    <a:gd name="T6" fmla="*/ 443 w 1291"/>
                    <a:gd name="T7" fmla="*/ 298 h 975"/>
                    <a:gd name="T8" fmla="*/ 470 w 1291"/>
                    <a:gd name="T9" fmla="*/ 276 h 975"/>
                    <a:gd name="T10" fmla="*/ 518 w 1291"/>
                    <a:gd name="T11" fmla="*/ 236 h 975"/>
                    <a:gd name="T12" fmla="*/ 604 w 1291"/>
                    <a:gd name="T13" fmla="*/ 167 h 975"/>
                    <a:gd name="T14" fmla="*/ 645 w 1291"/>
                    <a:gd name="T15" fmla="*/ 135 h 975"/>
                    <a:gd name="T16" fmla="*/ 665 w 1291"/>
                    <a:gd name="T17" fmla="*/ 117 h 975"/>
                    <a:gd name="T18" fmla="*/ 687 w 1291"/>
                    <a:gd name="T19" fmla="*/ 98 h 975"/>
                    <a:gd name="T20" fmla="*/ 710 w 1291"/>
                    <a:gd name="T21" fmla="*/ 79 h 975"/>
                    <a:gd name="T22" fmla="*/ 731 w 1291"/>
                    <a:gd name="T23" fmla="*/ 58 h 975"/>
                    <a:gd name="T24" fmla="*/ 756 w 1291"/>
                    <a:gd name="T25" fmla="*/ 35 h 975"/>
                    <a:gd name="T26" fmla="*/ 781 w 1291"/>
                    <a:gd name="T27" fmla="*/ 10 h 975"/>
                    <a:gd name="T28" fmla="*/ 788 w 1291"/>
                    <a:gd name="T29" fmla="*/ 321 h 975"/>
                    <a:gd name="T30" fmla="*/ 962 w 1291"/>
                    <a:gd name="T31" fmla="*/ 161 h 975"/>
                    <a:gd name="T32" fmla="*/ 1041 w 1291"/>
                    <a:gd name="T33" fmla="*/ 87 h 975"/>
                    <a:gd name="T34" fmla="*/ 1132 w 1291"/>
                    <a:gd name="T35" fmla="*/ 0 h 975"/>
                    <a:gd name="T36" fmla="*/ 1132 w 1291"/>
                    <a:gd name="T37" fmla="*/ 6 h 975"/>
                    <a:gd name="T38" fmla="*/ 1132 w 1291"/>
                    <a:gd name="T39" fmla="*/ 18 h 975"/>
                    <a:gd name="T40" fmla="*/ 1132 w 1291"/>
                    <a:gd name="T41" fmla="*/ 34 h 975"/>
                    <a:gd name="T42" fmla="*/ 1134 w 1291"/>
                    <a:gd name="T43" fmla="*/ 53 h 975"/>
                    <a:gd name="T44" fmla="*/ 1144 w 1291"/>
                    <a:gd name="T45" fmla="*/ 153 h 975"/>
                    <a:gd name="T46" fmla="*/ 1149 w 1291"/>
                    <a:gd name="T47" fmla="*/ 206 h 975"/>
                    <a:gd name="T48" fmla="*/ 1154 w 1291"/>
                    <a:gd name="T49" fmla="*/ 255 h 975"/>
                    <a:gd name="T50" fmla="*/ 1154 w 1291"/>
                    <a:gd name="T51" fmla="*/ 293 h 975"/>
                    <a:gd name="T52" fmla="*/ 1154 w 1291"/>
                    <a:gd name="T53" fmla="*/ 307 h 975"/>
                    <a:gd name="T54" fmla="*/ 1152 w 1291"/>
                    <a:gd name="T55" fmla="*/ 316 h 975"/>
                    <a:gd name="T56" fmla="*/ 1291 w 1291"/>
                    <a:gd name="T57" fmla="*/ 316 h 975"/>
                    <a:gd name="T58" fmla="*/ 1284 w 1291"/>
                    <a:gd name="T59" fmla="*/ 971 h 975"/>
                    <a:gd name="T60" fmla="*/ 0 w 1291"/>
                    <a:gd name="T61" fmla="*/ 975 h 975"/>
                    <a:gd name="T62" fmla="*/ 10 w 1291"/>
                    <a:gd name="T63" fmla="*/ 306 h 97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91"/>
                    <a:gd name="T97" fmla="*/ 0 h 975"/>
                    <a:gd name="T98" fmla="*/ 1291 w 1291"/>
                    <a:gd name="T99" fmla="*/ 975 h 97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91" h="975">
                      <a:moveTo>
                        <a:pt x="10" y="306"/>
                      </a:moveTo>
                      <a:lnTo>
                        <a:pt x="404" y="21"/>
                      </a:lnTo>
                      <a:lnTo>
                        <a:pt x="417" y="321"/>
                      </a:lnTo>
                      <a:lnTo>
                        <a:pt x="443" y="298"/>
                      </a:lnTo>
                      <a:lnTo>
                        <a:pt x="470" y="276"/>
                      </a:lnTo>
                      <a:lnTo>
                        <a:pt x="518" y="236"/>
                      </a:lnTo>
                      <a:lnTo>
                        <a:pt x="604" y="167"/>
                      </a:lnTo>
                      <a:lnTo>
                        <a:pt x="645" y="135"/>
                      </a:lnTo>
                      <a:lnTo>
                        <a:pt x="665" y="117"/>
                      </a:lnTo>
                      <a:lnTo>
                        <a:pt x="687" y="98"/>
                      </a:lnTo>
                      <a:lnTo>
                        <a:pt x="710" y="79"/>
                      </a:lnTo>
                      <a:lnTo>
                        <a:pt x="731" y="58"/>
                      </a:lnTo>
                      <a:lnTo>
                        <a:pt x="756" y="35"/>
                      </a:lnTo>
                      <a:lnTo>
                        <a:pt x="781" y="10"/>
                      </a:lnTo>
                      <a:lnTo>
                        <a:pt x="788" y="321"/>
                      </a:lnTo>
                      <a:lnTo>
                        <a:pt x="962" y="161"/>
                      </a:lnTo>
                      <a:lnTo>
                        <a:pt x="1041" y="87"/>
                      </a:lnTo>
                      <a:lnTo>
                        <a:pt x="1132" y="0"/>
                      </a:lnTo>
                      <a:lnTo>
                        <a:pt x="1132" y="6"/>
                      </a:lnTo>
                      <a:lnTo>
                        <a:pt x="1132" y="18"/>
                      </a:lnTo>
                      <a:lnTo>
                        <a:pt x="1132" y="34"/>
                      </a:lnTo>
                      <a:lnTo>
                        <a:pt x="1134" y="53"/>
                      </a:lnTo>
                      <a:lnTo>
                        <a:pt x="1144" y="153"/>
                      </a:lnTo>
                      <a:lnTo>
                        <a:pt x="1149" y="206"/>
                      </a:lnTo>
                      <a:lnTo>
                        <a:pt x="1154" y="255"/>
                      </a:lnTo>
                      <a:lnTo>
                        <a:pt x="1154" y="293"/>
                      </a:lnTo>
                      <a:lnTo>
                        <a:pt x="1154" y="307"/>
                      </a:lnTo>
                      <a:lnTo>
                        <a:pt x="1152" y="316"/>
                      </a:lnTo>
                      <a:lnTo>
                        <a:pt x="1291" y="316"/>
                      </a:lnTo>
                      <a:lnTo>
                        <a:pt x="1284" y="971"/>
                      </a:lnTo>
                      <a:lnTo>
                        <a:pt x="0" y="975"/>
                      </a:lnTo>
                      <a:lnTo>
                        <a:pt x="10" y="306"/>
                      </a:lnTo>
                      <a:close/>
                    </a:path>
                  </a:pathLst>
                </a:custGeom>
                <a:grpFill/>
                <a:ln w="9525">
                  <a:noFill/>
                  <a:round/>
                  <a:headEnd/>
                  <a:tailEnd/>
                </a:ln>
              </p:spPr>
              <p:txBody>
                <a:bodyPr/>
                <a:lstStyle/>
                <a:p>
                  <a:pPr fontAlgn="base">
                    <a:spcBef>
                      <a:spcPct val="0"/>
                    </a:spcBef>
                    <a:spcAft>
                      <a:spcPct val="0"/>
                    </a:spcAft>
                  </a:pPr>
                  <a:endParaRPr lang="de-DE" sz="1350" b="1">
                    <a:solidFill>
                      <a:srgbClr val="FAEDBE">
                        <a:lumMod val="10000"/>
                      </a:srgbClr>
                    </a:solidFill>
                  </a:endParaRPr>
                </a:p>
              </p:txBody>
            </p:sp>
            <p:sp>
              <p:nvSpPr>
                <p:cNvPr id="102" name="Freeform 96"/>
                <p:cNvSpPr>
                  <a:spLocks noChangeAspect="1"/>
                </p:cNvSpPr>
                <p:nvPr/>
              </p:nvSpPr>
              <p:spPr bwMode="gray">
                <a:xfrm>
                  <a:off x="1006" y="2100"/>
                  <a:ext cx="107" cy="52"/>
                </a:xfrm>
                <a:custGeom>
                  <a:avLst/>
                  <a:gdLst>
                    <a:gd name="T0" fmla="*/ 0 w 430"/>
                    <a:gd name="T1" fmla="*/ 286 h 315"/>
                    <a:gd name="T2" fmla="*/ 36 w 430"/>
                    <a:gd name="T3" fmla="*/ 315 h 315"/>
                    <a:gd name="T4" fmla="*/ 430 w 430"/>
                    <a:gd name="T5" fmla="*/ 30 h 315"/>
                    <a:gd name="T6" fmla="*/ 394 w 430"/>
                    <a:gd name="T7" fmla="*/ 0 h 315"/>
                    <a:gd name="T8" fmla="*/ 0 w 430"/>
                    <a:gd name="T9" fmla="*/ 286 h 315"/>
                    <a:gd name="T10" fmla="*/ 0 60000 65536"/>
                    <a:gd name="T11" fmla="*/ 0 60000 65536"/>
                    <a:gd name="T12" fmla="*/ 0 60000 65536"/>
                    <a:gd name="T13" fmla="*/ 0 60000 65536"/>
                    <a:gd name="T14" fmla="*/ 0 60000 65536"/>
                    <a:gd name="T15" fmla="*/ 0 w 430"/>
                    <a:gd name="T16" fmla="*/ 0 h 315"/>
                    <a:gd name="T17" fmla="*/ 430 w 430"/>
                    <a:gd name="T18" fmla="*/ 315 h 315"/>
                  </a:gdLst>
                  <a:ahLst/>
                  <a:cxnLst>
                    <a:cxn ang="T10">
                      <a:pos x="T0" y="T1"/>
                    </a:cxn>
                    <a:cxn ang="T11">
                      <a:pos x="T2" y="T3"/>
                    </a:cxn>
                    <a:cxn ang="T12">
                      <a:pos x="T4" y="T5"/>
                    </a:cxn>
                    <a:cxn ang="T13">
                      <a:pos x="T6" y="T7"/>
                    </a:cxn>
                    <a:cxn ang="T14">
                      <a:pos x="T8" y="T9"/>
                    </a:cxn>
                  </a:cxnLst>
                  <a:rect l="T15" t="T16" r="T17" b="T18"/>
                  <a:pathLst>
                    <a:path w="430" h="315">
                      <a:moveTo>
                        <a:pt x="0" y="286"/>
                      </a:moveTo>
                      <a:lnTo>
                        <a:pt x="36" y="315"/>
                      </a:lnTo>
                      <a:lnTo>
                        <a:pt x="430" y="30"/>
                      </a:lnTo>
                      <a:lnTo>
                        <a:pt x="394" y="0"/>
                      </a:lnTo>
                      <a:lnTo>
                        <a:pt x="0" y="286"/>
                      </a:lnTo>
                      <a:close/>
                    </a:path>
                  </a:pathLst>
                </a:custGeom>
                <a:grpFill/>
                <a:ln w="9525">
                  <a:noFill/>
                  <a:round/>
                  <a:headEnd/>
                  <a:tailEnd/>
                </a:ln>
              </p:spPr>
              <p:txBody>
                <a:bodyPr/>
                <a:lstStyle/>
                <a:p>
                  <a:pPr fontAlgn="base">
                    <a:spcBef>
                      <a:spcPct val="0"/>
                    </a:spcBef>
                    <a:spcAft>
                      <a:spcPct val="0"/>
                    </a:spcAft>
                  </a:pPr>
                  <a:endParaRPr lang="de-DE" sz="1350" b="1">
                    <a:solidFill>
                      <a:srgbClr val="FAEDBE">
                        <a:lumMod val="10000"/>
                      </a:srgbClr>
                    </a:solidFill>
                  </a:endParaRPr>
                </a:p>
              </p:txBody>
            </p:sp>
            <p:sp>
              <p:nvSpPr>
                <p:cNvPr id="103" name="Freeform 97"/>
                <p:cNvSpPr>
                  <a:spLocks noChangeAspect="1"/>
                </p:cNvSpPr>
                <p:nvPr/>
              </p:nvSpPr>
              <p:spPr bwMode="gray">
                <a:xfrm>
                  <a:off x="1102" y="2102"/>
                  <a:ext cx="16" cy="50"/>
                </a:xfrm>
                <a:custGeom>
                  <a:avLst/>
                  <a:gdLst>
                    <a:gd name="T0" fmla="*/ 53 w 66"/>
                    <a:gd name="T1" fmla="*/ 0 h 302"/>
                    <a:gd name="T2" fmla="*/ 0 w 66"/>
                    <a:gd name="T3" fmla="*/ 1 h 302"/>
                    <a:gd name="T4" fmla="*/ 13 w 66"/>
                    <a:gd name="T5" fmla="*/ 302 h 302"/>
                    <a:gd name="T6" fmla="*/ 66 w 66"/>
                    <a:gd name="T7" fmla="*/ 300 h 302"/>
                    <a:gd name="T8" fmla="*/ 53 w 66"/>
                    <a:gd name="T9" fmla="*/ 0 h 302"/>
                    <a:gd name="T10" fmla="*/ 0 60000 65536"/>
                    <a:gd name="T11" fmla="*/ 0 60000 65536"/>
                    <a:gd name="T12" fmla="*/ 0 60000 65536"/>
                    <a:gd name="T13" fmla="*/ 0 60000 65536"/>
                    <a:gd name="T14" fmla="*/ 0 60000 65536"/>
                    <a:gd name="T15" fmla="*/ 0 w 66"/>
                    <a:gd name="T16" fmla="*/ 0 h 302"/>
                    <a:gd name="T17" fmla="*/ 66 w 66"/>
                    <a:gd name="T18" fmla="*/ 302 h 302"/>
                  </a:gdLst>
                  <a:ahLst/>
                  <a:cxnLst>
                    <a:cxn ang="T10">
                      <a:pos x="T0" y="T1"/>
                    </a:cxn>
                    <a:cxn ang="T11">
                      <a:pos x="T2" y="T3"/>
                    </a:cxn>
                    <a:cxn ang="T12">
                      <a:pos x="T4" y="T5"/>
                    </a:cxn>
                    <a:cxn ang="T13">
                      <a:pos x="T6" y="T7"/>
                    </a:cxn>
                    <a:cxn ang="T14">
                      <a:pos x="T8" y="T9"/>
                    </a:cxn>
                  </a:cxnLst>
                  <a:rect l="T15" t="T16" r="T17" b="T18"/>
                  <a:pathLst>
                    <a:path w="66" h="302">
                      <a:moveTo>
                        <a:pt x="53" y="0"/>
                      </a:moveTo>
                      <a:lnTo>
                        <a:pt x="0" y="1"/>
                      </a:lnTo>
                      <a:lnTo>
                        <a:pt x="13" y="302"/>
                      </a:lnTo>
                      <a:lnTo>
                        <a:pt x="66" y="300"/>
                      </a:lnTo>
                      <a:lnTo>
                        <a:pt x="53" y="0"/>
                      </a:lnTo>
                      <a:close/>
                    </a:path>
                  </a:pathLst>
                </a:custGeom>
                <a:grpFill/>
                <a:ln w="9525">
                  <a:noFill/>
                  <a:round/>
                  <a:headEnd/>
                  <a:tailEnd/>
                </a:ln>
              </p:spPr>
              <p:txBody>
                <a:bodyPr/>
                <a:lstStyle/>
                <a:p>
                  <a:pPr fontAlgn="base">
                    <a:spcBef>
                      <a:spcPct val="0"/>
                    </a:spcBef>
                    <a:spcAft>
                      <a:spcPct val="0"/>
                    </a:spcAft>
                  </a:pPr>
                  <a:endParaRPr lang="de-DE" sz="1350" b="1">
                    <a:solidFill>
                      <a:srgbClr val="FAEDBE">
                        <a:lumMod val="10000"/>
                      </a:srgbClr>
                    </a:solidFill>
                  </a:endParaRPr>
                </a:p>
              </p:txBody>
            </p:sp>
            <p:sp>
              <p:nvSpPr>
                <p:cNvPr id="104" name="Freeform 98"/>
                <p:cNvSpPr>
                  <a:spLocks noChangeAspect="1"/>
                </p:cNvSpPr>
                <p:nvPr/>
              </p:nvSpPr>
              <p:spPr bwMode="gray">
                <a:xfrm>
                  <a:off x="1102" y="2094"/>
                  <a:ext cx="13" cy="11"/>
                </a:xfrm>
                <a:custGeom>
                  <a:avLst/>
                  <a:gdLst>
                    <a:gd name="T0" fmla="*/ 9 w 53"/>
                    <a:gd name="T1" fmla="*/ 31 h 61"/>
                    <a:gd name="T2" fmla="*/ 52 w 53"/>
                    <a:gd name="T3" fmla="*/ 0 h 61"/>
                    <a:gd name="T4" fmla="*/ 53 w 53"/>
                    <a:gd name="T5" fmla="*/ 46 h 61"/>
                    <a:gd name="T6" fmla="*/ 0 w 53"/>
                    <a:gd name="T7" fmla="*/ 47 h 61"/>
                    <a:gd name="T8" fmla="*/ 45 w 53"/>
                    <a:gd name="T9" fmla="*/ 61 h 61"/>
                    <a:gd name="T10" fmla="*/ 9 w 53"/>
                    <a:gd name="T11" fmla="*/ 31 h 61"/>
                    <a:gd name="T12" fmla="*/ 0 60000 65536"/>
                    <a:gd name="T13" fmla="*/ 0 60000 65536"/>
                    <a:gd name="T14" fmla="*/ 0 60000 65536"/>
                    <a:gd name="T15" fmla="*/ 0 60000 65536"/>
                    <a:gd name="T16" fmla="*/ 0 60000 65536"/>
                    <a:gd name="T17" fmla="*/ 0 60000 65536"/>
                    <a:gd name="T18" fmla="*/ 0 w 53"/>
                    <a:gd name="T19" fmla="*/ 0 h 61"/>
                    <a:gd name="T20" fmla="*/ 53 w 53"/>
                    <a:gd name="T21" fmla="*/ 61 h 61"/>
                  </a:gdLst>
                  <a:ahLst/>
                  <a:cxnLst>
                    <a:cxn ang="T12">
                      <a:pos x="T0" y="T1"/>
                    </a:cxn>
                    <a:cxn ang="T13">
                      <a:pos x="T2" y="T3"/>
                    </a:cxn>
                    <a:cxn ang="T14">
                      <a:pos x="T4" y="T5"/>
                    </a:cxn>
                    <a:cxn ang="T15">
                      <a:pos x="T6" y="T7"/>
                    </a:cxn>
                    <a:cxn ang="T16">
                      <a:pos x="T8" y="T9"/>
                    </a:cxn>
                    <a:cxn ang="T17">
                      <a:pos x="T10" y="T11"/>
                    </a:cxn>
                  </a:cxnLst>
                  <a:rect l="T18" t="T19" r="T20" b="T21"/>
                  <a:pathLst>
                    <a:path w="53" h="61">
                      <a:moveTo>
                        <a:pt x="9" y="31"/>
                      </a:moveTo>
                      <a:lnTo>
                        <a:pt x="52" y="0"/>
                      </a:lnTo>
                      <a:lnTo>
                        <a:pt x="53" y="46"/>
                      </a:lnTo>
                      <a:lnTo>
                        <a:pt x="0" y="47"/>
                      </a:lnTo>
                      <a:lnTo>
                        <a:pt x="45" y="61"/>
                      </a:lnTo>
                      <a:lnTo>
                        <a:pt x="9" y="31"/>
                      </a:lnTo>
                      <a:close/>
                    </a:path>
                  </a:pathLst>
                </a:custGeom>
                <a:grpFill/>
                <a:ln w="9525">
                  <a:noFill/>
                  <a:round/>
                  <a:headEnd/>
                  <a:tailEnd/>
                </a:ln>
              </p:spPr>
              <p:txBody>
                <a:bodyPr/>
                <a:lstStyle/>
                <a:p>
                  <a:pPr fontAlgn="base">
                    <a:spcBef>
                      <a:spcPct val="0"/>
                    </a:spcBef>
                    <a:spcAft>
                      <a:spcPct val="0"/>
                    </a:spcAft>
                  </a:pPr>
                  <a:endParaRPr lang="de-DE" sz="1350" b="1">
                    <a:solidFill>
                      <a:srgbClr val="FAEDBE">
                        <a:lumMod val="10000"/>
                      </a:srgbClr>
                    </a:solidFill>
                  </a:endParaRPr>
                </a:p>
              </p:txBody>
            </p:sp>
            <p:sp>
              <p:nvSpPr>
                <p:cNvPr id="105" name="Freeform 99"/>
                <p:cNvSpPr>
                  <a:spLocks noChangeAspect="1"/>
                </p:cNvSpPr>
                <p:nvPr/>
              </p:nvSpPr>
              <p:spPr bwMode="gray">
                <a:xfrm>
                  <a:off x="1107" y="2098"/>
                  <a:ext cx="99" cy="56"/>
                </a:xfrm>
                <a:custGeom>
                  <a:avLst/>
                  <a:gdLst>
                    <a:gd name="T0" fmla="*/ 0 w 404"/>
                    <a:gd name="T1" fmla="*/ 310 h 339"/>
                    <a:gd name="T2" fmla="*/ 101 w 404"/>
                    <a:gd name="T3" fmla="*/ 225 h 339"/>
                    <a:gd name="T4" fmla="*/ 187 w 404"/>
                    <a:gd name="T5" fmla="*/ 156 h 339"/>
                    <a:gd name="T6" fmla="*/ 270 w 404"/>
                    <a:gd name="T7" fmla="*/ 87 h 339"/>
                    <a:gd name="T8" fmla="*/ 315 w 404"/>
                    <a:gd name="T9" fmla="*/ 47 h 339"/>
                    <a:gd name="T10" fmla="*/ 364 w 404"/>
                    <a:gd name="T11" fmla="*/ 0 h 339"/>
                    <a:gd name="T12" fmla="*/ 404 w 404"/>
                    <a:gd name="T13" fmla="*/ 28 h 339"/>
                    <a:gd name="T14" fmla="*/ 354 w 404"/>
                    <a:gd name="T15" fmla="*/ 74 h 339"/>
                    <a:gd name="T16" fmla="*/ 308 w 404"/>
                    <a:gd name="T17" fmla="*/ 116 h 339"/>
                    <a:gd name="T18" fmla="*/ 225 w 404"/>
                    <a:gd name="T19" fmla="*/ 184 h 339"/>
                    <a:gd name="T20" fmla="*/ 139 w 404"/>
                    <a:gd name="T21" fmla="*/ 253 h 339"/>
                    <a:gd name="T22" fmla="*/ 38 w 404"/>
                    <a:gd name="T23" fmla="*/ 339 h 339"/>
                    <a:gd name="T24" fmla="*/ 0 w 404"/>
                    <a:gd name="T25" fmla="*/ 310 h 3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04"/>
                    <a:gd name="T40" fmla="*/ 0 h 339"/>
                    <a:gd name="T41" fmla="*/ 404 w 404"/>
                    <a:gd name="T42" fmla="*/ 339 h 33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04" h="339">
                      <a:moveTo>
                        <a:pt x="0" y="310"/>
                      </a:moveTo>
                      <a:lnTo>
                        <a:pt x="101" y="225"/>
                      </a:lnTo>
                      <a:lnTo>
                        <a:pt x="187" y="156"/>
                      </a:lnTo>
                      <a:lnTo>
                        <a:pt x="270" y="87"/>
                      </a:lnTo>
                      <a:lnTo>
                        <a:pt x="315" y="47"/>
                      </a:lnTo>
                      <a:lnTo>
                        <a:pt x="364" y="0"/>
                      </a:lnTo>
                      <a:lnTo>
                        <a:pt x="404" y="28"/>
                      </a:lnTo>
                      <a:lnTo>
                        <a:pt x="354" y="74"/>
                      </a:lnTo>
                      <a:lnTo>
                        <a:pt x="308" y="116"/>
                      </a:lnTo>
                      <a:lnTo>
                        <a:pt x="225" y="184"/>
                      </a:lnTo>
                      <a:lnTo>
                        <a:pt x="139" y="253"/>
                      </a:lnTo>
                      <a:lnTo>
                        <a:pt x="38" y="339"/>
                      </a:lnTo>
                      <a:lnTo>
                        <a:pt x="0" y="310"/>
                      </a:lnTo>
                      <a:close/>
                    </a:path>
                  </a:pathLst>
                </a:custGeom>
                <a:grpFill/>
                <a:ln w="9525">
                  <a:noFill/>
                  <a:round/>
                  <a:headEnd/>
                  <a:tailEnd/>
                </a:ln>
              </p:spPr>
              <p:txBody>
                <a:bodyPr/>
                <a:lstStyle/>
                <a:p>
                  <a:pPr fontAlgn="base">
                    <a:spcBef>
                      <a:spcPct val="0"/>
                    </a:spcBef>
                    <a:spcAft>
                      <a:spcPct val="0"/>
                    </a:spcAft>
                  </a:pPr>
                  <a:endParaRPr lang="de-DE" sz="1350" b="1">
                    <a:solidFill>
                      <a:srgbClr val="FAEDBE">
                        <a:lumMod val="10000"/>
                      </a:srgbClr>
                    </a:solidFill>
                  </a:endParaRPr>
                </a:p>
              </p:txBody>
            </p:sp>
            <p:sp>
              <p:nvSpPr>
                <p:cNvPr id="106" name="Freeform 100"/>
                <p:cNvSpPr>
                  <a:spLocks noChangeAspect="1"/>
                </p:cNvSpPr>
                <p:nvPr/>
              </p:nvSpPr>
              <p:spPr bwMode="gray">
                <a:xfrm>
                  <a:off x="1105" y="2149"/>
                  <a:ext cx="13" cy="11"/>
                </a:xfrm>
                <a:custGeom>
                  <a:avLst/>
                  <a:gdLst>
                    <a:gd name="T0" fmla="*/ 0 w 53"/>
                    <a:gd name="T1" fmla="*/ 16 h 65"/>
                    <a:gd name="T2" fmla="*/ 2 w 53"/>
                    <a:gd name="T3" fmla="*/ 65 h 65"/>
                    <a:gd name="T4" fmla="*/ 45 w 53"/>
                    <a:gd name="T5" fmla="*/ 29 h 65"/>
                    <a:gd name="T6" fmla="*/ 7 w 53"/>
                    <a:gd name="T7" fmla="*/ 0 h 65"/>
                    <a:gd name="T8" fmla="*/ 53 w 53"/>
                    <a:gd name="T9" fmla="*/ 14 h 65"/>
                    <a:gd name="T10" fmla="*/ 0 w 53"/>
                    <a:gd name="T11" fmla="*/ 16 h 65"/>
                    <a:gd name="T12" fmla="*/ 0 60000 65536"/>
                    <a:gd name="T13" fmla="*/ 0 60000 65536"/>
                    <a:gd name="T14" fmla="*/ 0 60000 65536"/>
                    <a:gd name="T15" fmla="*/ 0 60000 65536"/>
                    <a:gd name="T16" fmla="*/ 0 60000 65536"/>
                    <a:gd name="T17" fmla="*/ 0 60000 65536"/>
                    <a:gd name="T18" fmla="*/ 0 w 53"/>
                    <a:gd name="T19" fmla="*/ 0 h 65"/>
                    <a:gd name="T20" fmla="*/ 53 w 53"/>
                    <a:gd name="T21" fmla="*/ 65 h 65"/>
                  </a:gdLst>
                  <a:ahLst/>
                  <a:cxnLst>
                    <a:cxn ang="T12">
                      <a:pos x="T0" y="T1"/>
                    </a:cxn>
                    <a:cxn ang="T13">
                      <a:pos x="T2" y="T3"/>
                    </a:cxn>
                    <a:cxn ang="T14">
                      <a:pos x="T4" y="T5"/>
                    </a:cxn>
                    <a:cxn ang="T15">
                      <a:pos x="T6" y="T7"/>
                    </a:cxn>
                    <a:cxn ang="T16">
                      <a:pos x="T8" y="T9"/>
                    </a:cxn>
                    <a:cxn ang="T17">
                      <a:pos x="T10" y="T11"/>
                    </a:cxn>
                  </a:cxnLst>
                  <a:rect l="T18" t="T19" r="T20" b="T21"/>
                  <a:pathLst>
                    <a:path w="53" h="65">
                      <a:moveTo>
                        <a:pt x="0" y="16"/>
                      </a:moveTo>
                      <a:lnTo>
                        <a:pt x="2" y="65"/>
                      </a:lnTo>
                      <a:lnTo>
                        <a:pt x="45" y="29"/>
                      </a:lnTo>
                      <a:lnTo>
                        <a:pt x="7" y="0"/>
                      </a:lnTo>
                      <a:lnTo>
                        <a:pt x="53" y="14"/>
                      </a:lnTo>
                      <a:lnTo>
                        <a:pt x="0" y="16"/>
                      </a:lnTo>
                      <a:close/>
                    </a:path>
                  </a:pathLst>
                </a:custGeom>
                <a:grpFill/>
                <a:ln w="9525">
                  <a:noFill/>
                  <a:round/>
                  <a:headEnd/>
                  <a:tailEnd/>
                </a:ln>
              </p:spPr>
              <p:txBody>
                <a:bodyPr/>
                <a:lstStyle/>
                <a:p>
                  <a:pPr fontAlgn="base">
                    <a:spcBef>
                      <a:spcPct val="0"/>
                    </a:spcBef>
                    <a:spcAft>
                      <a:spcPct val="0"/>
                    </a:spcAft>
                  </a:pPr>
                  <a:endParaRPr lang="de-DE" sz="1350" b="1">
                    <a:solidFill>
                      <a:srgbClr val="FAEDBE">
                        <a:lumMod val="10000"/>
                      </a:srgbClr>
                    </a:solidFill>
                  </a:endParaRPr>
                </a:p>
              </p:txBody>
            </p:sp>
            <p:sp>
              <p:nvSpPr>
                <p:cNvPr id="107" name="Freeform 101"/>
                <p:cNvSpPr>
                  <a:spLocks noChangeAspect="1"/>
                </p:cNvSpPr>
                <p:nvPr/>
              </p:nvSpPr>
              <p:spPr bwMode="gray">
                <a:xfrm>
                  <a:off x="1195" y="2100"/>
                  <a:ext cx="14" cy="52"/>
                </a:xfrm>
                <a:custGeom>
                  <a:avLst/>
                  <a:gdLst>
                    <a:gd name="T0" fmla="*/ 53 w 59"/>
                    <a:gd name="T1" fmla="*/ 0 h 313"/>
                    <a:gd name="T2" fmla="*/ 0 w 59"/>
                    <a:gd name="T3" fmla="*/ 2 h 313"/>
                    <a:gd name="T4" fmla="*/ 6 w 59"/>
                    <a:gd name="T5" fmla="*/ 313 h 313"/>
                    <a:gd name="T6" fmla="*/ 59 w 59"/>
                    <a:gd name="T7" fmla="*/ 311 h 313"/>
                    <a:gd name="T8" fmla="*/ 53 w 59"/>
                    <a:gd name="T9" fmla="*/ 0 h 313"/>
                    <a:gd name="T10" fmla="*/ 0 60000 65536"/>
                    <a:gd name="T11" fmla="*/ 0 60000 65536"/>
                    <a:gd name="T12" fmla="*/ 0 60000 65536"/>
                    <a:gd name="T13" fmla="*/ 0 60000 65536"/>
                    <a:gd name="T14" fmla="*/ 0 60000 65536"/>
                    <a:gd name="T15" fmla="*/ 0 w 59"/>
                    <a:gd name="T16" fmla="*/ 0 h 313"/>
                    <a:gd name="T17" fmla="*/ 59 w 59"/>
                    <a:gd name="T18" fmla="*/ 313 h 313"/>
                  </a:gdLst>
                  <a:ahLst/>
                  <a:cxnLst>
                    <a:cxn ang="T10">
                      <a:pos x="T0" y="T1"/>
                    </a:cxn>
                    <a:cxn ang="T11">
                      <a:pos x="T2" y="T3"/>
                    </a:cxn>
                    <a:cxn ang="T12">
                      <a:pos x="T4" y="T5"/>
                    </a:cxn>
                    <a:cxn ang="T13">
                      <a:pos x="T6" y="T7"/>
                    </a:cxn>
                    <a:cxn ang="T14">
                      <a:pos x="T8" y="T9"/>
                    </a:cxn>
                  </a:cxnLst>
                  <a:rect l="T15" t="T16" r="T17" b="T18"/>
                  <a:pathLst>
                    <a:path w="59" h="313">
                      <a:moveTo>
                        <a:pt x="53" y="0"/>
                      </a:moveTo>
                      <a:lnTo>
                        <a:pt x="0" y="2"/>
                      </a:lnTo>
                      <a:lnTo>
                        <a:pt x="6" y="313"/>
                      </a:lnTo>
                      <a:lnTo>
                        <a:pt x="59" y="311"/>
                      </a:lnTo>
                      <a:lnTo>
                        <a:pt x="53" y="0"/>
                      </a:lnTo>
                      <a:close/>
                    </a:path>
                  </a:pathLst>
                </a:custGeom>
                <a:grpFill/>
                <a:ln w="9525">
                  <a:noFill/>
                  <a:round/>
                  <a:headEnd/>
                  <a:tailEnd/>
                </a:ln>
              </p:spPr>
              <p:txBody>
                <a:bodyPr/>
                <a:lstStyle/>
                <a:p>
                  <a:pPr fontAlgn="base">
                    <a:spcBef>
                      <a:spcPct val="0"/>
                    </a:spcBef>
                    <a:spcAft>
                      <a:spcPct val="0"/>
                    </a:spcAft>
                  </a:pPr>
                  <a:endParaRPr lang="de-DE" sz="1350" b="1">
                    <a:solidFill>
                      <a:srgbClr val="FAEDBE">
                        <a:lumMod val="10000"/>
                      </a:srgbClr>
                    </a:solidFill>
                  </a:endParaRPr>
                </a:p>
              </p:txBody>
            </p:sp>
            <p:sp>
              <p:nvSpPr>
                <p:cNvPr id="108" name="Freeform 102"/>
                <p:cNvSpPr>
                  <a:spLocks noChangeAspect="1"/>
                </p:cNvSpPr>
                <p:nvPr/>
              </p:nvSpPr>
              <p:spPr bwMode="gray">
                <a:xfrm>
                  <a:off x="1195" y="2091"/>
                  <a:ext cx="13" cy="12"/>
                </a:xfrm>
                <a:custGeom>
                  <a:avLst/>
                  <a:gdLst>
                    <a:gd name="T0" fmla="*/ 6 w 53"/>
                    <a:gd name="T1" fmla="*/ 44 h 72"/>
                    <a:gd name="T2" fmla="*/ 51 w 53"/>
                    <a:gd name="T3" fmla="*/ 0 h 72"/>
                    <a:gd name="T4" fmla="*/ 53 w 53"/>
                    <a:gd name="T5" fmla="*/ 57 h 72"/>
                    <a:gd name="T6" fmla="*/ 0 w 53"/>
                    <a:gd name="T7" fmla="*/ 59 h 72"/>
                    <a:gd name="T8" fmla="*/ 46 w 53"/>
                    <a:gd name="T9" fmla="*/ 72 h 72"/>
                    <a:gd name="T10" fmla="*/ 6 w 53"/>
                    <a:gd name="T11" fmla="*/ 44 h 72"/>
                    <a:gd name="T12" fmla="*/ 0 60000 65536"/>
                    <a:gd name="T13" fmla="*/ 0 60000 65536"/>
                    <a:gd name="T14" fmla="*/ 0 60000 65536"/>
                    <a:gd name="T15" fmla="*/ 0 60000 65536"/>
                    <a:gd name="T16" fmla="*/ 0 60000 65536"/>
                    <a:gd name="T17" fmla="*/ 0 60000 65536"/>
                    <a:gd name="T18" fmla="*/ 0 w 53"/>
                    <a:gd name="T19" fmla="*/ 0 h 72"/>
                    <a:gd name="T20" fmla="*/ 53 w 53"/>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53" h="72">
                      <a:moveTo>
                        <a:pt x="6" y="44"/>
                      </a:moveTo>
                      <a:lnTo>
                        <a:pt x="51" y="0"/>
                      </a:lnTo>
                      <a:lnTo>
                        <a:pt x="53" y="57"/>
                      </a:lnTo>
                      <a:lnTo>
                        <a:pt x="0" y="59"/>
                      </a:lnTo>
                      <a:lnTo>
                        <a:pt x="46" y="72"/>
                      </a:lnTo>
                      <a:lnTo>
                        <a:pt x="6" y="44"/>
                      </a:lnTo>
                      <a:close/>
                    </a:path>
                  </a:pathLst>
                </a:custGeom>
                <a:grpFill/>
                <a:ln w="9525">
                  <a:noFill/>
                  <a:round/>
                  <a:headEnd/>
                  <a:tailEnd/>
                </a:ln>
              </p:spPr>
              <p:txBody>
                <a:bodyPr/>
                <a:lstStyle/>
                <a:p>
                  <a:pPr fontAlgn="base">
                    <a:spcBef>
                      <a:spcPct val="0"/>
                    </a:spcBef>
                    <a:spcAft>
                      <a:spcPct val="0"/>
                    </a:spcAft>
                  </a:pPr>
                  <a:endParaRPr lang="de-DE" sz="1350" b="1">
                    <a:solidFill>
                      <a:srgbClr val="FAEDBE">
                        <a:lumMod val="10000"/>
                      </a:srgbClr>
                    </a:solidFill>
                  </a:endParaRPr>
                </a:p>
              </p:txBody>
            </p:sp>
            <p:sp>
              <p:nvSpPr>
                <p:cNvPr id="109" name="Freeform 103"/>
                <p:cNvSpPr>
                  <a:spLocks noChangeAspect="1"/>
                </p:cNvSpPr>
                <p:nvPr/>
              </p:nvSpPr>
              <p:spPr bwMode="gray">
                <a:xfrm>
                  <a:off x="1198" y="2096"/>
                  <a:ext cx="95" cy="58"/>
                </a:xfrm>
                <a:custGeom>
                  <a:avLst/>
                  <a:gdLst>
                    <a:gd name="T0" fmla="*/ 0 w 384"/>
                    <a:gd name="T1" fmla="*/ 322 h 349"/>
                    <a:gd name="T2" fmla="*/ 344 w 384"/>
                    <a:gd name="T3" fmla="*/ 0 h 349"/>
                    <a:gd name="T4" fmla="*/ 384 w 384"/>
                    <a:gd name="T5" fmla="*/ 27 h 349"/>
                    <a:gd name="T6" fmla="*/ 40 w 384"/>
                    <a:gd name="T7" fmla="*/ 349 h 349"/>
                    <a:gd name="T8" fmla="*/ 0 w 384"/>
                    <a:gd name="T9" fmla="*/ 322 h 349"/>
                    <a:gd name="T10" fmla="*/ 0 60000 65536"/>
                    <a:gd name="T11" fmla="*/ 0 60000 65536"/>
                    <a:gd name="T12" fmla="*/ 0 60000 65536"/>
                    <a:gd name="T13" fmla="*/ 0 60000 65536"/>
                    <a:gd name="T14" fmla="*/ 0 60000 65536"/>
                    <a:gd name="T15" fmla="*/ 0 w 384"/>
                    <a:gd name="T16" fmla="*/ 0 h 349"/>
                    <a:gd name="T17" fmla="*/ 384 w 384"/>
                    <a:gd name="T18" fmla="*/ 349 h 349"/>
                  </a:gdLst>
                  <a:ahLst/>
                  <a:cxnLst>
                    <a:cxn ang="T10">
                      <a:pos x="T0" y="T1"/>
                    </a:cxn>
                    <a:cxn ang="T11">
                      <a:pos x="T2" y="T3"/>
                    </a:cxn>
                    <a:cxn ang="T12">
                      <a:pos x="T4" y="T5"/>
                    </a:cxn>
                    <a:cxn ang="T13">
                      <a:pos x="T6" y="T7"/>
                    </a:cxn>
                    <a:cxn ang="T14">
                      <a:pos x="T8" y="T9"/>
                    </a:cxn>
                  </a:cxnLst>
                  <a:rect l="T15" t="T16" r="T17" b="T18"/>
                  <a:pathLst>
                    <a:path w="384" h="349">
                      <a:moveTo>
                        <a:pt x="0" y="322"/>
                      </a:moveTo>
                      <a:lnTo>
                        <a:pt x="344" y="0"/>
                      </a:lnTo>
                      <a:lnTo>
                        <a:pt x="384" y="27"/>
                      </a:lnTo>
                      <a:lnTo>
                        <a:pt x="40" y="349"/>
                      </a:lnTo>
                      <a:lnTo>
                        <a:pt x="0" y="322"/>
                      </a:lnTo>
                      <a:close/>
                    </a:path>
                  </a:pathLst>
                </a:custGeom>
                <a:grpFill/>
                <a:ln w="9525">
                  <a:noFill/>
                  <a:round/>
                  <a:headEnd/>
                  <a:tailEnd/>
                </a:ln>
              </p:spPr>
              <p:txBody>
                <a:bodyPr/>
                <a:lstStyle/>
                <a:p>
                  <a:pPr fontAlgn="base">
                    <a:spcBef>
                      <a:spcPct val="0"/>
                    </a:spcBef>
                    <a:spcAft>
                      <a:spcPct val="0"/>
                    </a:spcAft>
                  </a:pPr>
                  <a:endParaRPr lang="de-DE" sz="1350" b="1">
                    <a:solidFill>
                      <a:srgbClr val="FAEDBE">
                        <a:lumMod val="10000"/>
                      </a:srgbClr>
                    </a:solidFill>
                  </a:endParaRPr>
                </a:p>
              </p:txBody>
            </p:sp>
            <p:sp>
              <p:nvSpPr>
                <p:cNvPr id="110" name="Freeform 104"/>
                <p:cNvSpPr>
                  <a:spLocks noChangeAspect="1"/>
                </p:cNvSpPr>
                <p:nvPr/>
              </p:nvSpPr>
              <p:spPr bwMode="gray">
                <a:xfrm>
                  <a:off x="1197" y="2150"/>
                  <a:ext cx="12" cy="11"/>
                </a:xfrm>
                <a:custGeom>
                  <a:avLst/>
                  <a:gdLst>
                    <a:gd name="T0" fmla="*/ 0 w 53"/>
                    <a:gd name="T1" fmla="*/ 14 h 70"/>
                    <a:gd name="T2" fmla="*/ 2 w 53"/>
                    <a:gd name="T3" fmla="*/ 70 h 70"/>
                    <a:gd name="T4" fmla="*/ 47 w 53"/>
                    <a:gd name="T5" fmla="*/ 27 h 70"/>
                    <a:gd name="T6" fmla="*/ 7 w 53"/>
                    <a:gd name="T7" fmla="*/ 0 h 70"/>
                    <a:gd name="T8" fmla="*/ 53 w 53"/>
                    <a:gd name="T9" fmla="*/ 12 h 70"/>
                    <a:gd name="T10" fmla="*/ 0 w 53"/>
                    <a:gd name="T11" fmla="*/ 14 h 70"/>
                    <a:gd name="T12" fmla="*/ 0 60000 65536"/>
                    <a:gd name="T13" fmla="*/ 0 60000 65536"/>
                    <a:gd name="T14" fmla="*/ 0 60000 65536"/>
                    <a:gd name="T15" fmla="*/ 0 60000 65536"/>
                    <a:gd name="T16" fmla="*/ 0 60000 65536"/>
                    <a:gd name="T17" fmla="*/ 0 60000 65536"/>
                    <a:gd name="T18" fmla="*/ 0 w 53"/>
                    <a:gd name="T19" fmla="*/ 0 h 70"/>
                    <a:gd name="T20" fmla="*/ 53 w 53"/>
                    <a:gd name="T21" fmla="*/ 70 h 70"/>
                  </a:gdLst>
                  <a:ahLst/>
                  <a:cxnLst>
                    <a:cxn ang="T12">
                      <a:pos x="T0" y="T1"/>
                    </a:cxn>
                    <a:cxn ang="T13">
                      <a:pos x="T2" y="T3"/>
                    </a:cxn>
                    <a:cxn ang="T14">
                      <a:pos x="T4" y="T5"/>
                    </a:cxn>
                    <a:cxn ang="T15">
                      <a:pos x="T6" y="T7"/>
                    </a:cxn>
                    <a:cxn ang="T16">
                      <a:pos x="T8" y="T9"/>
                    </a:cxn>
                    <a:cxn ang="T17">
                      <a:pos x="T10" y="T11"/>
                    </a:cxn>
                  </a:cxnLst>
                  <a:rect l="T18" t="T19" r="T20" b="T21"/>
                  <a:pathLst>
                    <a:path w="53" h="70">
                      <a:moveTo>
                        <a:pt x="0" y="14"/>
                      </a:moveTo>
                      <a:lnTo>
                        <a:pt x="2" y="70"/>
                      </a:lnTo>
                      <a:lnTo>
                        <a:pt x="47" y="27"/>
                      </a:lnTo>
                      <a:lnTo>
                        <a:pt x="7" y="0"/>
                      </a:lnTo>
                      <a:lnTo>
                        <a:pt x="53" y="12"/>
                      </a:lnTo>
                      <a:lnTo>
                        <a:pt x="0" y="14"/>
                      </a:lnTo>
                      <a:close/>
                    </a:path>
                  </a:pathLst>
                </a:custGeom>
                <a:grpFill/>
                <a:ln w="9525">
                  <a:noFill/>
                  <a:round/>
                  <a:headEnd/>
                  <a:tailEnd/>
                </a:ln>
              </p:spPr>
              <p:txBody>
                <a:bodyPr/>
                <a:lstStyle/>
                <a:p>
                  <a:pPr fontAlgn="base">
                    <a:spcBef>
                      <a:spcPct val="0"/>
                    </a:spcBef>
                    <a:spcAft>
                      <a:spcPct val="0"/>
                    </a:spcAft>
                  </a:pPr>
                  <a:endParaRPr lang="de-DE" sz="1350" b="1">
                    <a:solidFill>
                      <a:srgbClr val="FAEDBE">
                        <a:lumMod val="10000"/>
                      </a:srgbClr>
                    </a:solidFill>
                  </a:endParaRPr>
                </a:p>
              </p:txBody>
            </p:sp>
            <p:sp>
              <p:nvSpPr>
                <p:cNvPr id="111" name="Freeform 105"/>
                <p:cNvSpPr>
                  <a:spLocks noChangeAspect="1"/>
                </p:cNvSpPr>
                <p:nvPr/>
              </p:nvSpPr>
              <p:spPr bwMode="gray">
                <a:xfrm>
                  <a:off x="1282" y="2099"/>
                  <a:ext cx="18" cy="52"/>
                </a:xfrm>
                <a:custGeom>
                  <a:avLst/>
                  <a:gdLst>
                    <a:gd name="T0" fmla="*/ 52 w 74"/>
                    <a:gd name="T1" fmla="*/ 0 h 318"/>
                    <a:gd name="T2" fmla="*/ 52 w 74"/>
                    <a:gd name="T3" fmla="*/ 18 h 318"/>
                    <a:gd name="T4" fmla="*/ 54 w 74"/>
                    <a:gd name="T5" fmla="*/ 52 h 318"/>
                    <a:gd name="T6" fmla="*/ 64 w 74"/>
                    <a:gd name="T7" fmla="*/ 152 h 318"/>
                    <a:gd name="T8" fmla="*/ 74 w 74"/>
                    <a:gd name="T9" fmla="*/ 254 h 318"/>
                    <a:gd name="T10" fmla="*/ 74 w 74"/>
                    <a:gd name="T11" fmla="*/ 293 h 318"/>
                    <a:gd name="T12" fmla="*/ 72 w 74"/>
                    <a:gd name="T13" fmla="*/ 318 h 318"/>
                    <a:gd name="T14" fmla="*/ 19 w 74"/>
                    <a:gd name="T15" fmla="*/ 315 h 318"/>
                    <a:gd name="T16" fmla="*/ 21 w 74"/>
                    <a:gd name="T17" fmla="*/ 292 h 318"/>
                    <a:gd name="T18" fmla="*/ 21 w 74"/>
                    <a:gd name="T19" fmla="*/ 257 h 318"/>
                    <a:gd name="T20" fmla="*/ 11 w 74"/>
                    <a:gd name="T21" fmla="*/ 154 h 318"/>
                    <a:gd name="T22" fmla="*/ 1 w 74"/>
                    <a:gd name="T23" fmla="*/ 54 h 318"/>
                    <a:gd name="T24" fmla="*/ 0 w 74"/>
                    <a:gd name="T25" fmla="*/ 19 h 318"/>
                    <a:gd name="T26" fmla="*/ 0 w 74"/>
                    <a:gd name="T27" fmla="*/ 0 h 318"/>
                    <a:gd name="T28" fmla="*/ 52 w 74"/>
                    <a:gd name="T29" fmla="*/ 0 h 3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4"/>
                    <a:gd name="T46" fmla="*/ 0 h 318"/>
                    <a:gd name="T47" fmla="*/ 74 w 74"/>
                    <a:gd name="T48" fmla="*/ 318 h 31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4" h="318">
                      <a:moveTo>
                        <a:pt x="52" y="0"/>
                      </a:moveTo>
                      <a:lnTo>
                        <a:pt x="52" y="18"/>
                      </a:lnTo>
                      <a:lnTo>
                        <a:pt x="54" y="52"/>
                      </a:lnTo>
                      <a:lnTo>
                        <a:pt x="64" y="152"/>
                      </a:lnTo>
                      <a:lnTo>
                        <a:pt x="74" y="254"/>
                      </a:lnTo>
                      <a:lnTo>
                        <a:pt x="74" y="293"/>
                      </a:lnTo>
                      <a:lnTo>
                        <a:pt x="72" y="318"/>
                      </a:lnTo>
                      <a:lnTo>
                        <a:pt x="19" y="315"/>
                      </a:lnTo>
                      <a:lnTo>
                        <a:pt x="21" y="292"/>
                      </a:lnTo>
                      <a:lnTo>
                        <a:pt x="21" y="257"/>
                      </a:lnTo>
                      <a:lnTo>
                        <a:pt x="11" y="154"/>
                      </a:lnTo>
                      <a:lnTo>
                        <a:pt x="1" y="54"/>
                      </a:lnTo>
                      <a:lnTo>
                        <a:pt x="0" y="19"/>
                      </a:lnTo>
                      <a:lnTo>
                        <a:pt x="0" y="0"/>
                      </a:lnTo>
                      <a:lnTo>
                        <a:pt x="52" y="0"/>
                      </a:lnTo>
                      <a:close/>
                    </a:path>
                  </a:pathLst>
                </a:custGeom>
                <a:grpFill/>
                <a:ln w="9525">
                  <a:noFill/>
                  <a:round/>
                  <a:headEnd/>
                  <a:tailEnd/>
                </a:ln>
              </p:spPr>
              <p:txBody>
                <a:bodyPr/>
                <a:lstStyle/>
                <a:p>
                  <a:pPr fontAlgn="base">
                    <a:spcBef>
                      <a:spcPct val="0"/>
                    </a:spcBef>
                    <a:spcAft>
                      <a:spcPct val="0"/>
                    </a:spcAft>
                  </a:pPr>
                  <a:endParaRPr lang="de-DE" sz="1350" b="1">
                    <a:solidFill>
                      <a:srgbClr val="FAEDBE">
                        <a:lumMod val="10000"/>
                      </a:srgbClr>
                    </a:solidFill>
                  </a:endParaRPr>
                </a:p>
              </p:txBody>
            </p:sp>
            <p:sp>
              <p:nvSpPr>
                <p:cNvPr id="112" name="Freeform 106"/>
                <p:cNvSpPr>
                  <a:spLocks noChangeAspect="1"/>
                </p:cNvSpPr>
                <p:nvPr/>
              </p:nvSpPr>
              <p:spPr bwMode="gray">
                <a:xfrm>
                  <a:off x="1282" y="2090"/>
                  <a:ext cx="12" cy="11"/>
                </a:xfrm>
                <a:custGeom>
                  <a:avLst/>
                  <a:gdLst>
                    <a:gd name="T0" fmla="*/ 6 w 52"/>
                    <a:gd name="T1" fmla="*/ 44 h 71"/>
                    <a:gd name="T2" fmla="*/ 52 w 52"/>
                    <a:gd name="T3" fmla="*/ 0 h 71"/>
                    <a:gd name="T4" fmla="*/ 52 w 52"/>
                    <a:gd name="T5" fmla="*/ 57 h 71"/>
                    <a:gd name="T6" fmla="*/ 0 w 52"/>
                    <a:gd name="T7" fmla="*/ 57 h 71"/>
                    <a:gd name="T8" fmla="*/ 46 w 52"/>
                    <a:gd name="T9" fmla="*/ 71 h 71"/>
                    <a:gd name="T10" fmla="*/ 6 w 52"/>
                    <a:gd name="T11" fmla="*/ 44 h 71"/>
                    <a:gd name="T12" fmla="*/ 0 60000 65536"/>
                    <a:gd name="T13" fmla="*/ 0 60000 65536"/>
                    <a:gd name="T14" fmla="*/ 0 60000 65536"/>
                    <a:gd name="T15" fmla="*/ 0 60000 65536"/>
                    <a:gd name="T16" fmla="*/ 0 60000 65536"/>
                    <a:gd name="T17" fmla="*/ 0 60000 65536"/>
                    <a:gd name="T18" fmla="*/ 0 w 52"/>
                    <a:gd name="T19" fmla="*/ 0 h 71"/>
                    <a:gd name="T20" fmla="*/ 52 w 52"/>
                    <a:gd name="T21" fmla="*/ 71 h 71"/>
                  </a:gdLst>
                  <a:ahLst/>
                  <a:cxnLst>
                    <a:cxn ang="T12">
                      <a:pos x="T0" y="T1"/>
                    </a:cxn>
                    <a:cxn ang="T13">
                      <a:pos x="T2" y="T3"/>
                    </a:cxn>
                    <a:cxn ang="T14">
                      <a:pos x="T4" y="T5"/>
                    </a:cxn>
                    <a:cxn ang="T15">
                      <a:pos x="T6" y="T7"/>
                    </a:cxn>
                    <a:cxn ang="T16">
                      <a:pos x="T8" y="T9"/>
                    </a:cxn>
                    <a:cxn ang="T17">
                      <a:pos x="T10" y="T11"/>
                    </a:cxn>
                  </a:cxnLst>
                  <a:rect l="T18" t="T19" r="T20" b="T21"/>
                  <a:pathLst>
                    <a:path w="52" h="71">
                      <a:moveTo>
                        <a:pt x="6" y="44"/>
                      </a:moveTo>
                      <a:lnTo>
                        <a:pt x="52" y="0"/>
                      </a:lnTo>
                      <a:lnTo>
                        <a:pt x="52" y="57"/>
                      </a:lnTo>
                      <a:lnTo>
                        <a:pt x="0" y="57"/>
                      </a:lnTo>
                      <a:lnTo>
                        <a:pt x="46" y="71"/>
                      </a:lnTo>
                      <a:lnTo>
                        <a:pt x="6" y="44"/>
                      </a:lnTo>
                      <a:close/>
                    </a:path>
                  </a:pathLst>
                </a:custGeom>
                <a:grpFill/>
                <a:ln w="9525">
                  <a:noFill/>
                  <a:round/>
                  <a:headEnd/>
                  <a:tailEnd/>
                </a:ln>
              </p:spPr>
              <p:txBody>
                <a:bodyPr/>
                <a:lstStyle/>
                <a:p>
                  <a:pPr fontAlgn="base">
                    <a:spcBef>
                      <a:spcPct val="0"/>
                    </a:spcBef>
                    <a:spcAft>
                      <a:spcPct val="0"/>
                    </a:spcAft>
                  </a:pPr>
                  <a:endParaRPr lang="de-DE" sz="1350" b="1">
                    <a:solidFill>
                      <a:srgbClr val="FAEDBE">
                        <a:lumMod val="10000"/>
                      </a:srgbClr>
                    </a:solidFill>
                  </a:endParaRPr>
                </a:p>
              </p:txBody>
            </p:sp>
            <p:sp>
              <p:nvSpPr>
                <p:cNvPr id="113" name="Freeform 107"/>
                <p:cNvSpPr>
                  <a:spLocks noChangeAspect="1"/>
                </p:cNvSpPr>
                <p:nvPr/>
              </p:nvSpPr>
              <p:spPr bwMode="gray">
                <a:xfrm>
                  <a:off x="1002" y="2149"/>
                  <a:ext cx="15" cy="110"/>
                </a:xfrm>
                <a:custGeom>
                  <a:avLst/>
                  <a:gdLst>
                    <a:gd name="T0" fmla="*/ 0 w 63"/>
                    <a:gd name="T1" fmla="*/ 669 h 669"/>
                    <a:gd name="T2" fmla="*/ 53 w 63"/>
                    <a:gd name="T3" fmla="*/ 669 h 669"/>
                    <a:gd name="T4" fmla="*/ 63 w 63"/>
                    <a:gd name="T5" fmla="*/ 0 h 669"/>
                    <a:gd name="T6" fmla="*/ 10 w 63"/>
                    <a:gd name="T7" fmla="*/ 0 h 669"/>
                    <a:gd name="T8" fmla="*/ 0 w 63"/>
                    <a:gd name="T9" fmla="*/ 669 h 669"/>
                    <a:gd name="T10" fmla="*/ 0 60000 65536"/>
                    <a:gd name="T11" fmla="*/ 0 60000 65536"/>
                    <a:gd name="T12" fmla="*/ 0 60000 65536"/>
                    <a:gd name="T13" fmla="*/ 0 60000 65536"/>
                    <a:gd name="T14" fmla="*/ 0 60000 65536"/>
                    <a:gd name="T15" fmla="*/ 0 w 63"/>
                    <a:gd name="T16" fmla="*/ 0 h 669"/>
                    <a:gd name="T17" fmla="*/ 63 w 63"/>
                    <a:gd name="T18" fmla="*/ 669 h 669"/>
                  </a:gdLst>
                  <a:ahLst/>
                  <a:cxnLst>
                    <a:cxn ang="T10">
                      <a:pos x="T0" y="T1"/>
                    </a:cxn>
                    <a:cxn ang="T11">
                      <a:pos x="T2" y="T3"/>
                    </a:cxn>
                    <a:cxn ang="T12">
                      <a:pos x="T4" y="T5"/>
                    </a:cxn>
                    <a:cxn ang="T13">
                      <a:pos x="T6" y="T7"/>
                    </a:cxn>
                    <a:cxn ang="T14">
                      <a:pos x="T8" y="T9"/>
                    </a:cxn>
                  </a:cxnLst>
                  <a:rect l="T15" t="T16" r="T17" b="T18"/>
                  <a:pathLst>
                    <a:path w="63" h="669">
                      <a:moveTo>
                        <a:pt x="0" y="669"/>
                      </a:moveTo>
                      <a:lnTo>
                        <a:pt x="53" y="669"/>
                      </a:lnTo>
                      <a:lnTo>
                        <a:pt x="63" y="0"/>
                      </a:lnTo>
                      <a:lnTo>
                        <a:pt x="10" y="0"/>
                      </a:lnTo>
                      <a:lnTo>
                        <a:pt x="0" y="669"/>
                      </a:lnTo>
                      <a:close/>
                    </a:path>
                  </a:pathLst>
                </a:custGeom>
                <a:grpFill/>
                <a:ln w="9525">
                  <a:noFill/>
                  <a:round/>
                  <a:headEnd/>
                  <a:tailEnd/>
                </a:ln>
              </p:spPr>
              <p:txBody>
                <a:bodyPr/>
                <a:lstStyle/>
                <a:p>
                  <a:pPr fontAlgn="base">
                    <a:spcBef>
                      <a:spcPct val="0"/>
                    </a:spcBef>
                    <a:spcAft>
                      <a:spcPct val="0"/>
                    </a:spcAft>
                  </a:pPr>
                  <a:endParaRPr lang="de-DE" sz="1350" b="1">
                    <a:solidFill>
                      <a:srgbClr val="FAEDBE">
                        <a:lumMod val="10000"/>
                      </a:srgbClr>
                    </a:solidFill>
                  </a:endParaRPr>
                </a:p>
              </p:txBody>
            </p:sp>
            <p:sp>
              <p:nvSpPr>
                <p:cNvPr id="114" name="Freeform 108"/>
                <p:cNvSpPr>
                  <a:spLocks noChangeAspect="1"/>
                </p:cNvSpPr>
                <p:nvPr/>
              </p:nvSpPr>
              <p:spPr bwMode="gray">
                <a:xfrm>
                  <a:off x="1004" y="2254"/>
                  <a:ext cx="13" cy="5"/>
                </a:xfrm>
                <a:custGeom>
                  <a:avLst/>
                  <a:gdLst>
                    <a:gd name="T0" fmla="*/ 0 w 53"/>
                    <a:gd name="T1" fmla="*/ 14 h 29"/>
                    <a:gd name="T2" fmla="*/ 0 w 53"/>
                    <a:gd name="T3" fmla="*/ 6 h 29"/>
                    <a:gd name="T4" fmla="*/ 9 w 53"/>
                    <a:gd name="T5" fmla="*/ 0 h 29"/>
                    <a:gd name="T6" fmla="*/ 45 w 53"/>
                    <a:gd name="T7" fmla="*/ 29 h 29"/>
                    <a:gd name="T8" fmla="*/ 53 w 53"/>
                    <a:gd name="T9" fmla="*/ 14 h 29"/>
                    <a:gd name="T10" fmla="*/ 0 w 53"/>
                    <a:gd name="T11" fmla="*/ 14 h 29"/>
                    <a:gd name="T12" fmla="*/ 0 60000 65536"/>
                    <a:gd name="T13" fmla="*/ 0 60000 65536"/>
                    <a:gd name="T14" fmla="*/ 0 60000 65536"/>
                    <a:gd name="T15" fmla="*/ 0 60000 65536"/>
                    <a:gd name="T16" fmla="*/ 0 60000 65536"/>
                    <a:gd name="T17" fmla="*/ 0 60000 65536"/>
                    <a:gd name="T18" fmla="*/ 0 w 53"/>
                    <a:gd name="T19" fmla="*/ 0 h 29"/>
                    <a:gd name="T20" fmla="*/ 53 w 53"/>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53" h="29">
                      <a:moveTo>
                        <a:pt x="0" y="14"/>
                      </a:moveTo>
                      <a:lnTo>
                        <a:pt x="0" y="6"/>
                      </a:lnTo>
                      <a:lnTo>
                        <a:pt x="9" y="0"/>
                      </a:lnTo>
                      <a:lnTo>
                        <a:pt x="45" y="29"/>
                      </a:lnTo>
                      <a:lnTo>
                        <a:pt x="53" y="14"/>
                      </a:lnTo>
                      <a:lnTo>
                        <a:pt x="0" y="14"/>
                      </a:lnTo>
                      <a:close/>
                    </a:path>
                  </a:pathLst>
                </a:custGeom>
                <a:grpFill/>
                <a:ln w="9525">
                  <a:noFill/>
                  <a:round/>
                  <a:headEnd/>
                  <a:tailEnd/>
                </a:ln>
              </p:spPr>
              <p:txBody>
                <a:bodyPr/>
                <a:lstStyle/>
                <a:p>
                  <a:pPr fontAlgn="base">
                    <a:spcBef>
                      <a:spcPct val="0"/>
                    </a:spcBef>
                    <a:spcAft>
                      <a:spcPct val="0"/>
                    </a:spcAft>
                  </a:pPr>
                  <a:endParaRPr lang="de-DE" sz="1350" b="1">
                    <a:solidFill>
                      <a:srgbClr val="FAEDBE">
                        <a:lumMod val="10000"/>
                      </a:srgbClr>
                    </a:solidFill>
                  </a:endParaRPr>
                </a:p>
              </p:txBody>
            </p:sp>
          </p:grpSp>
          <p:sp>
            <p:nvSpPr>
              <p:cNvPr id="100" name="Freeform 109"/>
              <p:cNvSpPr>
                <a:spLocks noChangeAspect="1"/>
              </p:cNvSpPr>
              <p:nvPr/>
            </p:nvSpPr>
            <p:spPr bwMode="gray">
              <a:xfrm>
                <a:off x="992" y="1921"/>
                <a:ext cx="271" cy="83"/>
              </a:xfrm>
              <a:custGeom>
                <a:avLst/>
                <a:gdLst>
                  <a:gd name="T0" fmla="*/ 1052 w 1267"/>
                  <a:gd name="T1" fmla="*/ 224 h 338"/>
                  <a:gd name="T2" fmla="*/ 1008 w 1267"/>
                  <a:gd name="T3" fmla="*/ 221 h 338"/>
                  <a:gd name="T4" fmla="*/ 970 w 1267"/>
                  <a:gd name="T5" fmla="*/ 210 h 338"/>
                  <a:gd name="T6" fmla="*/ 938 w 1267"/>
                  <a:gd name="T7" fmla="*/ 195 h 338"/>
                  <a:gd name="T8" fmla="*/ 908 w 1267"/>
                  <a:gd name="T9" fmla="*/ 178 h 338"/>
                  <a:gd name="T10" fmla="*/ 872 w 1267"/>
                  <a:gd name="T11" fmla="*/ 154 h 338"/>
                  <a:gd name="T12" fmla="*/ 819 w 1267"/>
                  <a:gd name="T13" fmla="*/ 125 h 338"/>
                  <a:gd name="T14" fmla="*/ 752 w 1267"/>
                  <a:gd name="T15" fmla="*/ 116 h 338"/>
                  <a:gd name="T16" fmla="*/ 675 w 1267"/>
                  <a:gd name="T17" fmla="*/ 131 h 338"/>
                  <a:gd name="T18" fmla="*/ 627 w 1267"/>
                  <a:gd name="T19" fmla="*/ 164 h 338"/>
                  <a:gd name="T20" fmla="*/ 593 w 1267"/>
                  <a:gd name="T21" fmla="*/ 208 h 338"/>
                  <a:gd name="T22" fmla="*/ 555 w 1267"/>
                  <a:gd name="T23" fmla="*/ 258 h 338"/>
                  <a:gd name="T24" fmla="*/ 496 w 1267"/>
                  <a:gd name="T25" fmla="*/ 299 h 338"/>
                  <a:gd name="T26" fmla="*/ 418 w 1267"/>
                  <a:gd name="T27" fmla="*/ 318 h 338"/>
                  <a:gd name="T28" fmla="*/ 371 w 1267"/>
                  <a:gd name="T29" fmla="*/ 318 h 338"/>
                  <a:gd name="T30" fmla="*/ 330 w 1267"/>
                  <a:gd name="T31" fmla="*/ 310 h 338"/>
                  <a:gd name="T32" fmla="*/ 293 w 1267"/>
                  <a:gd name="T33" fmla="*/ 295 h 338"/>
                  <a:gd name="T34" fmla="*/ 261 w 1267"/>
                  <a:gd name="T35" fmla="*/ 277 h 338"/>
                  <a:gd name="T36" fmla="*/ 231 w 1267"/>
                  <a:gd name="T37" fmla="*/ 258 h 338"/>
                  <a:gd name="T38" fmla="*/ 186 w 1267"/>
                  <a:gd name="T39" fmla="*/ 230 h 338"/>
                  <a:gd name="T40" fmla="*/ 140 w 1267"/>
                  <a:gd name="T41" fmla="*/ 217 h 338"/>
                  <a:gd name="T42" fmla="*/ 76 w 1267"/>
                  <a:gd name="T43" fmla="*/ 231 h 338"/>
                  <a:gd name="T44" fmla="*/ 26 w 1267"/>
                  <a:gd name="T45" fmla="*/ 285 h 338"/>
                  <a:gd name="T46" fmla="*/ 2 w 1267"/>
                  <a:gd name="T47" fmla="*/ 334 h 338"/>
                  <a:gd name="T48" fmla="*/ 0 w 1267"/>
                  <a:gd name="T49" fmla="*/ 306 h 338"/>
                  <a:gd name="T50" fmla="*/ 21 w 1267"/>
                  <a:gd name="T51" fmla="*/ 194 h 338"/>
                  <a:gd name="T52" fmla="*/ 104 w 1267"/>
                  <a:gd name="T53" fmla="*/ 109 h 338"/>
                  <a:gd name="T54" fmla="*/ 175 w 1267"/>
                  <a:gd name="T55" fmla="*/ 106 h 338"/>
                  <a:gd name="T56" fmla="*/ 220 w 1267"/>
                  <a:gd name="T57" fmla="*/ 129 h 338"/>
                  <a:gd name="T58" fmla="*/ 271 w 1267"/>
                  <a:gd name="T59" fmla="*/ 163 h 338"/>
                  <a:gd name="T60" fmla="*/ 325 w 1267"/>
                  <a:gd name="T61" fmla="*/ 192 h 338"/>
                  <a:gd name="T62" fmla="*/ 390 w 1267"/>
                  <a:gd name="T63" fmla="*/ 202 h 338"/>
                  <a:gd name="T64" fmla="*/ 459 w 1267"/>
                  <a:gd name="T65" fmla="*/ 189 h 338"/>
                  <a:gd name="T66" fmla="*/ 504 w 1267"/>
                  <a:gd name="T67" fmla="*/ 156 h 338"/>
                  <a:gd name="T68" fmla="*/ 536 w 1267"/>
                  <a:gd name="T69" fmla="*/ 115 h 338"/>
                  <a:gd name="T70" fmla="*/ 576 w 1267"/>
                  <a:gd name="T71" fmla="*/ 63 h 338"/>
                  <a:gd name="T72" fmla="*/ 640 w 1267"/>
                  <a:gd name="T73" fmla="*/ 19 h 338"/>
                  <a:gd name="T74" fmla="*/ 722 w 1267"/>
                  <a:gd name="T75" fmla="*/ 0 h 338"/>
                  <a:gd name="T76" fmla="*/ 772 w 1267"/>
                  <a:gd name="T77" fmla="*/ 1 h 338"/>
                  <a:gd name="T78" fmla="*/ 815 w 1267"/>
                  <a:gd name="T79" fmla="*/ 9 h 338"/>
                  <a:gd name="T80" fmla="*/ 851 w 1267"/>
                  <a:gd name="T81" fmla="*/ 23 h 338"/>
                  <a:gd name="T82" fmla="*/ 883 w 1267"/>
                  <a:gd name="T83" fmla="*/ 41 h 338"/>
                  <a:gd name="T84" fmla="*/ 911 w 1267"/>
                  <a:gd name="T85" fmla="*/ 59 h 338"/>
                  <a:gd name="T86" fmla="*/ 961 w 1267"/>
                  <a:gd name="T87" fmla="*/ 88 h 338"/>
                  <a:gd name="T88" fmla="*/ 1017 w 1267"/>
                  <a:gd name="T89" fmla="*/ 106 h 338"/>
                  <a:gd name="T90" fmla="*/ 1079 w 1267"/>
                  <a:gd name="T91" fmla="*/ 103 h 338"/>
                  <a:gd name="T92" fmla="*/ 1126 w 1267"/>
                  <a:gd name="T93" fmla="*/ 93 h 338"/>
                  <a:gd name="T94" fmla="*/ 1170 w 1267"/>
                  <a:gd name="T95" fmla="*/ 76 h 338"/>
                  <a:gd name="T96" fmla="*/ 1210 w 1267"/>
                  <a:gd name="T97" fmla="*/ 55 h 338"/>
                  <a:gd name="T98" fmla="*/ 1243 w 1267"/>
                  <a:gd name="T99" fmla="*/ 32 h 338"/>
                  <a:gd name="T100" fmla="*/ 1267 w 1267"/>
                  <a:gd name="T101" fmla="*/ 11 h 338"/>
                  <a:gd name="T102" fmla="*/ 1253 w 1267"/>
                  <a:gd name="T103" fmla="*/ 95 h 338"/>
                  <a:gd name="T104" fmla="*/ 1225 w 1267"/>
                  <a:gd name="T105" fmla="*/ 144 h 338"/>
                  <a:gd name="T106" fmla="*/ 1170 w 1267"/>
                  <a:gd name="T107" fmla="*/ 192 h 338"/>
                  <a:gd name="T108" fmla="*/ 1085 w 1267"/>
                  <a:gd name="T109" fmla="*/ 221 h 3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67"/>
                  <a:gd name="T166" fmla="*/ 0 h 338"/>
                  <a:gd name="T167" fmla="*/ 1267 w 1267"/>
                  <a:gd name="T168" fmla="*/ 338 h 3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67" h="338">
                    <a:moveTo>
                      <a:pt x="1085" y="221"/>
                    </a:moveTo>
                    <a:lnTo>
                      <a:pt x="1068" y="223"/>
                    </a:lnTo>
                    <a:lnTo>
                      <a:pt x="1052" y="224"/>
                    </a:lnTo>
                    <a:lnTo>
                      <a:pt x="1037" y="223"/>
                    </a:lnTo>
                    <a:lnTo>
                      <a:pt x="1022" y="222"/>
                    </a:lnTo>
                    <a:lnTo>
                      <a:pt x="1008" y="221"/>
                    </a:lnTo>
                    <a:lnTo>
                      <a:pt x="995" y="217"/>
                    </a:lnTo>
                    <a:lnTo>
                      <a:pt x="983" y="215"/>
                    </a:lnTo>
                    <a:lnTo>
                      <a:pt x="970" y="210"/>
                    </a:lnTo>
                    <a:lnTo>
                      <a:pt x="959" y="206"/>
                    </a:lnTo>
                    <a:lnTo>
                      <a:pt x="948" y="201"/>
                    </a:lnTo>
                    <a:lnTo>
                      <a:pt x="938" y="195"/>
                    </a:lnTo>
                    <a:lnTo>
                      <a:pt x="927" y="190"/>
                    </a:lnTo>
                    <a:lnTo>
                      <a:pt x="917" y="184"/>
                    </a:lnTo>
                    <a:lnTo>
                      <a:pt x="908" y="178"/>
                    </a:lnTo>
                    <a:lnTo>
                      <a:pt x="899" y="171"/>
                    </a:lnTo>
                    <a:lnTo>
                      <a:pt x="889" y="165"/>
                    </a:lnTo>
                    <a:lnTo>
                      <a:pt x="872" y="154"/>
                    </a:lnTo>
                    <a:lnTo>
                      <a:pt x="855" y="142"/>
                    </a:lnTo>
                    <a:lnTo>
                      <a:pt x="838" y="133"/>
                    </a:lnTo>
                    <a:lnTo>
                      <a:pt x="819" y="125"/>
                    </a:lnTo>
                    <a:lnTo>
                      <a:pt x="800" y="119"/>
                    </a:lnTo>
                    <a:lnTo>
                      <a:pt x="777" y="116"/>
                    </a:lnTo>
                    <a:lnTo>
                      <a:pt x="752" y="116"/>
                    </a:lnTo>
                    <a:lnTo>
                      <a:pt x="725" y="118"/>
                    </a:lnTo>
                    <a:lnTo>
                      <a:pt x="698" y="124"/>
                    </a:lnTo>
                    <a:lnTo>
                      <a:pt x="675" y="131"/>
                    </a:lnTo>
                    <a:lnTo>
                      <a:pt x="657" y="140"/>
                    </a:lnTo>
                    <a:lnTo>
                      <a:pt x="641" y="152"/>
                    </a:lnTo>
                    <a:lnTo>
                      <a:pt x="627" y="164"/>
                    </a:lnTo>
                    <a:lnTo>
                      <a:pt x="615" y="178"/>
                    </a:lnTo>
                    <a:lnTo>
                      <a:pt x="604" y="192"/>
                    </a:lnTo>
                    <a:lnTo>
                      <a:pt x="593" y="208"/>
                    </a:lnTo>
                    <a:lnTo>
                      <a:pt x="582" y="224"/>
                    </a:lnTo>
                    <a:lnTo>
                      <a:pt x="569" y="242"/>
                    </a:lnTo>
                    <a:lnTo>
                      <a:pt x="555" y="258"/>
                    </a:lnTo>
                    <a:lnTo>
                      <a:pt x="538" y="274"/>
                    </a:lnTo>
                    <a:lnTo>
                      <a:pt x="519" y="288"/>
                    </a:lnTo>
                    <a:lnTo>
                      <a:pt x="496" y="299"/>
                    </a:lnTo>
                    <a:lnTo>
                      <a:pt x="468" y="308"/>
                    </a:lnTo>
                    <a:lnTo>
                      <a:pt x="436" y="315"/>
                    </a:lnTo>
                    <a:lnTo>
                      <a:pt x="418" y="318"/>
                    </a:lnTo>
                    <a:lnTo>
                      <a:pt x="401" y="319"/>
                    </a:lnTo>
                    <a:lnTo>
                      <a:pt x="386" y="319"/>
                    </a:lnTo>
                    <a:lnTo>
                      <a:pt x="371" y="318"/>
                    </a:lnTo>
                    <a:lnTo>
                      <a:pt x="356" y="315"/>
                    </a:lnTo>
                    <a:lnTo>
                      <a:pt x="342" y="313"/>
                    </a:lnTo>
                    <a:lnTo>
                      <a:pt x="330" y="310"/>
                    </a:lnTo>
                    <a:lnTo>
                      <a:pt x="317" y="305"/>
                    </a:lnTo>
                    <a:lnTo>
                      <a:pt x="304" y="300"/>
                    </a:lnTo>
                    <a:lnTo>
                      <a:pt x="293" y="295"/>
                    </a:lnTo>
                    <a:lnTo>
                      <a:pt x="283" y="290"/>
                    </a:lnTo>
                    <a:lnTo>
                      <a:pt x="271" y="283"/>
                    </a:lnTo>
                    <a:lnTo>
                      <a:pt x="261" y="277"/>
                    </a:lnTo>
                    <a:lnTo>
                      <a:pt x="250" y="270"/>
                    </a:lnTo>
                    <a:lnTo>
                      <a:pt x="241" y="265"/>
                    </a:lnTo>
                    <a:lnTo>
                      <a:pt x="231" y="258"/>
                    </a:lnTo>
                    <a:lnTo>
                      <a:pt x="215" y="247"/>
                    </a:lnTo>
                    <a:lnTo>
                      <a:pt x="200" y="238"/>
                    </a:lnTo>
                    <a:lnTo>
                      <a:pt x="186" y="230"/>
                    </a:lnTo>
                    <a:lnTo>
                      <a:pt x="172" y="224"/>
                    </a:lnTo>
                    <a:lnTo>
                      <a:pt x="157" y="220"/>
                    </a:lnTo>
                    <a:lnTo>
                      <a:pt x="140" y="217"/>
                    </a:lnTo>
                    <a:lnTo>
                      <a:pt x="121" y="218"/>
                    </a:lnTo>
                    <a:lnTo>
                      <a:pt x="99" y="222"/>
                    </a:lnTo>
                    <a:lnTo>
                      <a:pt x="76" y="231"/>
                    </a:lnTo>
                    <a:lnTo>
                      <a:pt x="57" y="246"/>
                    </a:lnTo>
                    <a:lnTo>
                      <a:pt x="40" y="266"/>
                    </a:lnTo>
                    <a:lnTo>
                      <a:pt x="26" y="285"/>
                    </a:lnTo>
                    <a:lnTo>
                      <a:pt x="14" y="305"/>
                    </a:lnTo>
                    <a:lnTo>
                      <a:pt x="6" y="322"/>
                    </a:lnTo>
                    <a:lnTo>
                      <a:pt x="2" y="334"/>
                    </a:lnTo>
                    <a:lnTo>
                      <a:pt x="0" y="338"/>
                    </a:lnTo>
                    <a:lnTo>
                      <a:pt x="0" y="329"/>
                    </a:lnTo>
                    <a:lnTo>
                      <a:pt x="0" y="306"/>
                    </a:lnTo>
                    <a:lnTo>
                      <a:pt x="4" y="273"/>
                    </a:lnTo>
                    <a:lnTo>
                      <a:pt x="10" y="233"/>
                    </a:lnTo>
                    <a:lnTo>
                      <a:pt x="21" y="194"/>
                    </a:lnTo>
                    <a:lnTo>
                      <a:pt x="41" y="156"/>
                    </a:lnTo>
                    <a:lnTo>
                      <a:pt x="67" y="126"/>
                    </a:lnTo>
                    <a:lnTo>
                      <a:pt x="104" y="109"/>
                    </a:lnTo>
                    <a:lnTo>
                      <a:pt x="133" y="104"/>
                    </a:lnTo>
                    <a:lnTo>
                      <a:pt x="156" y="103"/>
                    </a:lnTo>
                    <a:lnTo>
                      <a:pt x="175" y="106"/>
                    </a:lnTo>
                    <a:lnTo>
                      <a:pt x="192" y="111"/>
                    </a:lnTo>
                    <a:lnTo>
                      <a:pt x="207" y="119"/>
                    </a:lnTo>
                    <a:lnTo>
                      <a:pt x="220" y="129"/>
                    </a:lnTo>
                    <a:lnTo>
                      <a:pt x="235" y="140"/>
                    </a:lnTo>
                    <a:lnTo>
                      <a:pt x="253" y="152"/>
                    </a:lnTo>
                    <a:lnTo>
                      <a:pt x="271" y="163"/>
                    </a:lnTo>
                    <a:lnTo>
                      <a:pt x="288" y="175"/>
                    </a:lnTo>
                    <a:lnTo>
                      <a:pt x="306" y="184"/>
                    </a:lnTo>
                    <a:lnTo>
                      <a:pt x="325" y="192"/>
                    </a:lnTo>
                    <a:lnTo>
                      <a:pt x="345" y="198"/>
                    </a:lnTo>
                    <a:lnTo>
                      <a:pt x="365" y="201"/>
                    </a:lnTo>
                    <a:lnTo>
                      <a:pt x="390" y="202"/>
                    </a:lnTo>
                    <a:lnTo>
                      <a:pt x="415" y="200"/>
                    </a:lnTo>
                    <a:lnTo>
                      <a:pt x="439" y="195"/>
                    </a:lnTo>
                    <a:lnTo>
                      <a:pt x="459" y="189"/>
                    </a:lnTo>
                    <a:lnTo>
                      <a:pt x="476" y="179"/>
                    </a:lnTo>
                    <a:lnTo>
                      <a:pt x="491" y="169"/>
                    </a:lnTo>
                    <a:lnTo>
                      <a:pt x="504" y="156"/>
                    </a:lnTo>
                    <a:lnTo>
                      <a:pt x="515" y="144"/>
                    </a:lnTo>
                    <a:lnTo>
                      <a:pt x="526" y="130"/>
                    </a:lnTo>
                    <a:lnTo>
                      <a:pt x="536" y="115"/>
                    </a:lnTo>
                    <a:lnTo>
                      <a:pt x="547" y="97"/>
                    </a:lnTo>
                    <a:lnTo>
                      <a:pt x="561" y="80"/>
                    </a:lnTo>
                    <a:lnTo>
                      <a:pt x="576" y="63"/>
                    </a:lnTo>
                    <a:lnTo>
                      <a:pt x="593" y="47"/>
                    </a:lnTo>
                    <a:lnTo>
                      <a:pt x="614" y="32"/>
                    </a:lnTo>
                    <a:lnTo>
                      <a:pt x="640" y="19"/>
                    </a:lnTo>
                    <a:lnTo>
                      <a:pt x="669" y="9"/>
                    </a:lnTo>
                    <a:lnTo>
                      <a:pt x="704" y="2"/>
                    </a:lnTo>
                    <a:lnTo>
                      <a:pt x="722" y="0"/>
                    </a:lnTo>
                    <a:lnTo>
                      <a:pt x="740" y="0"/>
                    </a:lnTo>
                    <a:lnTo>
                      <a:pt x="757" y="0"/>
                    </a:lnTo>
                    <a:lnTo>
                      <a:pt x="772" y="1"/>
                    </a:lnTo>
                    <a:lnTo>
                      <a:pt x="787" y="2"/>
                    </a:lnTo>
                    <a:lnTo>
                      <a:pt x="802" y="5"/>
                    </a:lnTo>
                    <a:lnTo>
                      <a:pt x="815" y="9"/>
                    </a:lnTo>
                    <a:lnTo>
                      <a:pt x="827" y="13"/>
                    </a:lnTo>
                    <a:lnTo>
                      <a:pt x="840" y="18"/>
                    </a:lnTo>
                    <a:lnTo>
                      <a:pt x="851" y="23"/>
                    </a:lnTo>
                    <a:lnTo>
                      <a:pt x="862" y="28"/>
                    </a:lnTo>
                    <a:lnTo>
                      <a:pt x="873" y="34"/>
                    </a:lnTo>
                    <a:lnTo>
                      <a:pt x="883" y="41"/>
                    </a:lnTo>
                    <a:lnTo>
                      <a:pt x="893" y="47"/>
                    </a:lnTo>
                    <a:lnTo>
                      <a:pt x="902" y="54"/>
                    </a:lnTo>
                    <a:lnTo>
                      <a:pt x="911" y="59"/>
                    </a:lnTo>
                    <a:lnTo>
                      <a:pt x="927" y="70"/>
                    </a:lnTo>
                    <a:lnTo>
                      <a:pt x="945" y="80"/>
                    </a:lnTo>
                    <a:lnTo>
                      <a:pt x="961" y="88"/>
                    </a:lnTo>
                    <a:lnTo>
                      <a:pt x="978" y="96"/>
                    </a:lnTo>
                    <a:lnTo>
                      <a:pt x="997" y="101"/>
                    </a:lnTo>
                    <a:lnTo>
                      <a:pt x="1017" y="106"/>
                    </a:lnTo>
                    <a:lnTo>
                      <a:pt x="1039" y="107"/>
                    </a:lnTo>
                    <a:lnTo>
                      <a:pt x="1065" y="106"/>
                    </a:lnTo>
                    <a:lnTo>
                      <a:pt x="1079" y="103"/>
                    </a:lnTo>
                    <a:lnTo>
                      <a:pt x="1096" y="101"/>
                    </a:lnTo>
                    <a:lnTo>
                      <a:pt x="1111" y="97"/>
                    </a:lnTo>
                    <a:lnTo>
                      <a:pt x="1126" y="93"/>
                    </a:lnTo>
                    <a:lnTo>
                      <a:pt x="1141" y="87"/>
                    </a:lnTo>
                    <a:lnTo>
                      <a:pt x="1155" y="81"/>
                    </a:lnTo>
                    <a:lnTo>
                      <a:pt x="1170" y="76"/>
                    </a:lnTo>
                    <a:lnTo>
                      <a:pt x="1184" y="69"/>
                    </a:lnTo>
                    <a:lnTo>
                      <a:pt x="1197" y="62"/>
                    </a:lnTo>
                    <a:lnTo>
                      <a:pt x="1210" y="55"/>
                    </a:lnTo>
                    <a:lnTo>
                      <a:pt x="1222" y="47"/>
                    </a:lnTo>
                    <a:lnTo>
                      <a:pt x="1234" y="40"/>
                    </a:lnTo>
                    <a:lnTo>
                      <a:pt x="1243" y="32"/>
                    </a:lnTo>
                    <a:lnTo>
                      <a:pt x="1252" y="25"/>
                    </a:lnTo>
                    <a:lnTo>
                      <a:pt x="1260" y="18"/>
                    </a:lnTo>
                    <a:lnTo>
                      <a:pt x="1267" y="11"/>
                    </a:lnTo>
                    <a:lnTo>
                      <a:pt x="1263" y="40"/>
                    </a:lnTo>
                    <a:lnTo>
                      <a:pt x="1258" y="70"/>
                    </a:lnTo>
                    <a:lnTo>
                      <a:pt x="1253" y="95"/>
                    </a:lnTo>
                    <a:lnTo>
                      <a:pt x="1250" y="109"/>
                    </a:lnTo>
                    <a:lnTo>
                      <a:pt x="1237" y="126"/>
                    </a:lnTo>
                    <a:lnTo>
                      <a:pt x="1225" y="144"/>
                    </a:lnTo>
                    <a:lnTo>
                      <a:pt x="1208" y="161"/>
                    </a:lnTo>
                    <a:lnTo>
                      <a:pt x="1191" y="177"/>
                    </a:lnTo>
                    <a:lnTo>
                      <a:pt x="1170" y="192"/>
                    </a:lnTo>
                    <a:lnTo>
                      <a:pt x="1146" y="204"/>
                    </a:lnTo>
                    <a:lnTo>
                      <a:pt x="1119" y="214"/>
                    </a:lnTo>
                    <a:lnTo>
                      <a:pt x="1085" y="221"/>
                    </a:lnTo>
                    <a:close/>
                  </a:path>
                </a:pathLst>
              </a:custGeom>
              <a:grpFill/>
              <a:ln w="9525">
                <a:noFill/>
                <a:round/>
                <a:headEnd/>
                <a:tailEnd/>
              </a:ln>
            </p:spPr>
            <p:txBody>
              <a:bodyPr/>
              <a:lstStyle/>
              <a:p>
                <a:pPr fontAlgn="base">
                  <a:spcBef>
                    <a:spcPct val="0"/>
                  </a:spcBef>
                  <a:spcAft>
                    <a:spcPct val="0"/>
                  </a:spcAft>
                </a:pPr>
                <a:endParaRPr lang="de-DE" sz="1350" b="1">
                  <a:solidFill>
                    <a:srgbClr val="FAEDBE">
                      <a:lumMod val="10000"/>
                    </a:srgbClr>
                  </a:solidFill>
                </a:endParaRPr>
              </a:p>
            </p:txBody>
          </p:sp>
        </p:grpSp>
        <p:sp>
          <p:nvSpPr>
            <p:cNvPr id="115" name="Rectangle 114"/>
            <p:cNvSpPr/>
            <p:nvPr/>
          </p:nvSpPr>
          <p:spPr>
            <a:xfrm>
              <a:off x="273203" y="3264909"/>
              <a:ext cx="2713521" cy="738551"/>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16" name="Rectangle 115"/>
            <p:cNvSpPr/>
            <p:nvPr/>
          </p:nvSpPr>
          <p:spPr>
            <a:xfrm>
              <a:off x="335276" y="3461865"/>
              <a:ext cx="2519211" cy="477054"/>
            </a:xfrm>
            <a:prstGeom prst="rect">
              <a:avLst/>
            </a:prstGeom>
            <a:noFill/>
            <a:ln>
              <a:noFill/>
            </a:ln>
          </p:spPr>
          <p:txBody>
            <a:bodyPr wrap="square">
              <a:spAutoFit/>
            </a:bodyPr>
            <a:lstStyle/>
            <a:p>
              <a:pPr algn="ctr">
                <a:lnSpc>
                  <a:spcPts val="3000"/>
                </a:lnSpc>
              </a:pPr>
              <a:r>
                <a:rPr lang="en-US" sz="4000" b="1" dirty="0" smtClean="0">
                  <a:solidFill>
                    <a:schemeClr val="bg1"/>
                  </a:solidFill>
                  <a:cs typeface="Arial" panose="020B0604020202020204" pitchFamily="34" charset="0"/>
                </a:rPr>
                <a:t>TODAY</a:t>
              </a:r>
              <a:endParaRPr lang="en-US" sz="4000" b="1" dirty="0">
                <a:solidFill>
                  <a:schemeClr val="bg1"/>
                </a:solidFill>
                <a:cs typeface="Arial" panose="020B0604020202020204" pitchFamily="34" charset="0"/>
              </a:endParaRPr>
            </a:p>
          </p:txBody>
        </p:sp>
        <p:sp>
          <p:nvSpPr>
            <p:cNvPr id="117" name="AutoShape 9"/>
            <p:cNvSpPr>
              <a:spLocks noChangeArrowheads="1"/>
            </p:cNvSpPr>
            <p:nvPr>
              <p:custDataLst>
                <p:tags r:id="rId16"/>
              </p:custDataLst>
            </p:nvPr>
          </p:nvSpPr>
          <p:spPr bwMode="gray">
            <a:xfrm>
              <a:off x="388683" y="4191263"/>
              <a:ext cx="2488863" cy="383463"/>
            </a:xfrm>
            <a:prstGeom prst="leftRightArrow">
              <a:avLst>
                <a:gd name="adj1" fmla="val 100000"/>
                <a:gd name="adj2" fmla="val 0"/>
              </a:avLst>
            </a:prstGeom>
            <a:noFill/>
            <a:ln w="9525">
              <a:noFill/>
              <a:miter lim="800000"/>
              <a:headEnd/>
              <a:tailEnd/>
            </a:ln>
          </p:spPr>
          <p:txBody>
            <a:bodyPr wrap="square" lIns="0" tIns="0" rIns="0" bIns="13994" anchor="b">
              <a:spAutoFit/>
            </a:bodyPr>
            <a:lstStyle/>
            <a:p>
              <a:pPr fontAlgn="base">
                <a:spcBef>
                  <a:spcPct val="0"/>
                </a:spcBef>
                <a:spcAft>
                  <a:spcPct val="0"/>
                </a:spcAft>
              </a:pPr>
              <a:r>
                <a:rPr lang="en-US" altLang="zh-CN" sz="1200" b="1" dirty="0" smtClean="0">
                  <a:solidFill>
                    <a:schemeClr val="bg1"/>
                  </a:solidFill>
                  <a:ea typeface="SimSun" pitchFamily="2" charset="-122"/>
                  <a:cs typeface="Arial" panose="020B0604020202020204" pitchFamily="34" charset="0"/>
                </a:rPr>
                <a:t>Total population </a:t>
              </a:r>
              <a:r>
                <a:rPr lang="en-US" altLang="zh-CN" sz="1200" b="1" dirty="0">
                  <a:solidFill>
                    <a:schemeClr val="bg1"/>
                  </a:solidFill>
                  <a:ea typeface="SimSun" pitchFamily="2" charset="-122"/>
                  <a:cs typeface="Arial" panose="020B0604020202020204" pitchFamily="34" charset="0"/>
                </a:rPr>
                <a:t>l</a:t>
              </a:r>
              <a:r>
                <a:rPr lang="en-US" altLang="zh-CN" sz="1200" b="1" dirty="0" smtClean="0">
                  <a:solidFill>
                    <a:schemeClr val="bg1"/>
                  </a:solidFill>
                  <a:ea typeface="SimSun" pitchFamily="2" charset="-122"/>
                  <a:cs typeface="Arial" panose="020B0604020202020204" pitchFamily="34" charset="0"/>
                </a:rPr>
                <a:t>iving in water </a:t>
              </a:r>
              <a:br>
                <a:rPr lang="en-US" altLang="zh-CN" sz="1200" b="1" dirty="0" smtClean="0">
                  <a:solidFill>
                    <a:schemeClr val="bg1"/>
                  </a:solidFill>
                  <a:ea typeface="SimSun" pitchFamily="2" charset="-122"/>
                  <a:cs typeface="Arial" panose="020B0604020202020204" pitchFamily="34" charset="0"/>
                </a:rPr>
              </a:br>
              <a:r>
                <a:rPr lang="en-US" altLang="zh-CN" sz="1200" b="1" dirty="0" smtClean="0">
                  <a:solidFill>
                    <a:schemeClr val="bg1"/>
                  </a:solidFill>
                  <a:ea typeface="SimSun" pitchFamily="2" charset="-122"/>
                  <a:cs typeface="Arial" panose="020B0604020202020204" pitchFamily="34" charset="0"/>
                </a:rPr>
                <a:t>scarce </a:t>
              </a:r>
              <a:r>
                <a:rPr lang="en-US" altLang="zh-CN" sz="1200" b="1" dirty="0">
                  <a:solidFill>
                    <a:schemeClr val="bg1"/>
                  </a:solidFill>
                  <a:ea typeface="SimSun" pitchFamily="2" charset="-122"/>
                  <a:cs typeface="Arial" panose="020B0604020202020204" pitchFamily="34" charset="0"/>
                </a:rPr>
                <a:t>a</a:t>
              </a:r>
              <a:r>
                <a:rPr lang="en-US" altLang="zh-CN" sz="1200" b="1" dirty="0" smtClean="0">
                  <a:solidFill>
                    <a:schemeClr val="bg1"/>
                  </a:solidFill>
                  <a:ea typeface="SimSun" pitchFamily="2" charset="-122"/>
                  <a:cs typeface="Arial" panose="020B0604020202020204" pitchFamily="34" charset="0"/>
                </a:rPr>
                <a:t>reas</a:t>
              </a:r>
              <a:endParaRPr lang="en-US" altLang="zh-CN" sz="1200" b="1" dirty="0">
                <a:solidFill>
                  <a:schemeClr val="bg1"/>
                </a:solidFill>
                <a:ea typeface="SimSun" pitchFamily="2" charset="-122"/>
                <a:cs typeface="Arial" panose="020B0604020202020204" pitchFamily="34" charset="0"/>
              </a:endParaRPr>
            </a:p>
          </p:txBody>
        </p:sp>
        <p:sp>
          <p:nvSpPr>
            <p:cNvPr id="118" name="AutoShape 11"/>
            <p:cNvSpPr>
              <a:spLocks noChangeArrowheads="1"/>
            </p:cNvSpPr>
            <p:nvPr>
              <p:custDataLst>
                <p:tags r:id="rId17"/>
              </p:custDataLst>
            </p:nvPr>
          </p:nvSpPr>
          <p:spPr bwMode="gray">
            <a:xfrm>
              <a:off x="365425" y="5403996"/>
              <a:ext cx="2292501" cy="383463"/>
            </a:xfrm>
            <a:prstGeom prst="leftRightArrow">
              <a:avLst>
                <a:gd name="adj1" fmla="val 100000"/>
                <a:gd name="adj2" fmla="val 0"/>
              </a:avLst>
            </a:prstGeom>
            <a:noFill/>
            <a:ln w="9525">
              <a:noFill/>
              <a:miter lim="800000"/>
              <a:headEnd/>
              <a:tailEnd/>
            </a:ln>
          </p:spPr>
          <p:txBody>
            <a:bodyPr wrap="square" lIns="0" tIns="0" rIns="0" bIns="13994" anchor="b">
              <a:spAutoFit/>
            </a:bodyPr>
            <a:lstStyle/>
            <a:p>
              <a:pPr fontAlgn="base">
                <a:spcBef>
                  <a:spcPct val="0"/>
                </a:spcBef>
                <a:spcAft>
                  <a:spcPct val="0"/>
                </a:spcAft>
              </a:pPr>
              <a:r>
                <a:rPr lang="en-US" altLang="zh-CN" sz="1200" b="1" dirty="0" smtClean="0">
                  <a:solidFill>
                    <a:schemeClr val="bg1"/>
                  </a:solidFill>
                  <a:ea typeface="SimSun" pitchFamily="2" charset="-122"/>
                  <a:cs typeface="Arial" panose="020B0604020202020204" pitchFamily="34" charset="0"/>
                </a:rPr>
                <a:t>Global GDP generated in water </a:t>
              </a:r>
              <a:r>
                <a:rPr lang="en-US" altLang="zh-CN" sz="1200" b="1" dirty="0">
                  <a:solidFill>
                    <a:schemeClr val="bg1"/>
                  </a:solidFill>
                  <a:ea typeface="SimSun" pitchFamily="2" charset="-122"/>
                  <a:cs typeface="Arial" panose="020B0604020202020204" pitchFamily="34" charset="0"/>
                </a:rPr>
                <a:t>s</a:t>
              </a:r>
              <a:r>
                <a:rPr lang="en-US" altLang="zh-CN" sz="1200" b="1" dirty="0" smtClean="0">
                  <a:solidFill>
                    <a:schemeClr val="bg1"/>
                  </a:solidFill>
                  <a:ea typeface="SimSun" pitchFamily="2" charset="-122"/>
                  <a:cs typeface="Arial" panose="020B0604020202020204" pitchFamily="34" charset="0"/>
                </a:rPr>
                <a:t>carce </a:t>
              </a:r>
              <a:r>
                <a:rPr lang="en-US" altLang="zh-CN" sz="1200" b="1" dirty="0">
                  <a:solidFill>
                    <a:schemeClr val="bg1"/>
                  </a:solidFill>
                  <a:ea typeface="SimSun" pitchFamily="2" charset="-122"/>
                  <a:cs typeface="Arial" panose="020B0604020202020204" pitchFamily="34" charset="0"/>
                </a:rPr>
                <a:t>r</a:t>
              </a:r>
              <a:r>
                <a:rPr lang="en-US" altLang="zh-CN" sz="1200" b="1" dirty="0" smtClean="0">
                  <a:solidFill>
                    <a:schemeClr val="bg1"/>
                  </a:solidFill>
                  <a:ea typeface="SimSun" pitchFamily="2" charset="-122"/>
                  <a:cs typeface="Arial" panose="020B0604020202020204" pitchFamily="34" charset="0"/>
                </a:rPr>
                <a:t>egions</a:t>
              </a:r>
              <a:endParaRPr lang="en-US" altLang="zh-CN" sz="1200" b="1" dirty="0">
                <a:solidFill>
                  <a:schemeClr val="bg1"/>
                </a:solidFill>
                <a:ea typeface="SimSun" pitchFamily="2" charset="-122"/>
                <a:cs typeface="Arial" panose="020B0604020202020204" pitchFamily="34" charset="0"/>
              </a:endParaRPr>
            </a:p>
          </p:txBody>
        </p:sp>
      </p:grpSp>
      <p:grpSp>
        <p:nvGrpSpPr>
          <p:cNvPr id="4" name="Group 3"/>
          <p:cNvGrpSpPr/>
          <p:nvPr/>
        </p:nvGrpSpPr>
        <p:grpSpPr>
          <a:xfrm>
            <a:off x="5356392" y="94302"/>
            <a:ext cx="3712579" cy="6235013"/>
            <a:chOff x="5356392" y="94302"/>
            <a:chExt cx="3712579" cy="6235013"/>
          </a:xfrm>
        </p:grpSpPr>
        <p:sp>
          <p:nvSpPr>
            <p:cNvPr id="83" name="Rectangle 82"/>
            <p:cNvSpPr/>
            <p:nvPr/>
          </p:nvSpPr>
          <p:spPr>
            <a:xfrm>
              <a:off x="5496089" y="4629059"/>
              <a:ext cx="3393364" cy="170025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20" name="Rectangle 114"/>
            <p:cNvSpPr>
              <a:spLocks noChangeArrowheads="1"/>
            </p:cNvSpPr>
            <p:nvPr>
              <p:custDataLst>
                <p:tags r:id="rId3"/>
              </p:custDataLst>
            </p:nvPr>
          </p:nvSpPr>
          <p:spPr bwMode="gray">
            <a:xfrm>
              <a:off x="6540881" y="4894520"/>
              <a:ext cx="1589839" cy="714042"/>
            </a:xfrm>
            <a:prstGeom prst="rect">
              <a:avLst/>
            </a:prstGeom>
            <a:noFill/>
            <a:ln w="9525">
              <a:noFill/>
              <a:miter lim="800000"/>
              <a:headEnd/>
              <a:tailEnd/>
            </a:ln>
          </p:spPr>
          <p:txBody>
            <a:bodyPr wrap="square" lIns="0" tIns="0" rIns="0" bIns="0" anchor="ctr">
              <a:spAutoFit/>
            </a:bodyPr>
            <a:lstStyle/>
            <a:p>
              <a:pPr algn="ctr" defTabSz="685145" fontAlgn="base">
                <a:lnSpc>
                  <a:spcPct val="80000"/>
                </a:lnSpc>
                <a:spcBef>
                  <a:spcPct val="0"/>
                </a:spcBef>
                <a:spcAft>
                  <a:spcPct val="0"/>
                </a:spcAft>
                <a:buClr>
                  <a:srgbClr val="C7A10E"/>
                </a:buClr>
              </a:pPr>
              <a:r>
                <a:rPr lang="en-US" b="1" dirty="0" smtClean="0">
                  <a:solidFill>
                    <a:schemeClr val="bg1"/>
                  </a:solidFill>
                  <a:cs typeface="Arial" panose="020B0604020202020204" pitchFamily="34" charset="0"/>
                </a:rPr>
                <a:t>US$</a:t>
              </a:r>
              <a:r>
                <a:rPr lang="en-US" sz="4000" b="1" dirty="0" smtClean="0">
                  <a:solidFill>
                    <a:schemeClr val="bg1"/>
                  </a:solidFill>
                  <a:cs typeface="Arial" panose="020B0604020202020204" pitchFamily="34" charset="0"/>
                </a:rPr>
                <a:t>63</a:t>
              </a:r>
            </a:p>
            <a:p>
              <a:pPr algn="ctr" defTabSz="685145" fontAlgn="base">
                <a:lnSpc>
                  <a:spcPct val="80000"/>
                </a:lnSpc>
                <a:spcBef>
                  <a:spcPct val="0"/>
                </a:spcBef>
                <a:spcAft>
                  <a:spcPct val="0"/>
                </a:spcAft>
                <a:buClr>
                  <a:srgbClr val="C7A10E"/>
                </a:buClr>
              </a:pPr>
              <a:r>
                <a:rPr lang="en-US" b="1" dirty="0" smtClean="0">
                  <a:solidFill>
                    <a:schemeClr val="bg1"/>
                  </a:solidFill>
                  <a:cs typeface="Arial" panose="020B0604020202020204" pitchFamily="34" charset="0"/>
                </a:rPr>
                <a:t>TRILLION</a:t>
              </a:r>
              <a:endParaRPr lang="en-US" b="1" baseline="30000" dirty="0">
                <a:solidFill>
                  <a:schemeClr val="bg1"/>
                </a:solidFill>
                <a:cs typeface="Arial" panose="020B0604020202020204" pitchFamily="34" charset="0"/>
              </a:endParaRPr>
            </a:p>
          </p:txBody>
        </p:sp>
        <p:sp>
          <p:nvSpPr>
            <p:cNvPr id="121" name="Rectangle 120"/>
            <p:cNvSpPr/>
            <p:nvPr/>
          </p:nvSpPr>
          <p:spPr>
            <a:xfrm>
              <a:off x="5500896" y="2024521"/>
              <a:ext cx="3393364" cy="1700256"/>
            </a:xfrm>
            <a:prstGeom prst="rect">
              <a:avLst/>
            </a:prstGeom>
            <a:solidFill>
              <a:schemeClr val="accent6">
                <a:lumMod val="5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22" name="Rectangle 121"/>
            <p:cNvSpPr/>
            <p:nvPr/>
          </p:nvSpPr>
          <p:spPr>
            <a:xfrm>
              <a:off x="5500898" y="1328206"/>
              <a:ext cx="3393362" cy="671869"/>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23" name="AutoShape 9"/>
            <p:cNvSpPr>
              <a:spLocks noChangeArrowheads="1"/>
            </p:cNvSpPr>
            <p:nvPr>
              <p:custDataLst>
                <p:tags r:id="rId4"/>
              </p:custDataLst>
            </p:nvPr>
          </p:nvSpPr>
          <p:spPr bwMode="gray">
            <a:xfrm>
              <a:off x="5616542" y="1514496"/>
              <a:ext cx="2859431" cy="445018"/>
            </a:xfrm>
            <a:prstGeom prst="leftRightArrow">
              <a:avLst>
                <a:gd name="adj1" fmla="val 100000"/>
                <a:gd name="adj2" fmla="val 0"/>
              </a:avLst>
            </a:prstGeom>
            <a:solidFill>
              <a:schemeClr val="accent6">
                <a:lumMod val="75000"/>
              </a:schemeClr>
            </a:solidFill>
            <a:ln w="9525">
              <a:noFill/>
              <a:miter lim="800000"/>
              <a:headEnd/>
              <a:tailEnd/>
            </a:ln>
          </p:spPr>
          <p:txBody>
            <a:bodyPr wrap="square" lIns="0" tIns="0" rIns="0" bIns="13994" anchor="b">
              <a:spAutoFit/>
            </a:bodyPr>
            <a:lstStyle/>
            <a:p>
              <a:pPr fontAlgn="base">
                <a:spcBef>
                  <a:spcPct val="0"/>
                </a:spcBef>
                <a:spcAft>
                  <a:spcPct val="0"/>
                </a:spcAft>
              </a:pPr>
              <a:r>
                <a:rPr lang="en-US" altLang="zh-CN" sz="1400" b="1" dirty="0" smtClean="0">
                  <a:solidFill>
                    <a:schemeClr val="bg1"/>
                  </a:solidFill>
                  <a:ea typeface="SimSun" pitchFamily="2" charset="-122"/>
                  <a:cs typeface="Arial" panose="020B0604020202020204" pitchFamily="34" charset="0"/>
                </a:rPr>
                <a:t>Total population </a:t>
              </a:r>
              <a:r>
                <a:rPr lang="en-US" altLang="zh-CN" sz="1400" b="1" dirty="0">
                  <a:solidFill>
                    <a:schemeClr val="bg1"/>
                  </a:solidFill>
                  <a:ea typeface="SimSun" pitchFamily="2" charset="-122"/>
                  <a:cs typeface="Arial" panose="020B0604020202020204" pitchFamily="34" charset="0"/>
                </a:rPr>
                <a:t>l</a:t>
              </a:r>
              <a:r>
                <a:rPr lang="en-US" altLang="zh-CN" sz="1400" b="1" dirty="0" smtClean="0">
                  <a:solidFill>
                    <a:schemeClr val="bg1"/>
                  </a:solidFill>
                  <a:ea typeface="SimSun" pitchFamily="2" charset="-122"/>
                  <a:cs typeface="Arial" panose="020B0604020202020204" pitchFamily="34" charset="0"/>
                </a:rPr>
                <a:t>iving in water </a:t>
              </a:r>
              <a:br>
                <a:rPr lang="en-US" altLang="zh-CN" sz="1400" b="1" dirty="0" smtClean="0">
                  <a:solidFill>
                    <a:schemeClr val="bg1"/>
                  </a:solidFill>
                  <a:ea typeface="SimSun" pitchFamily="2" charset="-122"/>
                  <a:cs typeface="Arial" panose="020B0604020202020204" pitchFamily="34" charset="0"/>
                </a:rPr>
              </a:br>
              <a:r>
                <a:rPr lang="en-US" altLang="zh-CN" sz="1400" b="1" dirty="0" smtClean="0">
                  <a:solidFill>
                    <a:schemeClr val="bg1"/>
                  </a:solidFill>
                  <a:ea typeface="SimSun" pitchFamily="2" charset="-122"/>
                  <a:cs typeface="Arial" panose="020B0604020202020204" pitchFamily="34" charset="0"/>
                </a:rPr>
                <a:t>scarce </a:t>
              </a:r>
              <a:r>
                <a:rPr lang="en-US" altLang="zh-CN" sz="1400" b="1" dirty="0">
                  <a:solidFill>
                    <a:schemeClr val="bg1"/>
                  </a:solidFill>
                  <a:ea typeface="SimSun" pitchFamily="2" charset="-122"/>
                  <a:cs typeface="Arial" panose="020B0604020202020204" pitchFamily="34" charset="0"/>
                </a:rPr>
                <a:t>a</a:t>
              </a:r>
              <a:r>
                <a:rPr lang="en-US" altLang="zh-CN" sz="1400" b="1" dirty="0" smtClean="0">
                  <a:solidFill>
                    <a:schemeClr val="bg1"/>
                  </a:solidFill>
                  <a:ea typeface="SimSun" pitchFamily="2" charset="-122"/>
                  <a:cs typeface="Arial" panose="020B0604020202020204" pitchFamily="34" charset="0"/>
                </a:rPr>
                <a:t>reas</a:t>
              </a:r>
              <a:endParaRPr lang="en-US" altLang="zh-CN" sz="1400" b="1" dirty="0">
                <a:solidFill>
                  <a:schemeClr val="bg1"/>
                </a:solidFill>
                <a:ea typeface="SimSun" pitchFamily="2" charset="-122"/>
                <a:cs typeface="Arial" panose="020B0604020202020204" pitchFamily="34" charset="0"/>
              </a:endParaRPr>
            </a:p>
          </p:txBody>
        </p:sp>
        <p:sp>
          <p:nvSpPr>
            <p:cNvPr id="124" name="Freeform 49"/>
            <p:cNvSpPr>
              <a:spLocks noChangeAspect="1"/>
            </p:cNvSpPr>
            <p:nvPr>
              <p:custDataLst>
                <p:tags r:id="rId5"/>
              </p:custDataLst>
            </p:nvPr>
          </p:nvSpPr>
          <p:spPr bwMode="gray">
            <a:xfrm flipH="1">
              <a:off x="5686245" y="2202061"/>
              <a:ext cx="574004" cy="1432124"/>
            </a:xfrm>
            <a:custGeom>
              <a:avLst/>
              <a:gdLst>
                <a:gd name="T0" fmla="*/ 326 w 364"/>
                <a:gd name="T1" fmla="*/ 232 h 1186"/>
                <a:gd name="T2" fmla="*/ 306 w 364"/>
                <a:gd name="T3" fmla="*/ 210 h 1186"/>
                <a:gd name="T4" fmla="*/ 246 w 364"/>
                <a:gd name="T5" fmla="*/ 186 h 1186"/>
                <a:gd name="T6" fmla="*/ 224 w 364"/>
                <a:gd name="T7" fmla="*/ 162 h 1186"/>
                <a:gd name="T8" fmla="*/ 218 w 364"/>
                <a:gd name="T9" fmla="*/ 140 h 1186"/>
                <a:gd name="T10" fmla="*/ 238 w 364"/>
                <a:gd name="T11" fmla="*/ 102 h 1186"/>
                <a:gd name="T12" fmla="*/ 236 w 364"/>
                <a:gd name="T13" fmla="*/ 76 h 1186"/>
                <a:gd name="T14" fmla="*/ 230 w 364"/>
                <a:gd name="T15" fmla="*/ 32 h 1186"/>
                <a:gd name="T16" fmla="*/ 192 w 364"/>
                <a:gd name="T17" fmla="*/ 0 h 1186"/>
                <a:gd name="T18" fmla="*/ 136 w 364"/>
                <a:gd name="T19" fmla="*/ 14 h 1186"/>
                <a:gd name="T20" fmla="*/ 118 w 364"/>
                <a:gd name="T21" fmla="*/ 44 h 1186"/>
                <a:gd name="T22" fmla="*/ 118 w 364"/>
                <a:gd name="T23" fmla="*/ 84 h 1186"/>
                <a:gd name="T24" fmla="*/ 130 w 364"/>
                <a:gd name="T25" fmla="*/ 126 h 1186"/>
                <a:gd name="T26" fmla="*/ 136 w 364"/>
                <a:gd name="T27" fmla="*/ 136 h 1186"/>
                <a:gd name="T28" fmla="*/ 134 w 364"/>
                <a:gd name="T29" fmla="*/ 168 h 1186"/>
                <a:gd name="T30" fmla="*/ 90 w 364"/>
                <a:gd name="T31" fmla="*/ 198 h 1186"/>
                <a:gd name="T32" fmla="*/ 46 w 364"/>
                <a:gd name="T33" fmla="*/ 216 h 1186"/>
                <a:gd name="T34" fmla="*/ 32 w 364"/>
                <a:gd name="T35" fmla="*/ 274 h 1186"/>
                <a:gd name="T36" fmla="*/ 18 w 364"/>
                <a:gd name="T37" fmla="*/ 448 h 1186"/>
                <a:gd name="T38" fmla="*/ 6 w 364"/>
                <a:gd name="T39" fmla="*/ 566 h 1186"/>
                <a:gd name="T40" fmla="*/ 12 w 364"/>
                <a:gd name="T41" fmla="*/ 598 h 1186"/>
                <a:gd name="T42" fmla="*/ 0 w 364"/>
                <a:gd name="T43" fmla="*/ 638 h 1186"/>
                <a:gd name="T44" fmla="*/ 26 w 364"/>
                <a:gd name="T45" fmla="*/ 676 h 1186"/>
                <a:gd name="T46" fmla="*/ 42 w 364"/>
                <a:gd name="T47" fmla="*/ 674 h 1186"/>
                <a:gd name="T48" fmla="*/ 34 w 364"/>
                <a:gd name="T49" fmla="*/ 654 h 1186"/>
                <a:gd name="T50" fmla="*/ 38 w 364"/>
                <a:gd name="T51" fmla="*/ 628 h 1186"/>
                <a:gd name="T52" fmla="*/ 38 w 364"/>
                <a:gd name="T53" fmla="*/ 608 h 1186"/>
                <a:gd name="T54" fmla="*/ 48 w 364"/>
                <a:gd name="T55" fmla="*/ 602 h 1186"/>
                <a:gd name="T56" fmla="*/ 58 w 364"/>
                <a:gd name="T57" fmla="*/ 534 h 1186"/>
                <a:gd name="T58" fmla="*/ 56 w 364"/>
                <a:gd name="T59" fmla="*/ 586 h 1186"/>
                <a:gd name="T60" fmla="*/ 62 w 364"/>
                <a:gd name="T61" fmla="*/ 644 h 1186"/>
                <a:gd name="T62" fmla="*/ 78 w 364"/>
                <a:gd name="T63" fmla="*/ 876 h 1186"/>
                <a:gd name="T64" fmla="*/ 74 w 364"/>
                <a:gd name="T65" fmla="*/ 1044 h 1186"/>
                <a:gd name="T66" fmla="*/ 84 w 364"/>
                <a:gd name="T67" fmla="*/ 1124 h 1186"/>
                <a:gd name="T68" fmla="*/ 56 w 364"/>
                <a:gd name="T69" fmla="*/ 1162 h 1186"/>
                <a:gd name="T70" fmla="*/ 60 w 364"/>
                <a:gd name="T71" fmla="*/ 1176 h 1186"/>
                <a:gd name="T72" fmla="*/ 118 w 364"/>
                <a:gd name="T73" fmla="*/ 1168 h 1186"/>
                <a:gd name="T74" fmla="*/ 152 w 364"/>
                <a:gd name="T75" fmla="*/ 1156 h 1186"/>
                <a:gd name="T76" fmla="*/ 150 w 364"/>
                <a:gd name="T77" fmla="*/ 1130 h 1186"/>
                <a:gd name="T78" fmla="*/ 156 w 364"/>
                <a:gd name="T79" fmla="*/ 1052 h 1186"/>
                <a:gd name="T80" fmla="*/ 164 w 364"/>
                <a:gd name="T81" fmla="*/ 868 h 1186"/>
                <a:gd name="T82" fmla="*/ 178 w 364"/>
                <a:gd name="T83" fmla="*/ 666 h 1186"/>
                <a:gd name="T84" fmla="*/ 190 w 364"/>
                <a:gd name="T85" fmla="*/ 714 h 1186"/>
                <a:gd name="T86" fmla="*/ 204 w 364"/>
                <a:gd name="T87" fmla="*/ 878 h 1186"/>
                <a:gd name="T88" fmla="*/ 206 w 364"/>
                <a:gd name="T89" fmla="*/ 1040 h 1186"/>
                <a:gd name="T90" fmla="*/ 214 w 364"/>
                <a:gd name="T91" fmla="*/ 1126 h 1186"/>
                <a:gd name="T92" fmla="*/ 220 w 364"/>
                <a:gd name="T93" fmla="*/ 1154 h 1186"/>
                <a:gd name="T94" fmla="*/ 252 w 364"/>
                <a:gd name="T95" fmla="*/ 1186 h 1186"/>
                <a:gd name="T96" fmla="*/ 292 w 364"/>
                <a:gd name="T97" fmla="*/ 1176 h 1186"/>
                <a:gd name="T98" fmla="*/ 274 w 364"/>
                <a:gd name="T99" fmla="*/ 1142 h 1186"/>
                <a:gd name="T100" fmla="*/ 284 w 364"/>
                <a:gd name="T101" fmla="*/ 1130 h 1186"/>
                <a:gd name="T102" fmla="*/ 286 w 364"/>
                <a:gd name="T103" fmla="*/ 936 h 1186"/>
                <a:gd name="T104" fmla="*/ 286 w 364"/>
                <a:gd name="T105" fmla="*/ 780 h 1186"/>
                <a:gd name="T106" fmla="*/ 290 w 364"/>
                <a:gd name="T107" fmla="*/ 602 h 1186"/>
                <a:gd name="T108" fmla="*/ 330 w 364"/>
                <a:gd name="T109" fmla="*/ 564 h 1186"/>
                <a:gd name="T110" fmla="*/ 334 w 364"/>
                <a:gd name="T111" fmla="*/ 530 h 1186"/>
                <a:gd name="T112" fmla="*/ 346 w 364"/>
                <a:gd name="T113" fmla="*/ 526 h 1186"/>
                <a:gd name="T114" fmla="*/ 356 w 364"/>
                <a:gd name="T115" fmla="*/ 492 h 1186"/>
                <a:gd name="T116" fmla="*/ 362 w 364"/>
                <a:gd name="T117" fmla="*/ 382 h 118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4"/>
                <a:gd name="T178" fmla="*/ 0 h 1186"/>
                <a:gd name="T179" fmla="*/ 364 w 364"/>
                <a:gd name="T180" fmla="*/ 1186 h 118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4" h="1186">
                  <a:moveTo>
                    <a:pt x="350" y="338"/>
                  </a:moveTo>
                  <a:lnTo>
                    <a:pt x="350" y="338"/>
                  </a:lnTo>
                  <a:lnTo>
                    <a:pt x="342" y="314"/>
                  </a:lnTo>
                  <a:lnTo>
                    <a:pt x="336" y="286"/>
                  </a:lnTo>
                  <a:lnTo>
                    <a:pt x="326" y="232"/>
                  </a:lnTo>
                  <a:lnTo>
                    <a:pt x="322" y="224"/>
                  </a:lnTo>
                  <a:lnTo>
                    <a:pt x="318" y="216"/>
                  </a:lnTo>
                  <a:lnTo>
                    <a:pt x="312" y="212"/>
                  </a:lnTo>
                  <a:lnTo>
                    <a:pt x="306" y="210"/>
                  </a:lnTo>
                  <a:lnTo>
                    <a:pt x="278" y="200"/>
                  </a:lnTo>
                  <a:lnTo>
                    <a:pt x="258" y="192"/>
                  </a:lnTo>
                  <a:lnTo>
                    <a:pt x="246" y="186"/>
                  </a:lnTo>
                  <a:lnTo>
                    <a:pt x="240" y="180"/>
                  </a:lnTo>
                  <a:lnTo>
                    <a:pt x="234" y="174"/>
                  </a:lnTo>
                  <a:lnTo>
                    <a:pt x="230" y="168"/>
                  </a:lnTo>
                  <a:lnTo>
                    <a:pt x="224" y="162"/>
                  </a:lnTo>
                  <a:lnTo>
                    <a:pt x="220" y="158"/>
                  </a:lnTo>
                  <a:lnTo>
                    <a:pt x="216" y="156"/>
                  </a:lnTo>
                  <a:lnTo>
                    <a:pt x="216" y="146"/>
                  </a:lnTo>
                  <a:lnTo>
                    <a:pt x="218" y="140"/>
                  </a:lnTo>
                  <a:lnTo>
                    <a:pt x="222" y="136"/>
                  </a:lnTo>
                  <a:lnTo>
                    <a:pt x="228" y="126"/>
                  </a:lnTo>
                  <a:lnTo>
                    <a:pt x="236" y="110"/>
                  </a:lnTo>
                  <a:lnTo>
                    <a:pt x="238" y="102"/>
                  </a:lnTo>
                  <a:lnTo>
                    <a:pt x="238" y="96"/>
                  </a:lnTo>
                  <a:lnTo>
                    <a:pt x="238" y="90"/>
                  </a:lnTo>
                  <a:lnTo>
                    <a:pt x="234" y="88"/>
                  </a:lnTo>
                  <a:lnTo>
                    <a:pt x="236" y="76"/>
                  </a:lnTo>
                  <a:lnTo>
                    <a:pt x="236" y="68"/>
                  </a:lnTo>
                  <a:lnTo>
                    <a:pt x="236" y="56"/>
                  </a:lnTo>
                  <a:lnTo>
                    <a:pt x="232" y="42"/>
                  </a:lnTo>
                  <a:lnTo>
                    <a:pt x="230" y="32"/>
                  </a:lnTo>
                  <a:lnTo>
                    <a:pt x="226" y="24"/>
                  </a:lnTo>
                  <a:lnTo>
                    <a:pt x="222" y="16"/>
                  </a:lnTo>
                  <a:lnTo>
                    <a:pt x="214" y="10"/>
                  </a:lnTo>
                  <a:lnTo>
                    <a:pt x="204" y="4"/>
                  </a:lnTo>
                  <a:lnTo>
                    <a:pt x="192" y="0"/>
                  </a:lnTo>
                  <a:lnTo>
                    <a:pt x="174" y="0"/>
                  </a:lnTo>
                  <a:lnTo>
                    <a:pt x="158" y="2"/>
                  </a:lnTo>
                  <a:lnTo>
                    <a:pt x="146" y="6"/>
                  </a:lnTo>
                  <a:lnTo>
                    <a:pt x="136" y="14"/>
                  </a:lnTo>
                  <a:lnTo>
                    <a:pt x="128" y="20"/>
                  </a:lnTo>
                  <a:lnTo>
                    <a:pt x="124" y="28"/>
                  </a:lnTo>
                  <a:lnTo>
                    <a:pt x="120" y="36"/>
                  </a:lnTo>
                  <a:lnTo>
                    <a:pt x="118" y="44"/>
                  </a:lnTo>
                  <a:lnTo>
                    <a:pt x="116" y="60"/>
                  </a:lnTo>
                  <a:lnTo>
                    <a:pt x="118" y="72"/>
                  </a:lnTo>
                  <a:lnTo>
                    <a:pt x="120" y="82"/>
                  </a:lnTo>
                  <a:lnTo>
                    <a:pt x="118" y="84"/>
                  </a:lnTo>
                  <a:lnTo>
                    <a:pt x="116" y="92"/>
                  </a:lnTo>
                  <a:lnTo>
                    <a:pt x="116" y="98"/>
                  </a:lnTo>
                  <a:lnTo>
                    <a:pt x="118" y="106"/>
                  </a:lnTo>
                  <a:lnTo>
                    <a:pt x="122" y="116"/>
                  </a:lnTo>
                  <a:lnTo>
                    <a:pt x="130" y="126"/>
                  </a:lnTo>
                  <a:lnTo>
                    <a:pt x="132" y="128"/>
                  </a:lnTo>
                  <a:lnTo>
                    <a:pt x="134" y="130"/>
                  </a:lnTo>
                  <a:lnTo>
                    <a:pt x="136" y="136"/>
                  </a:lnTo>
                  <a:lnTo>
                    <a:pt x="138" y="152"/>
                  </a:lnTo>
                  <a:lnTo>
                    <a:pt x="140" y="158"/>
                  </a:lnTo>
                  <a:lnTo>
                    <a:pt x="138" y="164"/>
                  </a:lnTo>
                  <a:lnTo>
                    <a:pt x="134" y="168"/>
                  </a:lnTo>
                  <a:lnTo>
                    <a:pt x="126" y="174"/>
                  </a:lnTo>
                  <a:lnTo>
                    <a:pt x="112" y="186"/>
                  </a:lnTo>
                  <a:lnTo>
                    <a:pt x="102" y="192"/>
                  </a:lnTo>
                  <a:lnTo>
                    <a:pt x="90" y="198"/>
                  </a:lnTo>
                  <a:lnTo>
                    <a:pt x="70" y="204"/>
                  </a:lnTo>
                  <a:lnTo>
                    <a:pt x="62" y="208"/>
                  </a:lnTo>
                  <a:lnTo>
                    <a:pt x="52" y="212"/>
                  </a:lnTo>
                  <a:lnTo>
                    <a:pt x="46" y="216"/>
                  </a:lnTo>
                  <a:lnTo>
                    <a:pt x="42" y="222"/>
                  </a:lnTo>
                  <a:lnTo>
                    <a:pt x="38" y="228"/>
                  </a:lnTo>
                  <a:lnTo>
                    <a:pt x="36" y="236"/>
                  </a:lnTo>
                  <a:lnTo>
                    <a:pt x="32" y="274"/>
                  </a:lnTo>
                  <a:lnTo>
                    <a:pt x="30" y="302"/>
                  </a:lnTo>
                  <a:lnTo>
                    <a:pt x="24" y="392"/>
                  </a:lnTo>
                  <a:lnTo>
                    <a:pt x="18" y="448"/>
                  </a:lnTo>
                  <a:lnTo>
                    <a:pt x="14" y="482"/>
                  </a:lnTo>
                  <a:lnTo>
                    <a:pt x="10" y="514"/>
                  </a:lnTo>
                  <a:lnTo>
                    <a:pt x="8" y="540"/>
                  </a:lnTo>
                  <a:lnTo>
                    <a:pt x="6" y="566"/>
                  </a:lnTo>
                  <a:lnTo>
                    <a:pt x="4" y="588"/>
                  </a:lnTo>
                  <a:lnTo>
                    <a:pt x="6" y="594"/>
                  </a:lnTo>
                  <a:lnTo>
                    <a:pt x="8" y="598"/>
                  </a:lnTo>
                  <a:lnTo>
                    <a:pt x="12" y="598"/>
                  </a:lnTo>
                  <a:lnTo>
                    <a:pt x="4" y="616"/>
                  </a:lnTo>
                  <a:lnTo>
                    <a:pt x="2" y="626"/>
                  </a:lnTo>
                  <a:lnTo>
                    <a:pt x="0" y="638"/>
                  </a:lnTo>
                  <a:lnTo>
                    <a:pt x="2" y="650"/>
                  </a:lnTo>
                  <a:lnTo>
                    <a:pt x="6" y="660"/>
                  </a:lnTo>
                  <a:lnTo>
                    <a:pt x="14" y="670"/>
                  </a:lnTo>
                  <a:lnTo>
                    <a:pt x="26" y="676"/>
                  </a:lnTo>
                  <a:lnTo>
                    <a:pt x="36" y="680"/>
                  </a:lnTo>
                  <a:lnTo>
                    <a:pt x="40" y="680"/>
                  </a:lnTo>
                  <a:lnTo>
                    <a:pt x="42" y="678"/>
                  </a:lnTo>
                  <a:lnTo>
                    <a:pt x="42" y="674"/>
                  </a:lnTo>
                  <a:lnTo>
                    <a:pt x="38" y="670"/>
                  </a:lnTo>
                  <a:lnTo>
                    <a:pt x="36" y="664"/>
                  </a:lnTo>
                  <a:lnTo>
                    <a:pt x="34" y="660"/>
                  </a:lnTo>
                  <a:lnTo>
                    <a:pt x="34" y="654"/>
                  </a:lnTo>
                  <a:lnTo>
                    <a:pt x="36" y="650"/>
                  </a:lnTo>
                  <a:lnTo>
                    <a:pt x="34" y="644"/>
                  </a:lnTo>
                  <a:lnTo>
                    <a:pt x="34" y="636"/>
                  </a:lnTo>
                  <a:lnTo>
                    <a:pt x="38" y="628"/>
                  </a:lnTo>
                  <a:lnTo>
                    <a:pt x="40" y="622"/>
                  </a:lnTo>
                  <a:lnTo>
                    <a:pt x="38" y="616"/>
                  </a:lnTo>
                  <a:lnTo>
                    <a:pt x="38" y="612"/>
                  </a:lnTo>
                  <a:lnTo>
                    <a:pt x="38" y="608"/>
                  </a:lnTo>
                  <a:lnTo>
                    <a:pt x="40" y="606"/>
                  </a:lnTo>
                  <a:lnTo>
                    <a:pt x="42" y="604"/>
                  </a:lnTo>
                  <a:lnTo>
                    <a:pt x="44" y="604"/>
                  </a:lnTo>
                  <a:lnTo>
                    <a:pt x="48" y="602"/>
                  </a:lnTo>
                  <a:lnTo>
                    <a:pt x="50" y="596"/>
                  </a:lnTo>
                  <a:lnTo>
                    <a:pt x="50" y="594"/>
                  </a:lnTo>
                  <a:lnTo>
                    <a:pt x="58" y="534"/>
                  </a:lnTo>
                  <a:lnTo>
                    <a:pt x="56" y="568"/>
                  </a:lnTo>
                  <a:lnTo>
                    <a:pt x="56" y="578"/>
                  </a:lnTo>
                  <a:lnTo>
                    <a:pt x="56" y="586"/>
                  </a:lnTo>
                  <a:lnTo>
                    <a:pt x="60" y="598"/>
                  </a:lnTo>
                  <a:lnTo>
                    <a:pt x="62" y="612"/>
                  </a:lnTo>
                  <a:lnTo>
                    <a:pt x="62" y="644"/>
                  </a:lnTo>
                  <a:lnTo>
                    <a:pt x="64" y="686"/>
                  </a:lnTo>
                  <a:lnTo>
                    <a:pt x="70" y="758"/>
                  </a:lnTo>
                  <a:lnTo>
                    <a:pt x="76" y="832"/>
                  </a:lnTo>
                  <a:lnTo>
                    <a:pt x="78" y="876"/>
                  </a:lnTo>
                  <a:lnTo>
                    <a:pt x="80" y="948"/>
                  </a:lnTo>
                  <a:lnTo>
                    <a:pt x="80" y="990"/>
                  </a:lnTo>
                  <a:lnTo>
                    <a:pt x="76" y="1022"/>
                  </a:lnTo>
                  <a:lnTo>
                    <a:pt x="74" y="1044"/>
                  </a:lnTo>
                  <a:lnTo>
                    <a:pt x="72" y="1068"/>
                  </a:lnTo>
                  <a:lnTo>
                    <a:pt x="74" y="1088"/>
                  </a:lnTo>
                  <a:lnTo>
                    <a:pt x="76" y="1104"/>
                  </a:lnTo>
                  <a:lnTo>
                    <a:pt x="84" y="1124"/>
                  </a:lnTo>
                  <a:lnTo>
                    <a:pt x="86" y="1130"/>
                  </a:lnTo>
                  <a:lnTo>
                    <a:pt x="84" y="1134"/>
                  </a:lnTo>
                  <a:lnTo>
                    <a:pt x="66" y="1150"/>
                  </a:lnTo>
                  <a:lnTo>
                    <a:pt x="56" y="1162"/>
                  </a:lnTo>
                  <a:lnTo>
                    <a:pt x="54" y="1166"/>
                  </a:lnTo>
                  <a:lnTo>
                    <a:pt x="54" y="1170"/>
                  </a:lnTo>
                  <a:lnTo>
                    <a:pt x="56" y="1174"/>
                  </a:lnTo>
                  <a:lnTo>
                    <a:pt x="60" y="1176"/>
                  </a:lnTo>
                  <a:lnTo>
                    <a:pt x="72" y="1180"/>
                  </a:lnTo>
                  <a:lnTo>
                    <a:pt x="86" y="1180"/>
                  </a:lnTo>
                  <a:lnTo>
                    <a:pt x="102" y="1174"/>
                  </a:lnTo>
                  <a:lnTo>
                    <a:pt x="118" y="1168"/>
                  </a:lnTo>
                  <a:lnTo>
                    <a:pt x="134" y="1164"/>
                  </a:lnTo>
                  <a:lnTo>
                    <a:pt x="146" y="1160"/>
                  </a:lnTo>
                  <a:lnTo>
                    <a:pt x="150" y="1158"/>
                  </a:lnTo>
                  <a:lnTo>
                    <a:pt x="152" y="1156"/>
                  </a:lnTo>
                  <a:lnTo>
                    <a:pt x="152" y="1152"/>
                  </a:lnTo>
                  <a:lnTo>
                    <a:pt x="150" y="1146"/>
                  </a:lnTo>
                  <a:lnTo>
                    <a:pt x="148" y="1138"/>
                  </a:lnTo>
                  <a:lnTo>
                    <a:pt x="150" y="1130"/>
                  </a:lnTo>
                  <a:lnTo>
                    <a:pt x="154" y="1116"/>
                  </a:lnTo>
                  <a:lnTo>
                    <a:pt x="156" y="1106"/>
                  </a:lnTo>
                  <a:lnTo>
                    <a:pt x="156" y="1090"/>
                  </a:lnTo>
                  <a:lnTo>
                    <a:pt x="156" y="1052"/>
                  </a:lnTo>
                  <a:lnTo>
                    <a:pt x="156" y="984"/>
                  </a:lnTo>
                  <a:lnTo>
                    <a:pt x="158" y="920"/>
                  </a:lnTo>
                  <a:lnTo>
                    <a:pt x="162" y="886"/>
                  </a:lnTo>
                  <a:lnTo>
                    <a:pt x="164" y="868"/>
                  </a:lnTo>
                  <a:lnTo>
                    <a:pt x="168" y="840"/>
                  </a:lnTo>
                  <a:lnTo>
                    <a:pt x="174" y="772"/>
                  </a:lnTo>
                  <a:lnTo>
                    <a:pt x="178" y="706"/>
                  </a:lnTo>
                  <a:lnTo>
                    <a:pt x="178" y="666"/>
                  </a:lnTo>
                  <a:lnTo>
                    <a:pt x="178" y="624"/>
                  </a:lnTo>
                  <a:lnTo>
                    <a:pt x="182" y="650"/>
                  </a:lnTo>
                  <a:lnTo>
                    <a:pt x="190" y="714"/>
                  </a:lnTo>
                  <a:lnTo>
                    <a:pt x="194" y="756"/>
                  </a:lnTo>
                  <a:lnTo>
                    <a:pt x="196" y="800"/>
                  </a:lnTo>
                  <a:lnTo>
                    <a:pt x="200" y="840"/>
                  </a:lnTo>
                  <a:lnTo>
                    <a:pt x="204" y="878"/>
                  </a:lnTo>
                  <a:lnTo>
                    <a:pt x="206" y="914"/>
                  </a:lnTo>
                  <a:lnTo>
                    <a:pt x="208" y="954"/>
                  </a:lnTo>
                  <a:lnTo>
                    <a:pt x="206" y="1012"/>
                  </a:lnTo>
                  <a:lnTo>
                    <a:pt x="206" y="1040"/>
                  </a:lnTo>
                  <a:lnTo>
                    <a:pt x="206" y="1078"/>
                  </a:lnTo>
                  <a:lnTo>
                    <a:pt x="208" y="1096"/>
                  </a:lnTo>
                  <a:lnTo>
                    <a:pt x="208" y="1112"/>
                  </a:lnTo>
                  <a:lnTo>
                    <a:pt x="212" y="1124"/>
                  </a:lnTo>
                  <a:lnTo>
                    <a:pt x="214" y="1126"/>
                  </a:lnTo>
                  <a:lnTo>
                    <a:pt x="216" y="1128"/>
                  </a:lnTo>
                  <a:lnTo>
                    <a:pt x="218" y="1142"/>
                  </a:lnTo>
                  <a:lnTo>
                    <a:pt x="220" y="1154"/>
                  </a:lnTo>
                  <a:lnTo>
                    <a:pt x="222" y="1162"/>
                  </a:lnTo>
                  <a:lnTo>
                    <a:pt x="226" y="1172"/>
                  </a:lnTo>
                  <a:lnTo>
                    <a:pt x="234" y="1178"/>
                  </a:lnTo>
                  <a:lnTo>
                    <a:pt x="246" y="1184"/>
                  </a:lnTo>
                  <a:lnTo>
                    <a:pt x="252" y="1186"/>
                  </a:lnTo>
                  <a:lnTo>
                    <a:pt x="262" y="1186"/>
                  </a:lnTo>
                  <a:lnTo>
                    <a:pt x="282" y="1182"/>
                  </a:lnTo>
                  <a:lnTo>
                    <a:pt x="290" y="1178"/>
                  </a:lnTo>
                  <a:lnTo>
                    <a:pt x="292" y="1176"/>
                  </a:lnTo>
                  <a:lnTo>
                    <a:pt x="294" y="1174"/>
                  </a:lnTo>
                  <a:lnTo>
                    <a:pt x="292" y="1168"/>
                  </a:lnTo>
                  <a:lnTo>
                    <a:pt x="288" y="1162"/>
                  </a:lnTo>
                  <a:lnTo>
                    <a:pt x="276" y="1148"/>
                  </a:lnTo>
                  <a:lnTo>
                    <a:pt x="274" y="1142"/>
                  </a:lnTo>
                  <a:lnTo>
                    <a:pt x="274" y="1140"/>
                  </a:lnTo>
                  <a:lnTo>
                    <a:pt x="274" y="1138"/>
                  </a:lnTo>
                  <a:lnTo>
                    <a:pt x="280" y="1132"/>
                  </a:lnTo>
                  <a:lnTo>
                    <a:pt x="284" y="1130"/>
                  </a:lnTo>
                  <a:lnTo>
                    <a:pt x="288" y="1128"/>
                  </a:lnTo>
                  <a:lnTo>
                    <a:pt x="288" y="1122"/>
                  </a:lnTo>
                  <a:lnTo>
                    <a:pt x="286" y="936"/>
                  </a:lnTo>
                  <a:lnTo>
                    <a:pt x="288" y="864"/>
                  </a:lnTo>
                  <a:lnTo>
                    <a:pt x="288" y="834"/>
                  </a:lnTo>
                  <a:lnTo>
                    <a:pt x="286" y="810"/>
                  </a:lnTo>
                  <a:lnTo>
                    <a:pt x="286" y="780"/>
                  </a:lnTo>
                  <a:lnTo>
                    <a:pt x="288" y="738"/>
                  </a:lnTo>
                  <a:lnTo>
                    <a:pt x="290" y="660"/>
                  </a:lnTo>
                  <a:lnTo>
                    <a:pt x="290" y="602"/>
                  </a:lnTo>
                  <a:lnTo>
                    <a:pt x="304" y="598"/>
                  </a:lnTo>
                  <a:lnTo>
                    <a:pt x="314" y="590"/>
                  </a:lnTo>
                  <a:lnTo>
                    <a:pt x="322" y="582"/>
                  </a:lnTo>
                  <a:lnTo>
                    <a:pt x="326" y="572"/>
                  </a:lnTo>
                  <a:lnTo>
                    <a:pt x="330" y="564"/>
                  </a:lnTo>
                  <a:lnTo>
                    <a:pt x="330" y="556"/>
                  </a:lnTo>
                  <a:lnTo>
                    <a:pt x="330" y="544"/>
                  </a:lnTo>
                  <a:lnTo>
                    <a:pt x="332" y="536"/>
                  </a:lnTo>
                  <a:lnTo>
                    <a:pt x="334" y="530"/>
                  </a:lnTo>
                  <a:lnTo>
                    <a:pt x="338" y="526"/>
                  </a:lnTo>
                  <a:lnTo>
                    <a:pt x="340" y="526"/>
                  </a:lnTo>
                  <a:lnTo>
                    <a:pt x="344" y="526"/>
                  </a:lnTo>
                  <a:lnTo>
                    <a:pt x="346" y="526"/>
                  </a:lnTo>
                  <a:lnTo>
                    <a:pt x="348" y="524"/>
                  </a:lnTo>
                  <a:lnTo>
                    <a:pt x="352" y="514"/>
                  </a:lnTo>
                  <a:lnTo>
                    <a:pt x="354" y="502"/>
                  </a:lnTo>
                  <a:lnTo>
                    <a:pt x="356" y="492"/>
                  </a:lnTo>
                  <a:lnTo>
                    <a:pt x="358" y="454"/>
                  </a:lnTo>
                  <a:lnTo>
                    <a:pt x="362" y="416"/>
                  </a:lnTo>
                  <a:lnTo>
                    <a:pt x="364" y="396"/>
                  </a:lnTo>
                  <a:lnTo>
                    <a:pt x="362" y="382"/>
                  </a:lnTo>
                  <a:lnTo>
                    <a:pt x="356" y="362"/>
                  </a:lnTo>
                  <a:lnTo>
                    <a:pt x="350" y="338"/>
                  </a:lnTo>
                  <a:close/>
                </a:path>
              </a:pathLst>
            </a:custGeom>
            <a:solidFill>
              <a:schemeClr val="bg1"/>
            </a:solidFill>
            <a:ln w="9525">
              <a:noFill/>
              <a:round/>
              <a:headEnd/>
              <a:tailEnd/>
            </a:ln>
          </p:spPr>
          <p:txBody>
            <a:bodyPr lIns="69972" tIns="34986" rIns="69972" bIns="34986"/>
            <a:lstStyle/>
            <a:p>
              <a:pPr fontAlgn="base">
                <a:spcBef>
                  <a:spcPct val="0"/>
                </a:spcBef>
                <a:spcAft>
                  <a:spcPct val="0"/>
                </a:spcAft>
              </a:pPr>
              <a:endParaRPr lang="de-DE" sz="1100" b="1">
                <a:solidFill>
                  <a:srgbClr val="FAEDBE">
                    <a:lumMod val="10000"/>
                  </a:srgbClr>
                </a:solidFill>
              </a:endParaRPr>
            </a:p>
          </p:txBody>
        </p:sp>
        <p:sp>
          <p:nvSpPr>
            <p:cNvPr id="125" name="Rectangle 113"/>
            <p:cNvSpPr>
              <a:spLocks noChangeArrowheads="1"/>
            </p:cNvSpPr>
            <p:nvPr>
              <p:custDataLst>
                <p:tags r:id="rId6"/>
              </p:custDataLst>
            </p:nvPr>
          </p:nvSpPr>
          <p:spPr bwMode="gray">
            <a:xfrm>
              <a:off x="6314801" y="2196033"/>
              <a:ext cx="1070901" cy="646331"/>
            </a:xfrm>
            <a:prstGeom prst="rect">
              <a:avLst/>
            </a:prstGeom>
            <a:noFill/>
            <a:ln w="9525">
              <a:noFill/>
              <a:miter lim="800000"/>
              <a:headEnd/>
              <a:tailEnd/>
            </a:ln>
          </p:spPr>
          <p:txBody>
            <a:bodyPr wrap="square" lIns="0" tIns="0" rIns="0" bIns="0" anchor="ctr">
              <a:spAutoFit/>
            </a:bodyPr>
            <a:lstStyle/>
            <a:p>
              <a:pPr defTabSz="685145" fontAlgn="base">
                <a:lnSpc>
                  <a:spcPct val="70000"/>
                </a:lnSpc>
                <a:spcBef>
                  <a:spcPct val="0"/>
                </a:spcBef>
                <a:spcAft>
                  <a:spcPct val="0"/>
                </a:spcAft>
                <a:buClr>
                  <a:srgbClr val="C7A10E"/>
                </a:buClr>
              </a:pPr>
              <a:r>
                <a:rPr lang="en-US" sz="6000" b="1" dirty="0" smtClean="0">
                  <a:solidFill>
                    <a:schemeClr val="bg1"/>
                  </a:solidFill>
                  <a:cs typeface="Arial" panose="020B0604020202020204" pitchFamily="34" charset="0"/>
                </a:rPr>
                <a:t>4.7</a:t>
              </a:r>
              <a:endParaRPr lang="en-US" sz="1000" b="1" dirty="0">
                <a:solidFill>
                  <a:schemeClr val="bg1"/>
                </a:solidFill>
                <a:cs typeface="Arial" panose="020B0604020202020204" pitchFamily="34" charset="0"/>
              </a:endParaRPr>
            </a:p>
          </p:txBody>
        </p:sp>
        <p:sp>
          <p:nvSpPr>
            <p:cNvPr id="126" name="Rectangle 125"/>
            <p:cNvSpPr/>
            <p:nvPr/>
          </p:nvSpPr>
          <p:spPr>
            <a:xfrm>
              <a:off x="7385702" y="2312630"/>
              <a:ext cx="1589993" cy="264688"/>
            </a:xfrm>
            <a:prstGeom prst="rect">
              <a:avLst/>
            </a:prstGeom>
          </p:spPr>
          <p:txBody>
            <a:bodyPr wrap="square">
              <a:spAutoFit/>
            </a:bodyPr>
            <a:lstStyle/>
            <a:p>
              <a:pPr defTabSz="685145" fontAlgn="base">
                <a:lnSpc>
                  <a:spcPct val="70000"/>
                </a:lnSpc>
                <a:spcBef>
                  <a:spcPct val="0"/>
                </a:spcBef>
                <a:spcAft>
                  <a:spcPct val="0"/>
                </a:spcAft>
                <a:buClr>
                  <a:srgbClr val="C7A10E"/>
                </a:buClr>
              </a:pPr>
              <a:r>
                <a:rPr lang="en-US" sz="1600" b="1" dirty="0">
                  <a:solidFill>
                    <a:schemeClr val="bg1"/>
                  </a:solidFill>
                  <a:cs typeface="Arial" panose="020B0604020202020204" pitchFamily="34" charset="0"/>
                </a:rPr>
                <a:t>BILLION PEOPLE</a:t>
              </a:r>
            </a:p>
          </p:txBody>
        </p:sp>
        <p:grpSp>
          <p:nvGrpSpPr>
            <p:cNvPr id="127" name="Group 90"/>
            <p:cNvGrpSpPr>
              <a:grpSpLocks noChangeAspect="1"/>
            </p:cNvGrpSpPr>
            <p:nvPr>
              <p:custDataLst>
                <p:tags r:id="rId7"/>
              </p:custDataLst>
            </p:nvPr>
          </p:nvGrpSpPr>
          <p:grpSpPr bwMode="auto">
            <a:xfrm>
              <a:off x="5674315" y="4749610"/>
              <a:ext cx="979768" cy="1386333"/>
              <a:chOff x="956" y="1921"/>
              <a:chExt cx="307" cy="338"/>
            </a:xfrm>
            <a:solidFill>
              <a:schemeClr val="bg1"/>
            </a:solidFill>
          </p:grpSpPr>
          <p:sp>
            <p:nvSpPr>
              <p:cNvPr id="128" name="Freeform 91"/>
              <p:cNvSpPr>
                <a:spLocks noChangeAspect="1"/>
              </p:cNvSpPr>
              <p:nvPr/>
            </p:nvSpPr>
            <p:spPr bwMode="gray">
              <a:xfrm>
                <a:off x="959" y="2002"/>
                <a:ext cx="77" cy="257"/>
              </a:xfrm>
              <a:custGeom>
                <a:avLst/>
                <a:gdLst>
                  <a:gd name="T0" fmla="*/ 0 w 311"/>
                  <a:gd name="T1" fmla="*/ 1533 h 1565"/>
                  <a:gd name="T2" fmla="*/ 0 w 311"/>
                  <a:gd name="T3" fmla="*/ 1538 h 1565"/>
                  <a:gd name="T4" fmla="*/ 2 w 311"/>
                  <a:gd name="T5" fmla="*/ 1542 h 1565"/>
                  <a:gd name="T6" fmla="*/ 5 w 311"/>
                  <a:gd name="T7" fmla="*/ 1546 h 1565"/>
                  <a:gd name="T8" fmla="*/ 9 w 311"/>
                  <a:gd name="T9" fmla="*/ 1550 h 1565"/>
                  <a:gd name="T10" fmla="*/ 12 w 311"/>
                  <a:gd name="T11" fmla="*/ 1552 h 1565"/>
                  <a:gd name="T12" fmla="*/ 17 w 311"/>
                  <a:gd name="T13" fmla="*/ 1555 h 1565"/>
                  <a:gd name="T14" fmla="*/ 27 w 311"/>
                  <a:gd name="T15" fmla="*/ 1559 h 1565"/>
                  <a:gd name="T16" fmla="*/ 33 w 311"/>
                  <a:gd name="T17" fmla="*/ 1560 h 1565"/>
                  <a:gd name="T18" fmla="*/ 40 w 311"/>
                  <a:gd name="T19" fmla="*/ 1561 h 1565"/>
                  <a:gd name="T20" fmla="*/ 53 w 311"/>
                  <a:gd name="T21" fmla="*/ 1564 h 1565"/>
                  <a:gd name="T22" fmla="*/ 66 w 311"/>
                  <a:gd name="T23" fmla="*/ 1564 h 1565"/>
                  <a:gd name="T24" fmla="*/ 80 w 311"/>
                  <a:gd name="T25" fmla="*/ 1565 h 1565"/>
                  <a:gd name="T26" fmla="*/ 141 w 311"/>
                  <a:gd name="T27" fmla="*/ 1565 h 1565"/>
                  <a:gd name="T28" fmla="*/ 179 w 311"/>
                  <a:gd name="T29" fmla="*/ 1565 h 1565"/>
                  <a:gd name="T30" fmla="*/ 217 w 311"/>
                  <a:gd name="T31" fmla="*/ 1564 h 1565"/>
                  <a:gd name="T32" fmla="*/ 235 w 311"/>
                  <a:gd name="T33" fmla="*/ 1563 h 1565"/>
                  <a:gd name="T34" fmla="*/ 252 w 311"/>
                  <a:gd name="T35" fmla="*/ 1561 h 1565"/>
                  <a:gd name="T36" fmla="*/ 268 w 311"/>
                  <a:gd name="T37" fmla="*/ 1559 h 1565"/>
                  <a:gd name="T38" fmla="*/ 282 w 311"/>
                  <a:gd name="T39" fmla="*/ 1556 h 1565"/>
                  <a:gd name="T40" fmla="*/ 293 w 311"/>
                  <a:gd name="T41" fmla="*/ 1552 h 1565"/>
                  <a:gd name="T42" fmla="*/ 303 w 311"/>
                  <a:gd name="T43" fmla="*/ 1547 h 1565"/>
                  <a:gd name="T44" fmla="*/ 306 w 311"/>
                  <a:gd name="T45" fmla="*/ 1545 h 1565"/>
                  <a:gd name="T46" fmla="*/ 308 w 311"/>
                  <a:gd name="T47" fmla="*/ 1542 h 1565"/>
                  <a:gd name="T48" fmla="*/ 310 w 311"/>
                  <a:gd name="T49" fmla="*/ 1539 h 1565"/>
                  <a:gd name="T50" fmla="*/ 311 w 311"/>
                  <a:gd name="T51" fmla="*/ 1536 h 1565"/>
                  <a:gd name="T52" fmla="*/ 275 w 311"/>
                  <a:gd name="T53" fmla="*/ 768 h 1565"/>
                  <a:gd name="T54" fmla="*/ 239 w 311"/>
                  <a:gd name="T55" fmla="*/ 0 h 1565"/>
                  <a:gd name="T56" fmla="*/ 33 w 311"/>
                  <a:gd name="T57" fmla="*/ 0 h 1565"/>
                  <a:gd name="T58" fmla="*/ 32 w 311"/>
                  <a:gd name="T59" fmla="*/ 3 h 1565"/>
                  <a:gd name="T60" fmla="*/ 30 w 311"/>
                  <a:gd name="T61" fmla="*/ 8 h 1565"/>
                  <a:gd name="T62" fmla="*/ 27 w 311"/>
                  <a:gd name="T63" fmla="*/ 24 h 1565"/>
                  <a:gd name="T64" fmla="*/ 25 w 311"/>
                  <a:gd name="T65" fmla="*/ 47 h 1565"/>
                  <a:gd name="T66" fmla="*/ 22 w 311"/>
                  <a:gd name="T67" fmla="*/ 77 h 1565"/>
                  <a:gd name="T68" fmla="*/ 18 w 311"/>
                  <a:gd name="T69" fmla="*/ 155 h 1565"/>
                  <a:gd name="T70" fmla="*/ 13 w 311"/>
                  <a:gd name="T71" fmla="*/ 253 h 1565"/>
                  <a:gd name="T72" fmla="*/ 10 w 311"/>
                  <a:gd name="T73" fmla="*/ 369 h 1565"/>
                  <a:gd name="T74" fmla="*/ 9 w 311"/>
                  <a:gd name="T75" fmla="*/ 497 h 1565"/>
                  <a:gd name="T76" fmla="*/ 7 w 311"/>
                  <a:gd name="T77" fmla="*/ 634 h 1565"/>
                  <a:gd name="T78" fmla="*/ 5 w 311"/>
                  <a:gd name="T79" fmla="*/ 774 h 1565"/>
                  <a:gd name="T80" fmla="*/ 2 w 311"/>
                  <a:gd name="T81" fmla="*/ 1051 h 1565"/>
                  <a:gd name="T82" fmla="*/ 0 w 311"/>
                  <a:gd name="T83" fmla="*/ 1292 h 1565"/>
                  <a:gd name="T84" fmla="*/ 0 w 311"/>
                  <a:gd name="T85" fmla="*/ 1533 h 156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11"/>
                  <a:gd name="T130" fmla="*/ 0 h 1565"/>
                  <a:gd name="T131" fmla="*/ 311 w 311"/>
                  <a:gd name="T132" fmla="*/ 1565 h 156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11" h="1565">
                    <a:moveTo>
                      <a:pt x="0" y="1533"/>
                    </a:moveTo>
                    <a:lnTo>
                      <a:pt x="0" y="1538"/>
                    </a:lnTo>
                    <a:lnTo>
                      <a:pt x="2" y="1542"/>
                    </a:lnTo>
                    <a:lnTo>
                      <a:pt x="5" y="1546"/>
                    </a:lnTo>
                    <a:lnTo>
                      <a:pt x="9" y="1550"/>
                    </a:lnTo>
                    <a:lnTo>
                      <a:pt x="12" y="1552"/>
                    </a:lnTo>
                    <a:lnTo>
                      <a:pt x="17" y="1555"/>
                    </a:lnTo>
                    <a:lnTo>
                      <a:pt x="27" y="1559"/>
                    </a:lnTo>
                    <a:lnTo>
                      <a:pt x="33" y="1560"/>
                    </a:lnTo>
                    <a:lnTo>
                      <a:pt x="40" y="1561"/>
                    </a:lnTo>
                    <a:lnTo>
                      <a:pt x="53" y="1564"/>
                    </a:lnTo>
                    <a:lnTo>
                      <a:pt x="66" y="1564"/>
                    </a:lnTo>
                    <a:lnTo>
                      <a:pt x="80" y="1565"/>
                    </a:lnTo>
                    <a:lnTo>
                      <a:pt x="141" y="1565"/>
                    </a:lnTo>
                    <a:lnTo>
                      <a:pt x="179" y="1565"/>
                    </a:lnTo>
                    <a:lnTo>
                      <a:pt x="217" y="1564"/>
                    </a:lnTo>
                    <a:lnTo>
                      <a:pt x="235" y="1563"/>
                    </a:lnTo>
                    <a:lnTo>
                      <a:pt x="252" y="1561"/>
                    </a:lnTo>
                    <a:lnTo>
                      <a:pt x="268" y="1559"/>
                    </a:lnTo>
                    <a:lnTo>
                      <a:pt x="282" y="1556"/>
                    </a:lnTo>
                    <a:lnTo>
                      <a:pt x="293" y="1552"/>
                    </a:lnTo>
                    <a:lnTo>
                      <a:pt x="303" y="1547"/>
                    </a:lnTo>
                    <a:lnTo>
                      <a:pt x="306" y="1545"/>
                    </a:lnTo>
                    <a:lnTo>
                      <a:pt x="308" y="1542"/>
                    </a:lnTo>
                    <a:lnTo>
                      <a:pt x="310" y="1539"/>
                    </a:lnTo>
                    <a:lnTo>
                      <a:pt x="311" y="1536"/>
                    </a:lnTo>
                    <a:lnTo>
                      <a:pt x="275" y="768"/>
                    </a:lnTo>
                    <a:lnTo>
                      <a:pt x="239" y="0"/>
                    </a:lnTo>
                    <a:lnTo>
                      <a:pt x="33" y="0"/>
                    </a:lnTo>
                    <a:lnTo>
                      <a:pt x="32" y="3"/>
                    </a:lnTo>
                    <a:lnTo>
                      <a:pt x="30" y="8"/>
                    </a:lnTo>
                    <a:lnTo>
                      <a:pt x="27" y="24"/>
                    </a:lnTo>
                    <a:lnTo>
                      <a:pt x="25" y="47"/>
                    </a:lnTo>
                    <a:lnTo>
                      <a:pt x="22" y="77"/>
                    </a:lnTo>
                    <a:lnTo>
                      <a:pt x="18" y="155"/>
                    </a:lnTo>
                    <a:lnTo>
                      <a:pt x="13" y="253"/>
                    </a:lnTo>
                    <a:lnTo>
                      <a:pt x="10" y="369"/>
                    </a:lnTo>
                    <a:lnTo>
                      <a:pt x="9" y="497"/>
                    </a:lnTo>
                    <a:lnTo>
                      <a:pt x="7" y="634"/>
                    </a:lnTo>
                    <a:lnTo>
                      <a:pt x="5" y="774"/>
                    </a:lnTo>
                    <a:lnTo>
                      <a:pt x="2" y="1051"/>
                    </a:lnTo>
                    <a:lnTo>
                      <a:pt x="0" y="1292"/>
                    </a:lnTo>
                    <a:lnTo>
                      <a:pt x="0" y="1533"/>
                    </a:lnTo>
                    <a:close/>
                  </a:path>
                </a:pathLst>
              </a:custGeom>
              <a:grpFill/>
              <a:ln w="9525">
                <a:noFill/>
                <a:round/>
                <a:headEnd/>
                <a:tailEnd/>
              </a:ln>
            </p:spPr>
            <p:txBody>
              <a:bodyPr/>
              <a:lstStyle/>
              <a:p>
                <a:pPr fontAlgn="base">
                  <a:spcBef>
                    <a:spcPct val="0"/>
                  </a:spcBef>
                  <a:spcAft>
                    <a:spcPct val="0"/>
                  </a:spcAft>
                </a:pPr>
                <a:endParaRPr lang="de-DE" sz="1100" b="1">
                  <a:solidFill>
                    <a:srgbClr val="FAEDBE">
                      <a:lumMod val="10000"/>
                    </a:srgbClr>
                  </a:solidFill>
                </a:endParaRPr>
              </a:p>
            </p:txBody>
          </p:sp>
          <p:sp>
            <p:nvSpPr>
              <p:cNvPr id="129" name="Freeform 92"/>
              <p:cNvSpPr>
                <a:spLocks noChangeAspect="1"/>
              </p:cNvSpPr>
              <p:nvPr/>
            </p:nvSpPr>
            <p:spPr bwMode="gray">
              <a:xfrm>
                <a:off x="1015" y="2007"/>
                <a:ext cx="24" cy="252"/>
              </a:xfrm>
              <a:custGeom>
                <a:avLst/>
                <a:gdLst>
                  <a:gd name="T0" fmla="*/ 73 w 98"/>
                  <a:gd name="T1" fmla="*/ 1536 h 1536"/>
                  <a:gd name="T2" fmla="*/ 98 w 98"/>
                  <a:gd name="T3" fmla="*/ 1536 h 1536"/>
                  <a:gd name="T4" fmla="*/ 62 w 98"/>
                  <a:gd name="T5" fmla="*/ 768 h 1536"/>
                  <a:gd name="T6" fmla="*/ 25 w 98"/>
                  <a:gd name="T7" fmla="*/ 0 h 1536"/>
                  <a:gd name="T8" fmla="*/ 0 w 98"/>
                  <a:gd name="T9" fmla="*/ 0 h 1536"/>
                  <a:gd name="T10" fmla="*/ 37 w 98"/>
                  <a:gd name="T11" fmla="*/ 768 h 1536"/>
                  <a:gd name="T12" fmla="*/ 73 w 98"/>
                  <a:gd name="T13" fmla="*/ 1536 h 1536"/>
                  <a:gd name="T14" fmla="*/ 0 60000 65536"/>
                  <a:gd name="T15" fmla="*/ 0 60000 65536"/>
                  <a:gd name="T16" fmla="*/ 0 60000 65536"/>
                  <a:gd name="T17" fmla="*/ 0 60000 65536"/>
                  <a:gd name="T18" fmla="*/ 0 60000 65536"/>
                  <a:gd name="T19" fmla="*/ 0 60000 65536"/>
                  <a:gd name="T20" fmla="*/ 0 60000 65536"/>
                  <a:gd name="T21" fmla="*/ 0 w 98"/>
                  <a:gd name="T22" fmla="*/ 0 h 1536"/>
                  <a:gd name="T23" fmla="*/ 98 w 98"/>
                  <a:gd name="T24" fmla="*/ 1536 h 15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8" h="1536">
                    <a:moveTo>
                      <a:pt x="73" y="1536"/>
                    </a:moveTo>
                    <a:lnTo>
                      <a:pt x="98" y="1536"/>
                    </a:lnTo>
                    <a:lnTo>
                      <a:pt x="62" y="768"/>
                    </a:lnTo>
                    <a:lnTo>
                      <a:pt x="25" y="0"/>
                    </a:lnTo>
                    <a:lnTo>
                      <a:pt x="0" y="0"/>
                    </a:lnTo>
                    <a:lnTo>
                      <a:pt x="37" y="768"/>
                    </a:lnTo>
                    <a:lnTo>
                      <a:pt x="73" y="1536"/>
                    </a:lnTo>
                    <a:close/>
                  </a:path>
                </a:pathLst>
              </a:custGeom>
              <a:grpFill/>
              <a:ln w="9525">
                <a:noFill/>
                <a:round/>
                <a:headEnd/>
                <a:tailEnd/>
              </a:ln>
            </p:spPr>
            <p:txBody>
              <a:bodyPr/>
              <a:lstStyle/>
              <a:p>
                <a:pPr fontAlgn="base">
                  <a:spcBef>
                    <a:spcPct val="0"/>
                  </a:spcBef>
                  <a:spcAft>
                    <a:spcPct val="0"/>
                  </a:spcAft>
                </a:pPr>
                <a:endParaRPr lang="de-DE" sz="1100" b="1">
                  <a:solidFill>
                    <a:srgbClr val="FAEDBE">
                      <a:lumMod val="10000"/>
                    </a:srgbClr>
                  </a:solidFill>
                </a:endParaRPr>
              </a:p>
            </p:txBody>
          </p:sp>
          <p:sp>
            <p:nvSpPr>
              <p:cNvPr id="130" name="Freeform 93"/>
              <p:cNvSpPr>
                <a:spLocks noChangeAspect="1"/>
              </p:cNvSpPr>
              <p:nvPr/>
            </p:nvSpPr>
            <p:spPr bwMode="gray">
              <a:xfrm>
                <a:off x="956" y="2007"/>
                <a:ext cx="15" cy="252"/>
              </a:xfrm>
              <a:custGeom>
                <a:avLst/>
                <a:gdLst>
                  <a:gd name="T0" fmla="*/ 60 w 60"/>
                  <a:gd name="T1" fmla="*/ 3 h 1534"/>
                  <a:gd name="T2" fmla="*/ 53 w 60"/>
                  <a:gd name="T3" fmla="*/ 25 h 1534"/>
                  <a:gd name="T4" fmla="*/ 48 w 60"/>
                  <a:gd name="T5" fmla="*/ 78 h 1534"/>
                  <a:gd name="T6" fmla="*/ 45 w 60"/>
                  <a:gd name="T7" fmla="*/ 156 h 1534"/>
                  <a:gd name="T8" fmla="*/ 40 w 60"/>
                  <a:gd name="T9" fmla="*/ 254 h 1534"/>
                  <a:gd name="T10" fmla="*/ 35 w 60"/>
                  <a:gd name="T11" fmla="*/ 498 h 1534"/>
                  <a:gd name="T12" fmla="*/ 30 w 60"/>
                  <a:gd name="T13" fmla="*/ 775 h 1534"/>
                  <a:gd name="T14" fmla="*/ 26 w 60"/>
                  <a:gd name="T15" fmla="*/ 1293 h 1534"/>
                  <a:gd name="T16" fmla="*/ 26 w 60"/>
                  <a:gd name="T17" fmla="*/ 1534 h 1534"/>
                  <a:gd name="T18" fmla="*/ 0 w 60"/>
                  <a:gd name="T19" fmla="*/ 1534 h 1534"/>
                  <a:gd name="T20" fmla="*/ 0 w 60"/>
                  <a:gd name="T21" fmla="*/ 1293 h 1534"/>
                  <a:gd name="T22" fmla="*/ 3 w 60"/>
                  <a:gd name="T23" fmla="*/ 775 h 1534"/>
                  <a:gd name="T24" fmla="*/ 8 w 60"/>
                  <a:gd name="T25" fmla="*/ 498 h 1534"/>
                  <a:gd name="T26" fmla="*/ 13 w 60"/>
                  <a:gd name="T27" fmla="*/ 254 h 1534"/>
                  <a:gd name="T28" fmla="*/ 18 w 60"/>
                  <a:gd name="T29" fmla="*/ 156 h 1534"/>
                  <a:gd name="T30" fmla="*/ 22 w 60"/>
                  <a:gd name="T31" fmla="*/ 78 h 1534"/>
                  <a:gd name="T32" fmla="*/ 26 w 60"/>
                  <a:gd name="T33" fmla="*/ 23 h 1534"/>
                  <a:gd name="T34" fmla="*/ 33 w 60"/>
                  <a:gd name="T35" fmla="*/ 0 h 1534"/>
                  <a:gd name="T36" fmla="*/ 60 w 60"/>
                  <a:gd name="T37" fmla="*/ 3 h 15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34"/>
                  <a:gd name="T59" fmla="*/ 60 w 60"/>
                  <a:gd name="T60" fmla="*/ 1534 h 15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34">
                    <a:moveTo>
                      <a:pt x="60" y="3"/>
                    </a:moveTo>
                    <a:lnTo>
                      <a:pt x="53" y="25"/>
                    </a:lnTo>
                    <a:lnTo>
                      <a:pt x="48" y="78"/>
                    </a:lnTo>
                    <a:lnTo>
                      <a:pt x="45" y="156"/>
                    </a:lnTo>
                    <a:lnTo>
                      <a:pt x="40" y="254"/>
                    </a:lnTo>
                    <a:lnTo>
                      <a:pt x="35" y="498"/>
                    </a:lnTo>
                    <a:lnTo>
                      <a:pt x="30" y="775"/>
                    </a:lnTo>
                    <a:lnTo>
                      <a:pt x="26" y="1293"/>
                    </a:lnTo>
                    <a:lnTo>
                      <a:pt x="26" y="1534"/>
                    </a:lnTo>
                    <a:lnTo>
                      <a:pt x="0" y="1534"/>
                    </a:lnTo>
                    <a:lnTo>
                      <a:pt x="0" y="1293"/>
                    </a:lnTo>
                    <a:lnTo>
                      <a:pt x="3" y="775"/>
                    </a:lnTo>
                    <a:lnTo>
                      <a:pt x="8" y="498"/>
                    </a:lnTo>
                    <a:lnTo>
                      <a:pt x="13" y="254"/>
                    </a:lnTo>
                    <a:lnTo>
                      <a:pt x="18" y="156"/>
                    </a:lnTo>
                    <a:lnTo>
                      <a:pt x="22" y="78"/>
                    </a:lnTo>
                    <a:lnTo>
                      <a:pt x="26" y="23"/>
                    </a:lnTo>
                    <a:lnTo>
                      <a:pt x="33" y="0"/>
                    </a:lnTo>
                    <a:lnTo>
                      <a:pt x="60" y="3"/>
                    </a:lnTo>
                    <a:close/>
                  </a:path>
                </a:pathLst>
              </a:custGeom>
              <a:grpFill/>
              <a:ln w="9525">
                <a:noFill/>
                <a:round/>
                <a:headEnd/>
                <a:tailEnd/>
              </a:ln>
            </p:spPr>
            <p:txBody>
              <a:bodyPr/>
              <a:lstStyle/>
              <a:p>
                <a:pPr fontAlgn="base">
                  <a:spcBef>
                    <a:spcPct val="0"/>
                  </a:spcBef>
                  <a:spcAft>
                    <a:spcPct val="0"/>
                  </a:spcAft>
                </a:pPr>
                <a:endParaRPr lang="de-DE" sz="1100" b="1">
                  <a:solidFill>
                    <a:srgbClr val="FAEDBE">
                      <a:lumMod val="10000"/>
                    </a:srgbClr>
                  </a:solidFill>
                </a:endParaRPr>
              </a:p>
            </p:txBody>
          </p:sp>
          <p:grpSp>
            <p:nvGrpSpPr>
              <p:cNvPr id="131" name="Group 94"/>
              <p:cNvGrpSpPr>
                <a:grpSpLocks noChangeAspect="1"/>
              </p:cNvGrpSpPr>
              <p:nvPr/>
            </p:nvGrpSpPr>
            <p:grpSpPr bwMode="auto">
              <a:xfrm>
                <a:off x="1002" y="2090"/>
                <a:ext cx="259" cy="169"/>
                <a:chOff x="1002" y="2090"/>
                <a:chExt cx="325" cy="169"/>
              </a:xfrm>
              <a:grpFill/>
            </p:grpSpPr>
            <p:sp>
              <p:nvSpPr>
                <p:cNvPr id="133" name="Freeform 95"/>
                <p:cNvSpPr>
                  <a:spLocks noChangeAspect="1"/>
                </p:cNvSpPr>
                <p:nvPr/>
              </p:nvSpPr>
              <p:spPr bwMode="gray">
                <a:xfrm>
                  <a:off x="1008" y="2099"/>
                  <a:ext cx="319" cy="160"/>
                </a:xfrm>
                <a:custGeom>
                  <a:avLst/>
                  <a:gdLst>
                    <a:gd name="T0" fmla="*/ 10 w 1291"/>
                    <a:gd name="T1" fmla="*/ 306 h 975"/>
                    <a:gd name="T2" fmla="*/ 404 w 1291"/>
                    <a:gd name="T3" fmla="*/ 21 h 975"/>
                    <a:gd name="T4" fmla="*/ 417 w 1291"/>
                    <a:gd name="T5" fmla="*/ 321 h 975"/>
                    <a:gd name="T6" fmla="*/ 443 w 1291"/>
                    <a:gd name="T7" fmla="*/ 298 h 975"/>
                    <a:gd name="T8" fmla="*/ 470 w 1291"/>
                    <a:gd name="T9" fmla="*/ 276 h 975"/>
                    <a:gd name="T10" fmla="*/ 518 w 1291"/>
                    <a:gd name="T11" fmla="*/ 236 h 975"/>
                    <a:gd name="T12" fmla="*/ 604 w 1291"/>
                    <a:gd name="T13" fmla="*/ 167 h 975"/>
                    <a:gd name="T14" fmla="*/ 645 w 1291"/>
                    <a:gd name="T15" fmla="*/ 135 h 975"/>
                    <a:gd name="T16" fmla="*/ 665 w 1291"/>
                    <a:gd name="T17" fmla="*/ 117 h 975"/>
                    <a:gd name="T18" fmla="*/ 687 w 1291"/>
                    <a:gd name="T19" fmla="*/ 98 h 975"/>
                    <a:gd name="T20" fmla="*/ 710 w 1291"/>
                    <a:gd name="T21" fmla="*/ 79 h 975"/>
                    <a:gd name="T22" fmla="*/ 731 w 1291"/>
                    <a:gd name="T23" fmla="*/ 58 h 975"/>
                    <a:gd name="T24" fmla="*/ 756 w 1291"/>
                    <a:gd name="T25" fmla="*/ 35 h 975"/>
                    <a:gd name="T26" fmla="*/ 781 w 1291"/>
                    <a:gd name="T27" fmla="*/ 10 h 975"/>
                    <a:gd name="T28" fmla="*/ 788 w 1291"/>
                    <a:gd name="T29" fmla="*/ 321 h 975"/>
                    <a:gd name="T30" fmla="*/ 962 w 1291"/>
                    <a:gd name="T31" fmla="*/ 161 h 975"/>
                    <a:gd name="T32" fmla="*/ 1041 w 1291"/>
                    <a:gd name="T33" fmla="*/ 87 h 975"/>
                    <a:gd name="T34" fmla="*/ 1132 w 1291"/>
                    <a:gd name="T35" fmla="*/ 0 h 975"/>
                    <a:gd name="T36" fmla="*/ 1132 w 1291"/>
                    <a:gd name="T37" fmla="*/ 6 h 975"/>
                    <a:gd name="T38" fmla="*/ 1132 w 1291"/>
                    <a:gd name="T39" fmla="*/ 18 h 975"/>
                    <a:gd name="T40" fmla="*/ 1132 w 1291"/>
                    <a:gd name="T41" fmla="*/ 34 h 975"/>
                    <a:gd name="T42" fmla="*/ 1134 w 1291"/>
                    <a:gd name="T43" fmla="*/ 53 h 975"/>
                    <a:gd name="T44" fmla="*/ 1144 w 1291"/>
                    <a:gd name="T45" fmla="*/ 153 h 975"/>
                    <a:gd name="T46" fmla="*/ 1149 w 1291"/>
                    <a:gd name="T47" fmla="*/ 206 h 975"/>
                    <a:gd name="T48" fmla="*/ 1154 w 1291"/>
                    <a:gd name="T49" fmla="*/ 255 h 975"/>
                    <a:gd name="T50" fmla="*/ 1154 w 1291"/>
                    <a:gd name="T51" fmla="*/ 293 h 975"/>
                    <a:gd name="T52" fmla="*/ 1154 w 1291"/>
                    <a:gd name="T53" fmla="*/ 307 h 975"/>
                    <a:gd name="T54" fmla="*/ 1152 w 1291"/>
                    <a:gd name="T55" fmla="*/ 316 h 975"/>
                    <a:gd name="T56" fmla="*/ 1291 w 1291"/>
                    <a:gd name="T57" fmla="*/ 316 h 975"/>
                    <a:gd name="T58" fmla="*/ 1284 w 1291"/>
                    <a:gd name="T59" fmla="*/ 971 h 975"/>
                    <a:gd name="T60" fmla="*/ 0 w 1291"/>
                    <a:gd name="T61" fmla="*/ 975 h 975"/>
                    <a:gd name="T62" fmla="*/ 10 w 1291"/>
                    <a:gd name="T63" fmla="*/ 306 h 97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91"/>
                    <a:gd name="T97" fmla="*/ 0 h 975"/>
                    <a:gd name="T98" fmla="*/ 1291 w 1291"/>
                    <a:gd name="T99" fmla="*/ 975 h 97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91" h="975">
                      <a:moveTo>
                        <a:pt x="10" y="306"/>
                      </a:moveTo>
                      <a:lnTo>
                        <a:pt x="404" y="21"/>
                      </a:lnTo>
                      <a:lnTo>
                        <a:pt x="417" y="321"/>
                      </a:lnTo>
                      <a:lnTo>
                        <a:pt x="443" y="298"/>
                      </a:lnTo>
                      <a:lnTo>
                        <a:pt x="470" y="276"/>
                      </a:lnTo>
                      <a:lnTo>
                        <a:pt x="518" y="236"/>
                      </a:lnTo>
                      <a:lnTo>
                        <a:pt x="604" y="167"/>
                      </a:lnTo>
                      <a:lnTo>
                        <a:pt x="645" y="135"/>
                      </a:lnTo>
                      <a:lnTo>
                        <a:pt x="665" y="117"/>
                      </a:lnTo>
                      <a:lnTo>
                        <a:pt x="687" y="98"/>
                      </a:lnTo>
                      <a:lnTo>
                        <a:pt x="710" y="79"/>
                      </a:lnTo>
                      <a:lnTo>
                        <a:pt x="731" y="58"/>
                      </a:lnTo>
                      <a:lnTo>
                        <a:pt x="756" y="35"/>
                      </a:lnTo>
                      <a:lnTo>
                        <a:pt x="781" y="10"/>
                      </a:lnTo>
                      <a:lnTo>
                        <a:pt x="788" y="321"/>
                      </a:lnTo>
                      <a:lnTo>
                        <a:pt x="962" y="161"/>
                      </a:lnTo>
                      <a:lnTo>
                        <a:pt x="1041" y="87"/>
                      </a:lnTo>
                      <a:lnTo>
                        <a:pt x="1132" y="0"/>
                      </a:lnTo>
                      <a:lnTo>
                        <a:pt x="1132" y="6"/>
                      </a:lnTo>
                      <a:lnTo>
                        <a:pt x="1132" y="18"/>
                      </a:lnTo>
                      <a:lnTo>
                        <a:pt x="1132" y="34"/>
                      </a:lnTo>
                      <a:lnTo>
                        <a:pt x="1134" y="53"/>
                      </a:lnTo>
                      <a:lnTo>
                        <a:pt x="1144" y="153"/>
                      </a:lnTo>
                      <a:lnTo>
                        <a:pt x="1149" y="206"/>
                      </a:lnTo>
                      <a:lnTo>
                        <a:pt x="1154" y="255"/>
                      </a:lnTo>
                      <a:lnTo>
                        <a:pt x="1154" y="293"/>
                      </a:lnTo>
                      <a:lnTo>
                        <a:pt x="1154" y="307"/>
                      </a:lnTo>
                      <a:lnTo>
                        <a:pt x="1152" y="316"/>
                      </a:lnTo>
                      <a:lnTo>
                        <a:pt x="1291" y="316"/>
                      </a:lnTo>
                      <a:lnTo>
                        <a:pt x="1284" y="971"/>
                      </a:lnTo>
                      <a:lnTo>
                        <a:pt x="0" y="975"/>
                      </a:lnTo>
                      <a:lnTo>
                        <a:pt x="10" y="306"/>
                      </a:lnTo>
                      <a:close/>
                    </a:path>
                  </a:pathLst>
                </a:custGeom>
                <a:grpFill/>
                <a:ln w="9525">
                  <a:noFill/>
                  <a:round/>
                  <a:headEnd/>
                  <a:tailEnd/>
                </a:ln>
              </p:spPr>
              <p:txBody>
                <a:bodyPr/>
                <a:lstStyle/>
                <a:p>
                  <a:pPr fontAlgn="base">
                    <a:spcBef>
                      <a:spcPct val="0"/>
                    </a:spcBef>
                    <a:spcAft>
                      <a:spcPct val="0"/>
                    </a:spcAft>
                  </a:pPr>
                  <a:endParaRPr lang="de-DE" sz="1100" b="1">
                    <a:solidFill>
                      <a:srgbClr val="FAEDBE">
                        <a:lumMod val="10000"/>
                      </a:srgbClr>
                    </a:solidFill>
                  </a:endParaRPr>
                </a:p>
              </p:txBody>
            </p:sp>
            <p:sp>
              <p:nvSpPr>
                <p:cNvPr id="134" name="Freeform 96"/>
                <p:cNvSpPr>
                  <a:spLocks noChangeAspect="1"/>
                </p:cNvSpPr>
                <p:nvPr/>
              </p:nvSpPr>
              <p:spPr bwMode="gray">
                <a:xfrm>
                  <a:off x="1006" y="2100"/>
                  <a:ext cx="107" cy="52"/>
                </a:xfrm>
                <a:custGeom>
                  <a:avLst/>
                  <a:gdLst>
                    <a:gd name="T0" fmla="*/ 0 w 430"/>
                    <a:gd name="T1" fmla="*/ 286 h 315"/>
                    <a:gd name="T2" fmla="*/ 36 w 430"/>
                    <a:gd name="T3" fmla="*/ 315 h 315"/>
                    <a:gd name="T4" fmla="*/ 430 w 430"/>
                    <a:gd name="T5" fmla="*/ 30 h 315"/>
                    <a:gd name="T6" fmla="*/ 394 w 430"/>
                    <a:gd name="T7" fmla="*/ 0 h 315"/>
                    <a:gd name="T8" fmla="*/ 0 w 430"/>
                    <a:gd name="T9" fmla="*/ 286 h 315"/>
                    <a:gd name="T10" fmla="*/ 0 60000 65536"/>
                    <a:gd name="T11" fmla="*/ 0 60000 65536"/>
                    <a:gd name="T12" fmla="*/ 0 60000 65536"/>
                    <a:gd name="T13" fmla="*/ 0 60000 65536"/>
                    <a:gd name="T14" fmla="*/ 0 60000 65536"/>
                    <a:gd name="T15" fmla="*/ 0 w 430"/>
                    <a:gd name="T16" fmla="*/ 0 h 315"/>
                    <a:gd name="T17" fmla="*/ 430 w 430"/>
                    <a:gd name="T18" fmla="*/ 315 h 315"/>
                  </a:gdLst>
                  <a:ahLst/>
                  <a:cxnLst>
                    <a:cxn ang="T10">
                      <a:pos x="T0" y="T1"/>
                    </a:cxn>
                    <a:cxn ang="T11">
                      <a:pos x="T2" y="T3"/>
                    </a:cxn>
                    <a:cxn ang="T12">
                      <a:pos x="T4" y="T5"/>
                    </a:cxn>
                    <a:cxn ang="T13">
                      <a:pos x="T6" y="T7"/>
                    </a:cxn>
                    <a:cxn ang="T14">
                      <a:pos x="T8" y="T9"/>
                    </a:cxn>
                  </a:cxnLst>
                  <a:rect l="T15" t="T16" r="T17" b="T18"/>
                  <a:pathLst>
                    <a:path w="430" h="315">
                      <a:moveTo>
                        <a:pt x="0" y="286"/>
                      </a:moveTo>
                      <a:lnTo>
                        <a:pt x="36" y="315"/>
                      </a:lnTo>
                      <a:lnTo>
                        <a:pt x="430" y="30"/>
                      </a:lnTo>
                      <a:lnTo>
                        <a:pt x="394" y="0"/>
                      </a:lnTo>
                      <a:lnTo>
                        <a:pt x="0" y="286"/>
                      </a:lnTo>
                      <a:close/>
                    </a:path>
                  </a:pathLst>
                </a:custGeom>
                <a:grpFill/>
                <a:ln w="9525">
                  <a:noFill/>
                  <a:round/>
                  <a:headEnd/>
                  <a:tailEnd/>
                </a:ln>
              </p:spPr>
              <p:txBody>
                <a:bodyPr/>
                <a:lstStyle/>
                <a:p>
                  <a:pPr fontAlgn="base">
                    <a:spcBef>
                      <a:spcPct val="0"/>
                    </a:spcBef>
                    <a:spcAft>
                      <a:spcPct val="0"/>
                    </a:spcAft>
                  </a:pPr>
                  <a:endParaRPr lang="de-DE" sz="1100" b="1">
                    <a:solidFill>
                      <a:srgbClr val="FAEDBE">
                        <a:lumMod val="10000"/>
                      </a:srgbClr>
                    </a:solidFill>
                  </a:endParaRPr>
                </a:p>
              </p:txBody>
            </p:sp>
            <p:sp>
              <p:nvSpPr>
                <p:cNvPr id="135" name="Freeform 97"/>
                <p:cNvSpPr>
                  <a:spLocks noChangeAspect="1"/>
                </p:cNvSpPr>
                <p:nvPr/>
              </p:nvSpPr>
              <p:spPr bwMode="gray">
                <a:xfrm>
                  <a:off x="1102" y="2102"/>
                  <a:ext cx="16" cy="50"/>
                </a:xfrm>
                <a:custGeom>
                  <a:avLst/>
                  <a:gdLst>
                    <a:gd name="T0" fmla="*/ 53 w 66"/>
                    <a:gd name="T1" fmla="*/ 0 h 302"/>
                    <a:gd name="T2" fmla="*/ 0 w 66"/>
                    <a:gd name="T3" fmla="*/ 1 h 302"/>
                    <a:gd name="T4" fmla="*/ 13 w 66"/>
                    <a:gd name="T5" fmla="*/ 302 h 302"/>
                    <a:gd name="T6" fmla="*/ 66 w 66"/>
                    <a:gd name="T7" fmla="*/ 300 h 302"/>
                    <a:gd name="T8" fmla="*/ 53 w 66"/>
                    <a:gd name="T9" fmla="*/ 0 h 302"/>
                    <a:gd name="T10" fmla="*/ 0 60000 65536"/>
                    <a:gd name="T11" fmla="*/ 0 60000 65536"/>
                    <a:gd name="T12" fmla="*/ 0 60000 65536"/>
                    <a:gd name="T13" fmla="*/ 0 60000 65536"/>
                    <a:gd name="T14" fmla="*/ 0 60000 65536"/>
                    <a:gd name="T15" fmla="*/ 0 w 66"/>
                    <a:gd name="T16" fmla="*/ 0 h 302"/>
                    <a:gd name="T17" fmla="*/ 66 w 66"/>
                    <a:gd name="T18" fmla="*/ 302 h 302"/>
                  </a:gdLst>
                  <a:ahLst/>
                  <a:cxnLst>
                    <a:cxn ang="T10">
                      <a:pos x="T0" y="T1"/>
                    </a:cxn>
                    <a:cxn ang="T11">
                      <a:pos x="T2" y="T3"/>
                    </a:cxn>
                    <a:cxn ang="T12">
                      <a:pos x="T4" y="T5"/>
                    </a:cxn>
                    <a:cxn ang="T13">
                      <a:pos x="T6" y="T7"/>
                    </a:cxn>
                    <a:cxn ang="T14">
                      <a:pos x="T8" y="T9"/>
                    </a:cxn>
                  </a:cxnLst>
                  <a:rect l="T15" t="T16" r="T17" b="T18"/>
                  <a:pathLst>
                    <a:path w="66" h="302">
                      <a:moveTo>
                        <a:pt x="53" y="0"/>
                      </a:moveTo>
                      <a:lnTo>
                        <a:pt x="0" y="1"/>
                      </a:lnTo>
                      <a:lnTo>
                        <a:pt x="13" y="302"/>
                      </a:lnTo>
                      <a:lnTo>
                        <a:pt x="66" y="300"/>
                      </a:lnTo>
                      <a:lnTo>
                        <a:pt x="53" y="0"/>
                      </a:lnTo>
                      <a:close/>
                    </a:path>
                  </a:pathLst>
                </a:custGeom>
                <a:grpFill/>
                <a:ln w="9525">
                  <a:noFill/>
                  <a:round/>
                  <a:headEnd/>
                  <a:tailEnd/>
                </a:ln>
              </p:spPr>
              <p:txBody>
                <a:bodyPr/>
                <a:lstStyle/>
                <a:p>
                  <a:pPr fontAlgn="base">
                    <a:spcBef>
                      <a:spcPct val="0"/>
                    </a:spcBef>
                    <a:spcAft>
                      <a:spcPct val="0"/>
                    </a:spcAft>
                  </a:pPr>
                  <a:endParaRPr lang="de-DE" sz="1100" b="1">
                    <a:solidFill>
                      <a:srgbClr val="FAEDBE">
                        <a:lumMod val="10000"/>
                      </a:srgbClr>
                    </a:solidFill>
                  </a:endParaRPr>
                </a:p>
              </p:txBody>
            </p:sp>
            <p:sp>
              <p:nvSpPr>
                <p:cNvPr id="136" name="Freeform 98"/>
                <p:cNvSpPr>
                  <a:spLocks noChangeAspect="1"/>
                </p:cNvSpPr>
                <p:nvPr/>
              </p:nvSpPr>
              <p:spPr bwMode="gray">
                <a:xfrm>
                  <a:off x="1102" y="2094"/>
                  <a:ext cx="13" cy="11"/>
                </a:xfrm>
                <a:custGeom>
                  <a:avLst/>
                  <a:gdLst>
                    <a:gd name="T0" fmla="*/ 9 w 53"/>
                    <a:gd name="T1" fmla="*/ 31 h 61"/>
                    <a:gd name="T2" fmla="*/ 52 w 53"/>
                    <a:gd name="T3" fmla="*/ 0 h 61"/>
                    <a:gd name="T4" fmla="*/ 53 w 53"/>
                    <a:gd name="T5" fmla="*/ 46 h 61"/>
                    <a:gd name="T6" fmla="*/ 0 w 53"/>
                    <a:gd name="T7" fmla="*/ 47 h 61"/>
                    <a:gd name="T8" fmla="*/ 45 w 53"/>
                    <a:gd name="T9" fmla="*/ 61 h 61"/>
                    <a:gd name="T10" fmla="*/ 9 w 53"/>
                    <a:gd name="T11" fmla="*/ 31 h 61"/>
                    <a:gd name="T12" fmla="*/ 0 60000 65536"/>
                    <a:gd name="T13" fmla="*/ 0 60000 65536"/>
                    <a:gd name="T14" fmla="*/ 0 60000 65536"/>
                    <a:gd name="T15" fmla="*/ 0 60000 65536"/>
                    <a:gd name="T16" fmla="*/ 0 60000 65536"/>
                    <a:gd name="T17" fmla="*/ 0 60000 65536"/>
                    <a:gd name="T18" fmla="*/ 0 w 53"/>
                    <a:gd name="T19" fmla="*/ 0 h 61"/>
                    <a:gd name="T20" fmla="*/ 53 w 53"/>
                    <a:gd name="T21" fmla="*/ 61 h 61"/>
                  </a:gdLst>
                  <a:ahLst/>
                  <a:cxnLst>
                    <a:cxn ang="T12">
                      <a:pos x="T0" y="T1"/>
                    </a:cxn>
                    <a:cxn ang="T13">
                      <a:pos x="T2" y="T3"/>
                    </a:cxn>
                    <a:cxn ang="T14">
                      <a:pos x="T4" y="T5"/>
                    </a:cxn>
                    <a:cxn ang="T15">
                      <a:pos x="T6" y="T7"/>
                    </a:cxn>
                    <a:cxn ang="T16">
                      <a:pos x="T8" y="T9"/>
                    </a:cxn>
                    <a:cxn ang="T17">
                      <a:pos x="T10" y="T11"/>
                    </a:cxn>
                  </a:cxnLst>
                  <a:rect l="T18" t="T19" r="T20" b="T21"/>
                  <a:pathLst>
                    <a:path w="53" h="61">
                      <a:moveTo>
                        <a:pt x="9" y="31"/>
                      </a:moveTo>
                      <a:lnTo>
                        <a:pt x="52" y="0"/>
                      </a:lnTo>
                      <a:lnTo>
                        <a:pt x="53" y="46"/>
                      </a:lnTo>
                      <a:lnTo>
                        <a:pt x="0" y="47"/>
                      </a:lnTo>
                      <a:lnTo>
                        <a:pt x="45" y="61"/>
                      </a:lnTo>
                      <a:lnTo>
                        <a:pt x="9" y="31"/>
                      </a:lnTo>
                      <a:close/>
                    </a:path>
                  </a:pathLst>
                </a:custGeom>
                <a:grpFill/>
                <a:ln w="9525">
                  <a:noFill/>
                  <a:round/>
                  <a:headEnd/>
                  <a:tailEnd/>
                </a:ln>
              </p:spPr>
              <p:txBody>
                <a:bodyPr/>
                <a:lstStyle/>
                <a:p>
                  <a:pPr fontAlgn="base">
                    <a:spcBef>
                      <a:spcPct val="0"/>
                    </a:spcBef>
                    <a:spcAft>
                      <a:spcPct val="0"/>
                    </a:spcAft>
                  </a:pPr>
                  <a:endParaRPr lang="de-DE" sz="1100" b="1">
                    <a:solidFill>
                      <a:srgbClr val="FAEDBE">
                        <a:lumMod val="10000"/>
                      </a:srgbClr>
                    </a:solidFill>
                  </a:endParaRPr>
                </a:p>
              </p:txBody>
            </p:sp>
            <p:sp>
              <p:nvSpPr>
                <p:cNvPr id="137" name="Freeform 136"/>
                <p:cNvSpPr>
                  <a:spLocks noChangeAspect="1"/>
                </p:cNvSpPr>
                <p:nvPr/>
              </p:nvSpPr>
              <p:spPr bwMode="gray">
                <a:xfrm>
                  <a:off x="1107" y="2098"/>
                  <a:ext cx="99" cy="56"/>
                </a:xfrm>
                <a:custGeom>
                  <a:avLst/>
                  <a:gdLst>
                    <a:gd name="T0" fmla="*/ 0 w 404"/>
                    <a:gd name="T1" fmla="*/ 310 h 339"/>
                    <a:gd name="T2" fmla="*/ 101 w 404"/>
                    <a:gd name="T3" fmla="*/ 225 h 339"/>
                    <a:gd name="T4" fmla="*/ 187 w 404"/>
                    <a:gd name="T5" fmla="*/ 156 h 339"/>
                    <a:gd name="T6" fmla="*/ 270 w 404"/>
                    <a:gd name="T7" fmla="*/ 87 h 339"/>
                    <a:gd name="T8" fmla="*/ 315 w 404"/>
                    <a:gd name="T9" fmla="*/ 47 h 339"/>
                    <a:gd name="T10" fmla="*/ 364 w 404"/>
                    <a:gd name="T11" fmla="*/ 0 h 339"/>
                    <a:gd name="T12" fmla="*/ 404 w 404"/>
                    <a:gd name="T13" fmla="*/ 28 h 339"/>
                    <a:gd name="T14" fmla="*/ 354 w 404"/>
                    <a:gd name="T15" fmla="*/ 74 h 339"/>
                    <a:gd name="T16" fmla="*/ 308 w 404"/>
                    <a:gd name="T17" fmla="*/ 116 h 339"/>
                    <a:gd name="T18" fmla="*/ 225 w 404"/>
                    <a:gd name="T19" fmla="*/ 184 h 339"/>
                    <a:gd name="T20" fmla="*/ 139 w 404"/>
                    <a:gd name="T21" fmla="*/ 253 h 339"/>
                    <a:gd name="T22" fmla="*/ 38 w 404"/>
                    <a:gd name="T23" fmla="*/ 339 h 339"/>
                    <a:gd name="T24" fmla="*/ 0 w 404"/>
                    <a:gd name="T25" fmla="*/ 310 h 3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04"/>
                    <a:gd name="T40" fmla="*/ 0 h 339"/>
                    <a:gd name="T41" fmla="*/ 404 w 404"/>
                    <a:gd name="T42" fmla="*/ 339 h 33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04" h="339">
                      <a:moveTo>
                        <a:pt x="0" y="310"/>
                      </a:moveTo>
                      <a:lnTo>
                        <a:pt x="101" y="225"/>
                      </a:lnTo>
                      <a:lnTo>
                        <a:pt x="187" y="156"/>
                      </a:lnTo>
                      <a:lnTo>
                        <a:pt x="270" y="87"/>
                      </a:lnTo>
                      <a:lnTo>
                        <a:pt x="315" y="47"/>
                      </a:lnTo>
                      <a:lnTo>
                        <a:pt x="364" y="0"/>
                      </a:lnTo>
                      <a:lnTo>
                        <a:pt x="404" y="28"/>
                      </a:lnTo>
                      <a:lnTo>
                        <a:pt x="354" y="74"/>
                      </a:lnTo>
                      <a:lnTo>
                        <a:pt x="308" y="116"/>
                      </a:lnTo>
                      <a:lnTo>
                        <a:pt x="225" y="184"/>
                      </a:lnTo>
                      <a:lnTo>
                        <a:pt x="139" y="253"/>
                      </a:lnTo>
                      <a:lnTo>
                        <a:pt x="38" y="339"/>
                      </a:lnTo>
                      <a:lnTo>
                        <a:pt x="0" y="310"/>
                      </a:lnTo>
                      <a:close/>
                    </a:path>
                  </a:pathLst>
                </a:custGeom>
                <a:grpFill/>
                <a:ln w="9525">
                  <a:noFill/>
                  <a:round/>
                  <a:headEnd/>
                  <a:tailEnd/>
                </a:ln>
              </p:spPr>
              <p:txBody>
                <a:bodyPr/>
                <a:lstStyle/>
                <a:p>
                  <a:pPr fontAlgn="base">
                    <a:spcBef>
                      <a:spcPct val="0"/>
                    </a:spcBef>
                    <a:spcAft>
                      <a:spcPct val="0"/>
                    </a:spcAft>
                  </a:pPr>
                  <a:endParaRPr lang="de-DE" sz="1100" b="1">
                    <a:solidFill>
                      <a:srgbClr val="FAEDBE">
                        <a:lumMod val="10000"/>
                      </a:srgbClr>
                    </a:solidFill>
                  </a:endParaRPr>
                </a:p>
              </p:txBody>
            </p:sp>
            <p:sp>
              <p:nvSpPr>
                <p:cNvPr id="138" name="Freeform 137"/>
                <p:cNvSpPr>
                  <a:spLocks noChangeAspect="1"/>
                </p:cNvSpPr>
                <p:nvPr/>
              </p:nvSpPr>
              <p:spPr bwMode="gray">
                <a:xfrm>
                  <a:off x="1105" y="2149"/>
                  <a:ext cx="13" cy="11"/>
                </a:xfrm>
                <a:custGeom>
                  <a:avLst/>
                  <a:gdLst>
                    <a:gd name="T0" fmla="*/ 0 w 53"/>
                    <a:gd name="T1" fmla="*/ 16 h 65"/>
                    <a:gd name="T2" fmla="*/ 2 w 53"/>
                    <a:gd name="T3" fmla="*/ 65 h 65"/>
                    <a:gd name="T4" fmla="*/ 45 w 53"/>
                    <a:gd name="T5" fmla="*/ 29 h 65"/>
                    <a:gd name="T6" fmla="*/ 7 w 53"/>
                    <a:gd name="T7" fmla="*/ 0 h 65"/>
                    <a:gd name="T8" fmla="*/ 53 w 53"/>
                    <a:gd name="T9" fmla="*/ 14 h 65"/>
                    <a:gd name="T10" fmla="*/ 0 w 53"/>
                    <a:gd name="T11" fmla="*/ 16 h 65"/>
                    <a:gd name="T12" fmla="*/ 0 60000 65536"/>
                    <a:gd name="T13" fmla="*/ 0 60000 65536"/>
                    <a:gd name="T14" fmla="*/ 0 60000 65536"/>
                    <a:gd name="T15" fmla="*/ 0 60000 65536"/>
                    <a:gd name="T16" fmla="*/ 0 60000 65536"/>
                    <a:gd name="T17" fmla="*/ 0 60000 65536"/>
                    <a:gd name="T18" fmla="*/ 0 w 53"/>
                    <a:gd name="T19" fmla="*/ 0 h 65"/>
                    <a:gd name="T20" fmla="*/ 53 w 53"/>
                    <a:gd name="T21" fmla="*/ 65 h 65"/>
                  </a:gdLst>
                  <a:ahLst/>
                  <a:cxnLst>
                    <a:cxn ang="T12">
                      <a:pos x="T0" y="T1"/>
                    </a:cxn>
                    <a:cxn ang="T13">
                      <a:pos x="T2" y="T3"/>
                    </a:cxn>
                    <a:cxn ang="T14">
                      <a:pos x="T4" y="T5"/>
                    </a:cxn>
                    <a:cxn ang="T15">
                      <a:pos x="T6" y="T7"/>
                    </a:cxn>
                    <a:cxn ang="T16">
                      <a:pos x="T8" y="T9"/>
                    </a:cxn>
                    <a:cxn ang="T17">
                      <a:pos x="T10" y="T11"/>
                    </a:cxn>
                  </a:cxnLst>
                  <a:rect l="T18" t="T19" r="T20" b="T21"/>
                  <a:pathLst>
                    <a:path w="53" h="65">
                      <a:moveTo>
                        <a:pt x="0" y="16"/>
                      </a:moveTo>
                      <a:lnTo>
                        <a:pt x="2" y="65"/>
                      </a:lnTo>
                      <a:lnTo>
                        <a:pt x="45" y="29"/>
                      </a:lnTo>
                      <a:lnTo>
                        <a:pt x="7" y="0"/>
                      </a:lnTo>
                      <a:lnTo>
                        <a:pt x="53" y="14"/>
                      </a:lnTo>
                      <a:lnTo>
                        <a:pt x="0" y="16"/>
                      </a:lnTo>
                      <a:close/>
                    </a:path>
                  </a:pathLst>
                </a:custGeom>
                <a:grpFill/>
                <a:ln w="9525">
                  <a:noFill/>
                  <a:round/>
                  <a:headEnd/>
                  <a:tailEnd/>
                </a:ln>
              </p:spPr>
              <p:txBody>
                <a:bodyPr/>
                <a:lstStyle/>
                <a:p>
                  <a:pPr fontAlgn="base">
                    <a:spcBef>
                      <a:spcPct val="0"/>
                    </a:spcBef>
                    <a:spcAft>
                      <a:spcPct val="0"/>
                    </a:spcAft>
                  </a:pPr>
                  <a:endParaRPr lang="de-DE" sz="1100" b="1">
                    <a:solidFill>
                      <a:srgbClr val="FAEDBE">
                        <a:lumMod val="10000"/>
                      </a:srgbClr>
                    </a:solidFill>
                  </a:endParaRPr>
                </a:p>
              </p:txBody>
            </p:sp>
            <p:sp>
              <p:nvSpPr>
                <p:cNvPr id="139" name="Freeform 138"/>
                <p:cNvSpPr>
                  <a:spLocks noChangeAspect="1"/>
                </p:cNvSpPr>
                <p:nvPr/>
              </p:nvSpPr>
              <p:spPr bwMode="gray">
                <a:xfrm>
                  <a:off x="1195" y="2100"/>
                  <a:ext cx="14" cy="52"/>
                </a:xfrm>
                <a:custGeom>
                  <a:avLst/>
                  <a:gdLst>
                    <a:gd name="T0" fmla="*/ 53 w 59"/>
                    <a:gd name="T1" fmla="*/ 0 h 313"/>
                    <a:gd name="T2" fmla="*/ 0 w 59"/>
                    <a:gd name="T3" fmla="*/ 2 h 313"/>
                    <a:gd name="T4" fmla="*/ 6 w 59"/>
                    <a:gd name="T5" fmla="*/ 313 h 313"/>
                    <a:gd name="T6" fmla="*/ 59 w 59"/>
                    <a:gd name="T7" fmla="*/ 311 h 313"/>
                    <a:gd name="T8" fmla="*/ 53 w 59"/>
                    <a:gd name="T9" fmla="*/ 0 h 313"/>
                    <a:gd name="T10" fmla="*/ 0 60000 65536"/>
                    <a:gd name="T11" fmla="*/ 0 60000 65536"/>
                    <a:gd name="T12" fmla="*/ 0 60000 65536"/>
                    <a:gd name="T13" fmla="*/ 0 60000 65536"/>
                    <a:gd name="T14" fmla="*/ 0 60000 65536"/>
                    <a:gd name="T15" fmla="*/ 0 w 59"/>
                    <a:gd name="T16" fmla="*/ 0 h 313"/>
                    <a:gd name="T17" fmla="*/ 59 w 59"/>
                    <a:gd name="T18" fmla="*/ 313 h 313"/>
                  </a:gdLst>
                  <a:ahLst/>
                  <a:cxnLst>
                    <a:cxn ang="T10">
                      <a:pos x="T0" y="T1"/>
                    </a:cxn>
                    <a:cxn ang="T11">
                      <a:pos x="T2" y="T3"/>
                    </a:cxn>
                    <a:cxn ang="T12">
                      <a:pos x="T4" y="T5"/>
                    </a:cxn>
                    <a:cxn ang="T13">
                      <a:pos x="T6" y="T7"/>
                    </a:cxn>
                    <a:cxn ang="T14">
                      <a:pos x="T8" y="T9"/>
                    </a:cxn>
                  </a:cxnLst>
                  <a:rect l="T15" t="T16" r="T17" b="T18"/>
                  <a:pathLst>
                    <a:path w="59" h="313">
                      <a:moveTo>
                        <a:pt x="53" y="0"/>
                      </a:moveTo>
                      <a:lnTo>
                        <a:pt x="0" y="2"/>
                      </a:lnTo>
                      <a:lnTo>
                        <a:pt x="6" y="313"/>
                      </a:lnTo>
                      <a:lnTo>
                        <a:pt x="59" y="311"/>
                      </a:lnTo>
                      <a:lnTo>
                        <a:pt x="53" y="0"/>
                      </a:lnTo>
                      <a:close/>
                    </a:path>
                  </a:pathLst>
                </a:custGeom>
                <a:grpFill/>
                <a:ln w="9525">
                  <a:noFill/>
                  <a:round/>
                  <a:headEnd/>
                  <a:tailEnd/>
                </a:ln>
              </p:spPr>
              <p:txBody>
                <a:bodyPr/>
                <a:lstStyle/>
                <a:p>
                  <a:pPr fontAlgn="base">
                    <a:spcBef>
                      <a:spcPct val="0"/>
                    </a:spcBef>
                    <a:spcAft>
                      <a:spcPct val="0"/>
                    </a:spcAft>
                  </a:pPr>
                  <a:endParaRPr lang="de-DE" sz="1100" b="1">
                    <a:solidFill>
                      <a:srgbClr val="FAEDBE">
                        <a:lumMod val="10000"/>
                      </a:srgbClr>
                    </a:solidFill>
                  </a:endParaRPr>
                </a:p>
              </p:txBody>
            </p:sp>
            <p:sp>
              <p:nvSpPr>
                <p:cNvPr id="140" name="Freeform 139"/>
                <p:cNvSpPr>
                  <a:spLocks noChangeAspect="1"/>
                </p:cNvSpPr>
                <p:nvPr/>
              </p:nvSpPr>
              <p:spPr bwMode="gray">
                <a:xfrm>
                  <a:off x="1195" y="2091"/>
                  <a:ext cx="13" cy="12"/>
                </a:xfrm>
                <a:custGeom>
                  <a:avLst/>
                  <a:gdLst>
                    <a:gd name="T0" fmla="*/ 6 w 53"/>
                    <a:gd name="T1" fmla="*/ 44 h 72"/>
                    <a:gd name="T2" fmla="*/ 51 w 53"/>
                    <a:gd name="T3" fmla="*/ 0 h 72"/>
                    <a:gd name="T4" fmla="*/ 53 w 53"/>
                    <a:gd name="T5" fmla="*/ 57 h 72"/>
                    <a:gd name="T6" fmla="*/ 0 w 53"/>
                    <a:gd name="T7" fmla="*/ 59 h 72"/>
                    <a:gd name="T8" fmla="*/ 46 w 53"/>
                    <a:gd name="T9" fmla="*/ 72 h 72"/>
                    <a:gd name="T10" fmla="*/ 6 w 53"/>
                    <a:gd name="T11" fmla="*/ 44 h 72"/>
                    <a:gd name="T12" fmla="*/ 0 60000 65536"/>
                    <a:gd name="T13" fmla="*/ 0 60000 65536"/>
                    <a:gd name="T14" fmla="*/ 0 60000 65536"/>
                    <a:gd name="T15" fmla="*/ 0 60000 65536"/>
                    <a:gd name="T16" fmla="*/ 0 60000 65536"/>
                    <a:gd name="T17" fmla="*/ 0 60000 65536"/>
                    <a:gd name="T18" fmla="*/ 0 w 53"/>
                    <a:gd name="T19" fmla="*/ 0 h 72"/>
                    <a:gd name="T20" fmla="*/ 53 w 53"/>
                    <a:gd name="T21" fmla="*/ 72 h 72"/>
                  </a:gdLst>
                  <a:ahLst/>
                  <a:cxnLst>
                    <a:cxn ang="T12">
                      <a:pos x="T0" y="T1"/>
                    </a:cxn>
                    <a:cxn ang="T13">
                      <a:pos x="T2" y="T3"/>
                    </a:cxn>
                    <a:cxn ang="T14">
                      <a:pos x="T4" y="T5"/>
                    </a:cxn>
                    <a:cxn ang="T15">
                      <a:pos x="T6" y="T7"/>
                    </a:cxn>
                    <a:cxn ang="T16">
                      <a:pos x="T8" y="T9"/>
                    </a:cxn>
                    <a:cxn ang="T17">
                      <a:pos x="T10" y="T11"/>
                    </a:cxn>
                  </a:cxnLst>
                  <a:rect l="T18" t="T19" r="T20" b="T21"/>
                  <a:pathLst>
                    <a:path w="53" h="72">
                      <a:moveTo>
                        <a:pt x="6" y="44"/>
                      </a:moveTo>
                      <a:lnTo>
                        <a:pt x="51" y="0"/>
                      </a:lnTo>
                      <a:lnTo>
                        <a:pt x="53" y="57"/>
                      </a:lnTo>
                      <a:lnTo>
                        <a:pt x="0" y="59"/>
                      </a:lnTo>
                      <a:lnTo>
                        <a:pt x="46" y="72"/>
                      </a:lnTo>
                      <a:lnTo>
                        <a:pt x="6" y="44"/>
                      </a:lnTo>
                      <a:close/>
                    </a:path>
                  </a:pathLst>
                </a:custGeom>
                <a:grpFill/>
                <a:ln w="9525">
                  <a:noFill/>
                  <a:round/>
                  <a:headEnd/>
                  <a:tailEnd/>
                </a:ln>
              </p:spPr>
              <p:txBody>
                <a:bodyPr/>
                <a:lstStyle/>
                <a:p>
                  <a:pPr fontAlgn="base">
                    <a:spcBef>
                      <a:spcPct val="0"/>
                    </a:spcBef>
                    <a:spcAft>
                      <a:spcPct val="0"/>
                    </a:spcAft>
                  </a:pPr>
                  <a:endParaRPr lang="de-DE" sz="1100" b="1">
                    <a:solidFill>
                      <a:srgbClr val="FAEDBE">
                        <a:lumMod val="10000"/>
                      </a:srgbClr>
                    </a:solidFill>
                  </a:endParaRPr>
                </a:p>
              </p:txBody>
            </p:sp>
            <p:sp>
              <p:nvSpPr>
                <p:cNvPr id="141" name="Freeform 140"/>
                <p:cNvSpPr>
                  <a:spLocks noChangeAspect="1"/>
                </p:cNvSpPr>
                <p:nvPr/>
              </p:nvSpPr>
              <p:spPr bwMode="gray">
                <a:xfrm>
                  <a:off x="1198" y="2096"/>
                  <a:ext cx="95" cy="58"/>
                </a:xfrm>
                <a:custGeom>
                  <a:avLst/>
                  <a:gdLst>
                    <a:gd name="T0" fmla="*/ 0 w 384"/>
                    <a:gd name="T1" fmla="*/ 322 h 349"/>
                    <a:gd name="T2" fmla="*/ 344 w 384"/>
                    <a:gd name="T3" fmla="*/ 0 h 349"/>
                    <a:gd name="T4" fmla="*/ 384 w 384"/>
                    <a:gd name="T5" fmla="*/ 27 h 349"/>
                    <a:gd name="T6" fmla="*/ 40 w 384"/>
                    <a:gd name="T7" fmla="*/ 349 h 349"/>
                    <a:gd name="T8" fmla="*/ 0 w 384"/>
                    <a:gd name="T9" fmla="*/ 322 h 349"/>
                    <a:gd name="T10" fmla="*/ 0 60000 65536"/>
                    <a:gd name="T11" fmla="*/ 0 60000 65536"/>
                    <a:gd name="T12" fmla="*/ 0 60000 65536"/>
                    <a:gd name="T13" fmla="*/ 0 60000 65536"/>
                    <a:gd name="T14" fmla="*/ 0 60000 65536"/>
                    <a:gd name="T15" fmla="*/ 0 w 384"/>
                    <a:gd name="T16" fmla="*/ 0 h 349"/>
                    <a:gd name="T17" fmla="*/ 384 w 384"/>
                    <a:gd name="T18" fmla="*/ 349 h 349"/>
                  </a:gdLst>
                  <a:ahLst/>
                  <a:cxnLst>
                    <a:cxn ang="T10">
                      <a:pos x="T0" y="T1"/>
                    </a:cxn>
                    <a:cxn ang="T11">
                      <a:pos x="T2" y="T3"/>
                    </a:cxn>
                    <a:cxn ang="T12">
                      <a:pos x="T4" y="T5"/>
                    </a:cxn>
                    <a:cxn ang="T13">
                      <a:pos x="T6" y="T7"/>
                    </a:cxn>
                    <a:cxn ang="T14">
                      <a:pos x="T8" y="T9"/>
                    </a:cxn>
                  </a:cxnLst>
                  <a:rect l="T15" t="T16" r="T17" b="T18"/>
                  <a:pathLst>
                    <a:path w="384" h="349">
                      <a:moveTo>
                        <a:pt x="0" y="322"/>
                      </a:moveTo>
                      <a:lnTo>
                        <a:pt x="344" y="0"/>
                      </a:lnTo>
                      <a:lnTo>
                        <a:pt x="384" y="27"/>
                      </a:lnTo>
                      <a:lnTo>
                        <a:pt x="40" y="349"/>
                      </a:lnTo>
                      <a:lnTo>
                        <a:pt x="0" y="322"/>
                      </a:lnTo>
                      <a:close/>
                    </a:path>
                  </a:pathLst>
                </a:custGeom>
                <a:grpFill/>
                <a:ln w="9525">
                  <a:noFill/>
                  <a:round/>
                  <a:headEnd/>
                  <a:tailEnd/>
                </a:ln>
              </p:spPr>
              <p:txBody>
                <a:bodyPr/>
                <a:lstStyle/>
                <a:p>
                  <a:pPr fontAlgn="base">
                    <a:spcBef>
                      <a:spcPct val="0"/>
                    </a:spcBef>
                    <a:spcAft>
                      <a:spcPct val="0"/>
                    </a:spcAft>
                  </a:pPr>
                  <a:endParaRPr lang="de-DE" sz="1100" b="1">
                    <a:solidFill>
                      <a:srgbClr val="FAEDBE">
                        <a:lumMod val="10000"/>
                      </a:srgbClr>
                    </a:solidFill>
                  </a:endParaRPr>
                </a:p>
              </p:txBody>
            </p:sp>
            <p:sp>
              <p:nvSpPr>
                <p:cNvPr id="142" name="Freeform 141"/>
                <p:cNvSpPr>
                  <a:spLocks noChangeAspect="1"/>
                </p:cNvSpPr>
                <p:nvPr/>
              </p:nvSpPr>
              <p:spPr bwMode="gray">
                <a:xfrm>
                  <a:off x="1197" y="2150"/>
                  <a:ext cx="12" cy="11"/>
                </a:xfrm>
                <a:custGeom>
                  <a:avLst/>
                  <a:gdLst>
                    <a:gd name="T0" fmla="*/ 0 w 53"/>
                    <a:gd name="T1" fmla="*/ 14 h 70"/>
                    <a:gd name="T2" fmla="*/ 2 w 53"/>
                    <a:gd name="T3" fmla="*/ 70 h 70"/>
                    <a:gd name="T4" fmla="*/ 47 w 53"/>
                    <a:gd name="T5" fmla="*/ 27 h 70"/>
                    <a:gd name="T6" fmla="*/ 7 w 53"/>
                    <a:gd name="T7" fmla="*/ 0 h 70"/>
                    <a:gd name="T8" fmla="*/ 53 w 53"/>
                    <a:gd name="T9" fmla="*/ 12 h 70"/>
                    <a:gd name="T10" fmla="*/ 0 w 53"/>
                    <a:gd name="T11" fmla="*/ 14 h 70"/>
                    <a:gd name="T12" fmla="*/ 0 60000 65536"/>
                    <a:gd name="T13" fmla="*/ 0 60000 65536"/>
                    <a:gd name="T14" fmla="*/ 0 60000 65536"/>
                    <a:gd name="T15" fmla="*/ 0 60000 65536"/>
                    <a:gd name="T16" fmla="*/ 0 60000 65536"/>
                    <a:gd name="T17" fmla="*/ 0 60000 65536"/>
                    <a:gd name="T18" fmla="*/ 0 w 53"/>
                    <a:gd name="T19" fmla="*/ 0 h 70"/>
                    <a:gd name="T20" fmla="*/ 53 w 53"/>
                    <a:gd name="T21" fmla="*/ 70 h 70"/>
                  </a:gdLst>
                  <a:ahLst/>
                  <a:cxnLst>
                    <a:cxn ang="T12">
                      <a:pos x="T0" y="T1"/>
                    </a:cxn>
                    <a:cxn ang="T13">
                      <a:pos x="T2" y="T3"/>
                    </a:cxn>
                    <a:cxn ang="T14">
                      <a:pos x="T4" y="T5"/>
                    </a:cxn>
                    <a:cxn ang="T15">
                      <a:pos x="T6" y="T7"/>
                    </a:cxn>
                    <a:cxn ang="T16">
                      <a:pos x="T8" y="T9"/>
                    </a:cxn>
                    <a:cxn ang="T17">
                      <a:pos x="T10" y="T11"/>
                    </a:cxn>
                  </a:cxnLst>
                  <a:rect l="T18" t="T19" r="T20" b="T21"/>
                  <a:pathLst>
                    <a:path w="53" h="70">
                      <a:moveTo>
                        <a:pt x="0" y="14"/>
                      </a:moveTo>
                      <a:lnTo>
                        <a:pt x="2" y="70"/>
                      </a:lnTo>
                      <a:lnTo>
                        <a:pt x="47" y="27"/>
                      </a:lnTo>
                      <a:lnTo>
                        <a:pt x="7" y="0"/>
                      </a:lnTo>
                      <a:lnTo>
                        <a:pt x="53" y="12"/>
                      </a:lnTo>
                      <a:lnTo>
                        <a:pt x="0" y="14"/>
                      </a:lnTo>
                      <a:close/>
                    </a:path>
                  </a:pathLst>
                </a:custGeom>
                <a:grpFill/>
                <a:ln w="9525">
                  <a:noFill/>
                  <a:round/>
                  <a:headEnd/>
                  <a:tailEnd/>
                </a:ln>
              </p:spPr>
              <p:txBody>
                <a:bodyPr/>
                <a:lstStyle/>
                <a:p>
                  <a:pPr fontAlgn="base">
                    <a:spcBef>
                      <a:spcPct val="0"/>
                    </a:spcBef>
                    <a:spcAft>
                      <a:spcPct val="0"/>
                    </a:spcAft>
                  </a:pPr>
                  <a:endParaRPr lang="de-DE" sz="1100" b="1">
                    <a:solidFill>
                      <a:srgbClr val="FAEDBE">
                        <a:lumMod val="10000"/>
                      </a:srgbClr>
                    </a:solidFill>
                  </a:endParaRPr>
                </a:p>
              </p:txBody>
            </p:sp>
            <p:sp>
              <p:nvSpPr>
                <p:cNvPr id="143" name="Freeform 142"/>
                <p:cNvSpPr>
                  <a:spLocks noChangeAspect="1"/>
                </p:cNvSpPr>
                <p:nvPr/>
              </p:nvSpPr>
              <p:spPr bwMode="gray">
                <a:xfrm>
                  <a:off x="1282" y="2099"/>
                  <a:ext cx="18" cy="52"/>
                </a:xfrm>
                <a:custGeom>
                  <a:avLst/>
                  <a:gdLst>
                    <a:gd name="T0" fmla="*/ 52 w 74"/>
                    <a:gd name="T1" fmla="*/ 0 h 318"/>
                    <a:gd name="T2" fmla="*/ 52 w 74"/>
                    <a:gd name="T3" fmla="*/ 18 h 318"/>
                    <a:gd name="T4" fmla="*/ 54 w 74"/>
                    <a:gd name="T5" fmla="*/ 52 h 318"/>
                    <a:gd name="T6" fmla="*/ 64 w 74"/>
                    <a:gd name="T7" fmla="*/ 152 h 318"/>
                    <a:gd name="T8" fmla="*/ 74 w 74"/>
                    <a:gd name="T9" fmla="*/ 254 h 318"/>
                    <a:gd name="T10" fmla="*/ 74 w 74"/>
                    <a:gd name="T11" fmla="*/ 293 h 318"/>
                    <a:gd name="T12" fmla="*/ 72 w 74"/>
                    <a:gd name="T13" fmla="*/ 318 h 318"/>
                    <a:gd name="T14" fmla="*/ 19 w 74"/>
                    <a:gd name="T15" fmla="*/ 315 h 318"/>
                    <a:gd name="T16" fmla="*/ 21 w 74"/>
                    <a:gd name="T17" fmla="*/ 292 h 318"/>
                    <a:gd name="T18" fmla="*/ 21 w 74"/>
                    <a:gd name="T19" fmla="*/ 257 h 318"/>
                    <a:gd name="T20" fmla="*/ 11 w 74"/>
                    <a:gd name="T21" fmla="*/ 154 h 318"/>
                    <a:gd name="T22" fmla="*/ 1 w 74"/>
                    <a:gd name="T23" fmla="*/ 54 h 318"/>
                    <a:gd name="T24" fmla="*/ 0 w 74"/>
                    <a:gd name="T25" fmla="*/ 19 h 318"/>
                    <a:gd name="T26" fmla="*/ 0 w 74"/>
                    <a:gd name="T27" fmla="*/ 0 h 318"/>
                    <a:gd name="T28" fmla="*/ 52 w 74"/>
                    <a:gd name="T29" fmla="*/ 0 h 3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4"/>
                    <a:gd name="T46" fmla="*/ 0 h 318"/>
                    <a:gd name="T47" fmla="*/ 74 w 74"/>
                    <a:gd name="T48" fmla="*/ 318 h 31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4" h="318">
                      <a:moveTo>
                        <a:pt x="52" y="0"/>
                      </a:moveTo>
                      <a:lnTo>
                        <a:pt x="52" y="18"/>
                      </a:lnTo>
                      <a:lnTo>
                        <a:pt x="54" y="52"/>
                      </a:lnTo>
                      <a:lnTo>
                        <a:pt x="64" y="152"/>
                      </a:lnTo>
                      <a:lnTo>
                        <a:pt x="74" y="254"/>
                      </a:lnTo>
                      <a:lnTo>
                        <a:pt x="74" y="293"/>
                      </a:lnTo>
                      <a:lnTo>
                        <a:pt x="72" y="318"/>
                      </a:lnTo>
                      <a:lnTo>
                        <a:pt x="19" y="315"/>
                      </a:lnTo>
                      <a:lnTo>
                        <a:pt x="21" y="292"/>
                      </a:lnTo>
                      <a:lnTo>
                        <a:pt x="21" y="257"/>
                      </a:lnTo>
                      <a:lnTo>
                        <a:pt x="11" y="154"/>
                      </a:lnTo>
                      <a:lnTo>
                        <a:pt x="1" y="54"/>
                      </a:lnTo>
                      <a:lnTo>
                        <a:pt x="0" y="19"/>
                      </a:lnTo>
                      <a:lnTo>
                        <a:pt x="0" y="0"/>
                      </a:lnTo>
                      <a:lnTo>
                        <a:pt x="52" y="0"/>
                      </a:lnTo>
                      <a:close/>
                    </a:path>
                  </a:pathLst>
                </a:custGeom>
                <a:grpFill/>
                <a:ln w="9525">
                  <a:noFill/>
                  <a:round/>
                  <a:headEnd/>
                  <a:tailEnd/>
                </a:ln>
              </p:spPr>
              <p:txBody>
                <a:bodyPr/>
                <a:lstStyle/>
                <a:p>
                  <a:pPr fontAlgn="base">
                    <a:spcBef>
                      <a:spcPct val="0"/>
                    </a:spcBef>
                    <a:spcAft>
                      <a:spcPct val="0"/>
                    </a:spcAft>
                  </a:pPr>
                  <a:endParaRPr lang="de-DE" sz="1100" b="1">
                    <a:solidFill>
                      <a:srgbClr val="FAEDBE">
                        <a:lumMod val="10000"/>
                      </a:srgbClr>
                    </a:solidFill>
                  </a:endParaRPr>
                </a:p>
              </p:txBody>
            </p:sp>
            <p:sp>
              <p:nvSpPr>
                <p:cNvPr id="144" name="Freeform 143"/>
                <p:cNvSpPr>
                  <a:spLocks noChangeAspect="1"/>
                </p:cNvSpPr>
                <p:nvPr/>
              </p:nvSpPr>
              <p:spPr bwMode="gray">
                <a:xfrm>
                  <a:off x="1282" y="2090"/>
                  <a:ext cx="12" cy="11"/>
                </a:xfrm>
                <a:custGeom>
                  <a:avLst/>
                  <a:gdLst>
                    <a:gd name="T0" fmla="*/ 6 w 52"/>
                    <a:gd name="T1" fmla="*/ 44 h 71"/>
                    <a:gd name="T2" fmla="*/ 52 w 52"/>
                    <a:gd name="T3" fmla="*/ 0 h 71"/>
                    <a:gd name="T4" fmla="*/ 52 w 52"/>
                    <a:gd name="T5" fmla="*/ 57 h 71"/>
                    <a:gd name="T6" fmla="*/ 0 w 52"/>
                    <a:gd name="T7" fmla="*/ 57 h 71"/>
                    <a:gd name="T8" fmla="*/ 46 w 52"/>
                    <a:gd name="T9" fmla="*/ 71 h 71"/>
                    <a:gd name="T10" fmla="*/ 6 w 52"/>
                    <a:gd name="T11" fmla="*/ 44 h 71"/>
                    <a:gd name="T12" fmla="*/ 0 60000 65536"/>
                    <a:gd name="T13" fmla="*/ 0 60000 65536"/>
                    <a:gd name="T14" fmla="*/ 0 60000 65536"/>
                    <a:gd name="T15" fmla="*/ 0 60000 65536"/>
                    <a:gd name="T16" fmla="*/ 0 60000 65536"/>
                    <a:gd name="T17" fmla="*/ 0 60000 65536"/>
                    <a:gd name="T18" fmla="*/ 0 w 52"/>
                    <a:gd name="T19" fmla="*/ 0 h 71"/>
                    <a:gd name="T20" fmla="*/ 52 w 52"/>
                    <a:gd name="T21" fmla="*/ 71 h 71"/>
                  </a:gdLst>
                  <a:ahLst/>
                  <a:cxnLst>
                    <a:cxn ang="T12">
                      <a:pos x="T0" y="T1"/>
                    </a:cxn>
                    <a:cxn ang="T13">
                      <a:pos x="T2" y="T3"/>
                    </a:cxn>
                    <a:cxn ang="T14">
                      <a:pos x="T4" y="T5"/>
                    </a:cxn>
                    <a:cxn ang="T15">
                      <a:pos x="T6" y="T7"/>
                    </a:cxn>
                    <a:cxn ang="T16">
                      <a:pos x="T8" y="T9"/>
                    </a:cxn>
                    <a:cxn ang="T17">
                      <a:pos x="T10" y="T11"/>
                    </a:cxn>
                  </a:cxnLst>
                  <a:rect l="T18" t="T19" r="T20" b="T21"/>
                  <a:pathLst>
                    <a:path w="52" h="71">
                      <a:moveTo>
                        <a:pt x="6" y="44"/>
                      </a:moveTo>
                      <a:lnTo>
                        <a:pt x="52" y="0"/>
                      </a:lnTo>
                      <a:lnTo>
                        <a:pt x="52" y="57"/>
                      </a:lnTo>
                      <a:lnTo>
                        <a:pt x="0" y="57"/>
                      </a:lnTo>
                      <a:lnTo>
                        <a:pt x="46" y="71"/>
                      </a:lnTo>
                      <a:lnTo>
                        <a:pt x="6" y="44"/>
                      </a:lnTo>
                      <a:close/>
                    </a:path>
                  </a:pathLst>
                </a:custGeom>
                <a:grpFill/>
                <a:ln w="9525">
                  <a:noFill/>
                  <a:round/>
                  <a:headEnd/>
                  <a:tailEnd/>
                </a:ln>
              </p:spPr>
              <p:txBody>
                <a:bodyPr/>
                <a:lstStyle/>
                <a:p>
                  <a:pPr fontAlgn="base">
                    <a:spcBef>
                      <a:spcPct val="0"/>
                    </a:spcBef>
                    <a:spcAft>
                      <a:spcPct val="0"/>
                    </a:spcAft>
                  </a:pPr>
                  <a:endParaRPr lang="de-DE" sz="1100" b="1">
                    <a:solidFill>
                      <a:srgbClr val="FAEDBE">
                        <a:lumMod val="10000"/>
                      </a:srgbClr>
                    </a:solidFill>
                  </a:endParaRPr>
                </a:p>
              </p:txBody>
            </p:sp>
            <p:sp>
              <p:nvSpPr>
                <p:cNvPr id="145" name="Freeform 144"/>
                <p:cNvSpPr>
                  <a:spLocks noChangeAspect="1"/>
                </p:cNvSpPr>
                <p:nvPr/>
              </p:nvSpPr>
              <p:spPr bwMode="gray">
                <a:xfrm>
                  <a:off x="1002" y="2149"/>
                  <a:ext cx="15" cy="110"/>
                </a:xfrm>
                <a:custGeom>
                  <a:avLst/>
                  <a:gdLst>
                    <a:gd name="T0" fmla="*/ 0 w 63"/>
                    <a:gd name="T1" fmla="*/ 669 h 669"/>
                    <a:gd name="T2" fmla="*/ 53 w 63"/>
                    <a:gd name="T3" fmla="*/ 669 h 669"/>
                    <a:gd name="T4" fmla="*/ 63 w 63"/>
                    <a:gd name="T5" fmla="*/ 0 h 669"/>
                    <a:gd name="T6" fmla="*/ 10 w 63"/>
                    <a:gd name="T7" fmla="*/ 0 h 669"/>
                    <a:gd name="T8" fmla="*/ 0 w 63"/>
                    <a:gd name="T9" fmla="*/ 669 h 669"/>
                    <a:gd name="T10" fmla="*/ 0 60000 65536"/>
                    <a:gd name="T11" fmla="*/ 0 60000 65536"/>
                    <a:gd name="T12" fmla="*/ 0 60000 65536"/>
                    <a:gd name="T13" fmla="*/ 0 60000 65536"/>
                    <a:gd name="T14" fmla="*/ 0 60000 65536"/>
                    <a:gd name="T15" fmla="*/ 0 w 63"/>
                    <a:gd name="T16" fmla="*/ 0 h 669"/>
                    <a:gd name="T17" fmla="*/ 63 w 63"/>
                    <a:gd name="T18" fmla="*/ 669 h 669"/>
                  </a:gdLst>
                  <a:ahLst/>
                  <a:cxnLst>
                    <a:cxn ang="T10">
                      <a:pos x="T0" y="T1"/>
                    </a:cxn>
                    <a:cxn ang="T11">
                      <a:pos x="T2" y="T3"/>
                    </a:cxn>
                    <a:cxn ang="T12">
                      <a:pos x="T4" y="T5"/>
                    </a:cxn>
                    <a:cxn ang="T13">
                      <a:pos x="T6" y="T7"/>
                    </a:cxn>
                    <a:cxn ang="T14">
                      <a:pos x="T8" y="T9"/>
                    </a:cxn>
                  </a:cxnLst>
                  <a:rect l="T15" t="T16" r="T17" b="T18"/>
                  <a:pathLst>
                    <a:path w="63" h="669">
                      <a:moveTo>
                        <a:pt x="0" y="669"/>
                      </a:moveTo>
                      <a:lnTo>
                        <a:pt x="53" y="669"/>
                      </a:lnTo>
                      <a:lnTo>
                        <a:pt x="63" y="0"/>
                      </a:lnTo>
                      <a:lnTo>
                        <a:pt x="10" y="0"/>
                      </a:lnTo>
                      <a:lnTo>
                        <a:pt x="0" y="669"/>
                      </a:lnTo>
                      <a:close/>
                    </a:path>
                  </a:pathLst>
                </a:custGeom>
                <a:grpFill/>
                <a:ln w="9525">
                  <a:noFill/>
                  <a:round/>
                  <a:headEnd/>
                  <a:tailEnd/>
                </a:ln>
              </p:spPr>
              <p:txBody>
                <a:bodyPr/>
                <a:lstStyle/>
                <a:p>
                  <a:pPr fontAlgn="base">
                    <a:spcBef>
                      <a:spcPct val="0"/>
                    </a:spcBef>
                    <a:spcAft>
                      <a:spcPct val="0"/>
                    </a:spcAft>
                  </a:pPr>
                  <a:endParaRPr lang="de-DE" sz="1100" b="1">
                    <a:solidFill>
                      <a:srgbClr val="FAEDBE">
                        <a:lumMod val="10000"/>
                      </a:srgbClr>
                    </a:solidFill>
                  </a:endParaRPr>
                </a:p>
              </p:txBody>
            </p:sp>
            <p:sp>
              <p:nvSpPr>
                <p:cNvPr id="146" name="Freeform 145"/>
                <p:cNvSpPr>
                  <a:spLocks noChangeAspect="1"/>
                </p:cNvSpPr>
                <p:nvPr/>
              </p:nvSpPr>
              <p:spPr bwMode="gray">
                <a:xfrm>
                  <a:off x="1004" y="2254"/>
                  <a:ext cx="13" cy="5"/>
                </a:xfrm>
                <a:custGeom>
                  <a:avLst/>
                  <a:gdLst>
                    <a:gd name="T0" fmla="*/ 0 w 53"/>
                    <a:gd name="T1" fmla="*/ 14 h 29"/>
                    <a:gd name="T2" fmla="*/ 0 w 53"/>
                    <a:gd name="T3" fmla="*/ 6 h 29"/>
                    <a:gd name="T4" fmla="*/ 9 w 53"/>
                    <a:gd name="T5" fmla="*/ 0 h 29"/>
                    <a:gd name="T6" fmla="*/ 45 w 53"/>
                    <a:gd name="T7" fmla="*/ 29 h 29"/>
                    <a:gd name="T8" fmla="*/ 53 w 53"/>
                    <a:gd name="T9" fmla="*/ 14 h 29"/>
                    <a:gd name="T10" fmla="*/ 0 w 53"/>
                    <a:gd name="T11" fmla="*/ 14 h 29"/>
                    <a:gd name="T12" fmla="*/ 0 60000 65536"/>
                    <a:gd name="T13" fmla="*/ 0 60000 65536"/>
                    <a:gd name="T14" fmla="*/ 0 60000 65536"/>
                    <a:gd name="T15" fmla="*/ 0 60000 65536"/>
                    <a:gd name="T16" fmla="*/ 0 60000 65536"/>
                    <a:gd name="T17" fmla="*/ 0 60000 65536"/>
                    <a:gd name="T18" fmla="*/ 0 w 53"/>
                    <a:gd name="T19" fmla="*/ 0 h 29"/>
                    <a:gd name="T20" fmla="*/ 53 w 53"/>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53" h="29">
                      <a:moveTo>
                        <a:pt x="0" y="14"/>
                      </a:moveTo>
                      <a:lnTo>
                        <a:pt x="0" y="6"/>
                      </a:lnTo>
                      <a:lnTo>
                        <a:pt x="9" y="0"/>
                      </a:lnTo>
                      <a:lnTo>
                        <a:pt x="45" y="29"/>
                      </a:lnTo>
                      <a:lnTo>
                        <a:pt x="53" y="14"/>
                      </a:lnTo>
                      <a:lnTo>
                        <a:pt x="0" y="14"/>
                      </a:lnTo>
                      <a:close/>
                    </a:path>
                  </a:pathLst>
                </a:custGeom>
                <a:grpFill/>
                <a:ln w="9525">
                  <a:noFill/>
                  <a:round/>
                  <a:headEnd/>
                  <a:tailEnd/>
                </a:ln>
              </p:spPr>
              <p:txBody>
                <a:bodyPr/>
                <a:lstStyle/>
                <a:p>
                  <a:pPr fontAlgn="base">
                    <a:spcBef>
                      <a:spcPct val="0"/>
                    </a:spcBef>
                    <a:spcAft>
                      <a:spcPct val="0"/>
                    </a:spcAft>
                  </a:pPr>
                  <a:endParaRPr lang="de-DE" sz="1100" b="1">
                    <a:solidFill>
                      <a:srgbClr val="FAEDBE">
                        <a:lumMod val="10000"/>
                      </a:srgbClr>
                    </a:solidFill>
                  </a:endParaRPr>
                </a:p>
              </p:txBody>
            </p:sp>
          </p:grpSp>
          <p:sp>
            <p:nvSpPr>
              <p:cNvPr id="132" name="Freeform 109"/>
              <p:cNvSpPr>
                <a:spLocks noChangeAspect="1"/>
              </p:cNvSpPr>
              <p:nvPr/>
            </p:nvSpPr>
            <p:spPr bwMode="gray">
              <a:xfrm>
                <a:off x="992" y="1921"/>
                <a:ext cx="271" cy="83"/>
              </a:xfrm>
              <a:custGeom>
                <a:avLst/>
                <a:gdLst>
                  <a:gd name="T0" fmla="*/ 1052 w 1267"/>
                  <a:gd name="T1" fmla="*/ 224 h 338"/>
                  <a:gd name="T2" fmla="*/ 1008 w 1267"/>
                  <a:gd name="T3" fmla="*/ 221 h 338"/>
                  <a:gd name="T4" fmla="*/ 970 w 1267"/>
                  <a:gd name="T5" fmla="*/ 210 h 338"/>
                  <a:gd name="T6" fmla="*/ 938 w 1267"/>
                  <a:gd name="T7" fmla="*/ 195 h 338"/>
                  <a:gd name="T8" fmla="*/ 908 w 1267"/>
                  <a:gd name="T9" fmla="*/ 178 h 338"/>
                  <a:gd name="T10" fmla="*/ 872 w 1267"/>
                  <a:gd name="T11" fmla="*/ 154 h 338"/>
                  <a:gd name="T12" fmla="*/ 819 w 1267"/>
                  <a:gd name="T13" fmla="*/ 125 h 338"/>
                  <a:gd name="T14" fmla="*/ 752 w 1267"/>
                  <a:gd name="T15" fmla="*/ 116 h 338"/>
                  <a:gd name="T16" fmla="*/ 675 w 1267"/>
                  <a:gd name="T17" fmla="*/ 131 h 338"/>
                  <a:gd name="T18" fmla="*/ 627 w 1267"/>
                  <a:gd name="T19" fmla="*/ 164 h 338"/>
                  <a:gd name="T20" fmla="*/ 593 w 1267"/>
                  <a:gd name="T21" fmla="*/ 208 h 338"/>
                  <a:gd name="T22" fmla="*/ 555 w 1267"/>
                  <a:gd name="T23" fmla="*/ 258 h 338"/>
                  <a:gd name="T24" fmla="*/ 496 w 1267"/>
                  <a:gd name="T25" fmla="*/ 299 h 338"/>
                  <a:gd name="T26" fmla="*/ 418 w 1267"/>
                  <a:gd name="T27" fmla="*/ 318 h 338"/>
                  <a:gd name="T28" fmla="*/ 371 w 1267"/>
                  <a:gd name="T29" fmla="*/ 318 h 338"/>
                  <a:gd name="T30" fmla="*/ 330 w 1267"/>
                  <a:gd name="T31" fmla="*/ 310 h 338"/>
                  <a:gd name="T32" fmla="*/ 293 w 1267"/>
                  <a:gd name="T33" fmla="*/ 295 h 338"/>
                  <a:gd name="T34" fmla="*/ 261 w 1267"/>
                  <a:gd name="T35" fmla="*/ 277 h 338"/>
                  <a:gd name="T36" fmla="*/ 231 w 1267"/>
                  <a:gd name="T37" fmla="*/ 258 h 338"/>
                  <a:gd name="T38" fmla="*/ 186 w 1267"/>
                  <a:gd name="T39" fmla="*/ 230 h 338"/>
                  <a:gd name="T40" fmla="*/ 140 w 1267"/>
                  <a:gd name="T41" fmla="*/ 217 h 338"/>
                  <a:gd name="T42" fmla="*/ 76 w 1267"/>
                  <a:gd name="T43" fmla="*/ 231 h 338"/>
                  <a:gd name="T44" fmla="*/ 26 w 1267"/>
                  <a:gd name="T45" fmla="*/ 285 h 338"/>
                  <a:gd name="T46" fmla="*/ 2 w 1267"/>
                  <a:gd name="T47" fmla="*/ 334 h 338"/>
                  <a:gd name="T48" fmla="*/ 0 w 1267"/>
                  <a:gd name="T49" fmla="*/ 306 h 338"/>
                  <a:gd name="T50" fmla="*/ 21 w 1267"/>
                  <a:gd name="T51" fmla="*/ 194 h 338"/>
                  <a:gd name="T52" fmla="*/ 104 w 1267"/>
                  <a:gd name="T53" fmla="*/ 109 h 338"/>
                  <a:gd name="T54" fmla="*/ 175 w 1267"/>
                  <a:gd name="T55" fmla="*/ 106 h 338"/>
                  <a:gd name="T56" fmla="*/ 220 w 1267"/>
                  <a:gd name="T57" fmla="*/ 129 h 338"/>
                  <a:gd name="T58" fmla="*/ 271 w 1267"/>
                  <a:gd name="T59" fmla="*/ 163 h 338"/>
                  <a:gd name="T60" fmla="*/ 325 w 1267"/>
                  <a:gd name="T61" fmla="*/ 192 h 338"/>
                  <a:gd name="T62" fmla="*/ 390 w 1267"/>
                  <a:gd name="T63" fmla="*/ 202 h 338"/>
                  <a:gd name="T64" fmla="*/ 459 w 1267"/>
                  <a:gd name="T65" fmla="*/ 189 h 338"/>
                  <a:gd name="T66" fmla="*/ 504 w 1267"/>
                  <a:gd name="T67" fmla="*/ 156 h 338"/>
                  <a:gd name="T68" fmla="*/ 536 w 1267"/>
                  <a:gd name="T69" fmla="*/ 115 h 338"/>
                  <a:gd name="T70" fmla="*/ 576 w 1267"/>
                  <a:gd name="T71" fmla="*/ 63 h 338"/>
                  <a:gd name="T72" fmla="*/ 640 w 1267"/>
                  <a:gd name="T73" fmla="*/ 19 h 338"/>
                  <a:gd name="T74" fmla="*/ 722 w 1267"/>
                  <a:gd name="T75" fmla="*/ 0 h 338"/>
                  <a:gd name="T76" fmla="*/ 772 w 1267"/>
                  <a:gd name="T77" fmla="*/ 1 h 338"/>
                  <a:gd name="T78" fmla="*/ 815 w 1267"/>
                  <a:gd name="T79" fmla="*/ 9 h 338"/>
                  <a:gd name="T80" fmla="*/ 851 w 1267"/>
                  <a:gd name="T81" fmla="*/ 23 h 338"/>
                  <a:gd name="T82" fmla="*/ 883 w 1267"/>
                  <a:gd name="T83" fmla="*/ 41 h 338"/>
                  <a:gd name="T84" fmla="*/ 911 w 1267"/>
                  <a:gd name="T85" fmla="*/ 59 h 338"/>
                  <a:gd name="T86" fmla="*/ 961 w 1267"/>
                  <a:gd name="T87" fmla="*/ 88 h 338"/>
                  <a:gd name="T88" fmla="*/ 1017 w 1267"/>
                  <a:gd name="T89" fmla="*/ 106 h 338"/>
                  <a:gd name="T90" fmla="*/ 1079 w 1267"/>
                  <a:gd name="T91" fmla="*/ 103 h 338"/>
                  <a:gd name="T92" fmla="*/ 1126 w 1267"/>
                  <a:gd name="T93" fmla="*/ 93 h 338"/>
                  <a:gd name="T94" fmla="*/ 1170 w 1267"/>
                  <a:gd name="T95" fmla="*/ 76 h 338"/>
                  <a:gd name="T96" fmla="*/ 1210 w 1267"/>
                  <a:gd name="T97" fmla="*/ 55 h 338"/>
                  <a:gd name="T98" fmla="*/ 1243 w 1267"/>
                  <a:gd name="T99" fmla="*/ 32 h 338"/>
                  <a:gd name="T100" fmla="*/ 1267 w 1267"/>
                  <a:gd name="T101" fmla="*/ 11 h 338"/>
                  <a:gd name="T102" fmla="*/ 1253 w 1267"/>
                  <a:gd name="T103" fmla="*/ 95 h 338"/>
                  <a:gd name="T104" fmla="*/ 1225 w 1267"/>
                  <a:gd name="T105" fmla="*/ 144 h 338"/>
                  <a:gd name="T106" fmla="*/ 1170 w 1267"/>
                  <a:gd name="T107" fmla="*/ 192 h 338"/>
                  <a:gd name="T108" fmla="*/ 1085 w 1267"/>
                  <a:gd name="T109" fmla="*/ 221 h 3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67"/>
                  <a:gd name="T166" fmla="*/ 0 h 338"/>
                  <a:gd name="T167" fmla="*/ 1267 w 1267"/>
                  <a:gd name="T168" fmla="*/ 338 h 3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67" h="338">
                    <a:moveTo>
                      <a:pt x="1085" y="221"/>
                    </a:moveTo>
                    <a:lnTo>
                      <a:pt x="1068" y="223"/>
                    </a:lnTo>
                    <a:lnTo>
                      <a:pt x="1052" y="224"/>
                    </a:lnTo>
                    <a:lnTo>
                      <a:pt x="1037" y="223"/>
                    </a:lnTo>
                    <a:lnTo>
                      <a:pt x="1022" y="222"/>
                    </a:lnTo>
                    <a:lnTo>
                      <a:pt x="1008" y="221"/>
                    </a:lnTo>
                    <a:lnTo>
                      <a:pt x="995" y="217"/>
                    </a:lnTo>
                    <a:lnTo>
                      <a:pt x="983" y="215"/>
                    </a:lnTo>
                    <a:lnTo>
                      <a:pt x="970" y="210"/>
                    </a:lnTo>
                    <a:lnTo>
                      <a:pt x="959" y="206"/>
                    </a:lnTo>
                    <a:lnTo>
                      <a:pt x="948" y="201"/>
                    </a:lnTo>
                    <a:lnTo>
                      <a:pt x="938" y="195"/>
                    </a:lnTo>
                    <a:lnTo>
                      <a:pt x="927" y="190"/>
                    </a:lnTo>
                    <a:lnTo>
                      <a:pt x="917" y="184"/>
                    </a:lnTo>
                    <a:lnTo>
                      <a:pt x="908" y="178"/>
                    </a:lnTo>
                    <a:lnTo>
                      <a:pt x="899" y="171"/>
                    </a:lnTo>
                    <a:lnTo>
                      <a:pt x="889" y="165"/>
                    </a:lnTo>
                    <a:lnTo>
                      <a:pt x="872" y="154"/>
                    </a:lnTo>
                    <a:lnTo>
                      <a:pt x="855" y="142"/>
                    </a:lnTo>
                    <a:lnTo>
                      <a:pt x="838" y="133"/>
                    </a:lnTo>
                    <a:lnTo>
                      <a:pt x="819" y="125"/>
                    </a:lnTo>
                    <a:lnTo>
                      <a:pt x="800" y="119"/>
                    </a:lnTo>
                    <a:lnTo>
                      <a:pt x="777" y="116"/>
                    </a:lnTo>
                    <a:lnTo>
                      <a:pt x="752" y="116"/>
                    </a:lnTo>
                    <a:lnTo>
                      <a:pt x="725" y="118"/>
                    </a:lnTo>
                    <a:lnTo>
                      <a:pt x="698" y="124"/>
                    </a:lnTo>
                    <a:lnTo>
                      <a:pt x="675" y="131"/>
                    </a:lnTo>
                    <a:lnTo>
                      <a:pt x="657" y="140"/>
                    </a:lnTo>
                    <a:lnTo>
                      <a:pt x="641" y="152"/>
                    </a:lnTo>
                    <a:lnTo>
                      <a:pt x="627" y="164"/>
                    </a:lnTo>
                    <a:lnTo>
                      <a:pt x="615" y="178"/>
                    </a:lnTo>
                    <a:lnTo>
                      <a:pt x="604" y="192"/>
                    </a:lnTo>
                    <a:lnTo>
                      <a:pt x="593" y="208"/>
                    </a:lnTo>
                    <a:lnTo>
                      <a:pt x="582" y="224"/>
                    </a:lnTo>
                    <a:lnTo>
                      <a:pt x="569" y="242"/>
                    </a:lnTo>
                    <a:lnTo>
                      <a:pt x="555" y="258"/>
                    </a:lnTo>
                    <a:lnTo>
                      <a:pt x="538" y="274"/>
                    </a:lnTo>
                    <a:lnTo>
                      <a:pt x="519" y="288"/>
                    </a:lnTo>
                    <a:lnTo>
                      <a:pt x="496" y="299"/>
                    </a:lnTo>
                    <a:lnTo>
                      <a:pt x="468" y="308"/>
                    </a:lnTo>
                    <a:lnTo>
                      <a:pt x="436" y="315"/>
                    </a:lnTo>
                    <a:lnTo>
                      <a:pt x="418" y="318"/>
                    </a:lnTo>
                    <a:lnTo>
                      <a:pt x="401" y="319"/>
                    </a:lnTo>
                    <a:lnTo>
                      <a:pt x="386" y="319"/>
                    </a:lnTo>
                    <a:lnTo>
                      <a:pt x="371" y="318"/>
                    </a:lnTo>
                    <a:lnTo>
                      <a:pt x="356" y="315"/>
                    </a:lnTo>
                    <a:lnTo>
                      <a:pt x="342" y="313"/>
                    </a:lnTo>
                    <a:lnTo>
                      <a:pt x="330" y="310"/>
                    </a:lnTo>
                    <a:lnTo>
                      <a:pt x="317" y="305"/>
                    </a:lnTo>
                    <a:lnTo>
                      <a:pt x="304" y="300"/>
                    </a:lnTo>
                    <a:lnTo>
                      <a:pt x="293" y="295"/>
                    </a:lnTo>
                    <a:lnTo>
                      <a:pt x="283" y="290"/>
                    </a:lnTo>
                    <a:lnTo>
                      <a:pt x="271" y="283"/>
                    </a:lnTo>
                    <a:lnTo>
                      <a:pt x="261" y="277"/>
                    </a:lnTo>
                    <a:lnTo>
                      <a:pt x="250" y="270"/>
                    </a:lnTo>
                    <a:lnTo>
                      <a:pt x="241" y="265"/>
                    </a:lnTo>
                    <a:lnTo>
                      <a:pt x="231" y="258"/>
                    </a:lnTo>
                    <a:lnTo>
                      <a:pt x="215" y="247"/>
                    </a:lnTo>
                    <a:lnTo>
                      <a:pt x="200" y="238"/>
                    </a:lnTo>
                    <a:lnTo>
                      <a:pt x="186" y="230"/>
                    </a:lnTo>
                    <a:lnTo>
                      <a:pt x="172" y="224"/>
                    </a:lnTo>
                    <a:lnTo>
                      <a:pt x="157" y="220"/>
                    </a:lnTo>
                    <a:lnTo>
                      <a:pt x="140" y="217"/>
                    </a:lnTo>
                    <a:lnTo>
                      <a:pt x="121" y="218"/>
                    </a:lnTo>
                    <a:lnTo>
                      <a:pt x="99" y="222"/>
                    </a:lnTo>
                    <a:lnTo>
                      <a:pt x="76" y="231"/>
                    </a:lnTo>
                    <a:lnTo>
                      <a:pt x="57" y="246"/>
                    </a:lnTo>
                    <a:lnTo>
                      <a:pt x="40" y="266"/>
                    </a:lnTo>
                    <a:lnTo>
                      <a:pt x="26" y="285"/>
                    </a:lnTo>
                    <a:lnTo>
                      <a:pt x="14" y="305"/>
                    </a:lnTo>
                    <a:lnTo>
                      <a:pt x="6" y="322"/>
                    </a:lnTo>
                    <a:lnTo>
                      <a:pt x="2" y="334"/>
                    </a:lnTo>
                    <a:lnTo>
                      <a:pt x="0" y="338"/>
                    </a:lnTo>
                    <a:lnTo>
                      <a:pt x="0" y="329"/>
                    </a:lnTo>
                    <a:lnTo>
                      <a:pt x="0" y="306"/>
                    </a:lnTo>
                    <a:lnTo>
                      <a:pt x="4" y="273"/>
                    </a:lnTo>
                    <a:lnTo>
                      <a:pt x="10" y="233"/>
                    </a:lnTo>
                    <a:lnTo>
                      <a:pt x="21" y="194"/>
                    </a:lnTo>
                    <a:lnTo>
                      <a:pt x="41" y="156"/>
                    </a:lnTo>
                    <a:lnTo>
                      <a:pt x="67" y="126"/>
                    </a:lnTo>
                    <a:lnTo>
                      <a:pt x="104" y="109"/>
                    </a:lnTo>
                    <a:lnTo>
                      <a:pt x="133" y="104"/>
                    </a:lnTo>
                    <a:lnTo>
                      <a:pt x="156" y="103"/>
                    </a:lnTo>
                    <a:lnTo>
                      <a:pt x="175" y="106"/>
                    </a:lnTo>
                    <a:lnTo>
                      <a:pt x="192" y="111"/>
                    </a:lnTo>
                    <a:lnTo>
                      <a:pt x="207" y="119"/>
                    </a:lnTo>
                    <a:lnTo>
                      <a:pt x="220" y="129"/>
                    </a:lnTo>
                    <a:lnTo>
                      <a:pt x="235" y="140"/>
                    </a:lnTo>
                    <a:lnTo>
                      <a:pt x="253" y="152"/>
                    </a:lnTo>
                    <a:lnTo>
                      <a:pt x="271" y="163"/>
                    </a:lnTo>
                    <a:lnTo>
                      <a:pt x="288" y="175"/>
                    </a:lnTo>
                    <a:lnTo>
                      <a:pt x="306" y="184"/>
                    </a:lnTo>
                    <a:lnTo>
                      <a:pt x="325" y="192"/>
                    </a:lnTo>
                    <a:lnTo>
                      <a:pt x="345" y="198"/>
                    </a:lnTo>
                    <a:lnTo>
                      <a:pt x="365" y="201"/>
                    </a:lnTo>
                    <a:lnTo>
                      <a:pt x="390" y="202"/>
                    </a:lnTo>
                    <a:lnTo>
                      <a:pt x="415" y="200"/>
                    </a:lnTo>
                    <a:lnTo>
                      <a:pt x="439" y="195"/>
                    </a:lnTo>
                    <a:lnTo>
                      <a:pt x="459" y="189"/>
                    </a:lnTo>
                    <a:lnTo>
                      <a:pt x="476" y="179"/>
                    </a:lnTo>
                    <a:lnTo>
                      <a:pt x="491" y="169"/>
                    </a:lnTo>
                    <a:lnTo>
                      <a:pt x="504" y="156"/>
                    </a:lnTo>
                    <a:lnTo>
                      <a:pt x="515" y="144"/>
                    </a:lnTo>
                    <a:lnTo>
                      <a:pt x="526" y="130"/>
                    </a:lnTo>
                    <a:lnTo>
                      <a:pt x="536" y="115"/>
                    </a:lnTo>
                    <a:lnTo>
                      <a:pt x="547" y="97"/>
                    </a:lnTo>
                    <a:lnTo>
                      <a:pt x="561" y="80"/>
                    </a:lnTo>
                    <a:lnTo>
                      <a:pt x="576" y="63"/>
                    </a:lnTo>
                    <a:lnTo>
                      <a:pt x="593" y="47"/>
                    </a:lnTo>
                    <a:lnTo>
                      <a:pt x="614" y="32"/>
                    </a:lnTo>
                    <a:lnTo>
                      <a:pt x="640" y="19"/>
                    </a:lnTo>
                    <a:lnTo>
                      <a:pt x="669" y="9"/>
                    </a:lnTo>
                    <a:lnTo>
                      <a:pt x="704" y="2"/>
                    </a:lnTo>
                    <a:lnTo>
                      <a:pt x="722" y="0"/>
                    </a:lnTo>
                    <a:lnTo>
                      <a:pt x="740" y="0"/>
                    </a:lnTo>
                    <a:lnTo>
                      <a:pt x="757" y="0"/>
                    </a:lnTo>
                    <a:lnTo>
                      <a:pt x="772" y="1"/>
                    </a:lnTo>
                    <a:lnTo>
                      <a:pt x="787" y="2"/>
                    </a:lnTo>
                    <a:lnTo>
                      <a:pt x="802" y="5"/>
                    </a:lnTo>
                    <a:lnTo>
                      <a:pt x="815" y="9"/>
                    </a:lnTo>
                    <a:lnTo>
                      <a:pt x="827" y="13"/>
                    </a:lnTo>
                    <a:lnTo>
                      <a:pt x="840" y="18"/>
                    </a:lnTo>
                    <a:lnTo>
                      <a:pt x="851" y="23"/>
                    </a:lnTo>
                    <a:lnTo>
                      <a:pt x="862" y="28"/>
                    </a:lnTo>
                    <a:lnTo>
                      <a:pt x="873" y="34"/>
                    </a:lnTo>
                    <a:lnTo>
                      <a:pt x="883" y="41"/>
                    </a:lnTo>
                    <a:lnTo>
                      <a:pt x="893" y="47"/>
                    </a:lnTo>
                    <a:lnTo>
                      <a:pt x="902" y="54"/>
                    </a:lnTo>
                    <a:lnTo>
                      <a:pt x="911" y="59"/>
                    </a:lnTo>
                    <a:lnTo>
                      <a:pt x="927" y="70"/>
                    </a:lnTo>
                    <a:lnTo>
                      <a:pt x="945" y="80"/>
                    </a:lnTo>
                    <a:lnTo>
                      <a:pt x="961" y="88"/>
                    </a:lnTo>
                    <a:lnTo>
                      <a:pt x="978" y="96"/>
                    </a:lnTo>
                    <a:lnTo>
                      <a:pt x="997" y="101"/>
                    </a:lnTo>
                    <a:lnTo>
                      <a:pt x="1017" y="106"/>
                    </a:lnTo>
                    <a:lnTo>
                      <a:pt x="1039" y="107"/>
                    </a:lnTo>
                    <a:lnTo>
                      <a:pt x="1065" y="106"/>
                    </a:lnTo>
                    <a:lnTo>
                      <a:pt x="1079" y="103"/>
                    </a:lnTo>
                    <a:lnTo>
                      <a:pt x="1096" y="101"/>
                    </a:lnTo>
                    <a:lnTo>
                      <a:pt x="1111" y="97"/>
                    </a:lnTo>
                    <a:lnTo>
                      <a:pt x="1126" y="93"/>
                    </a:lnTo>
                    <a:lnTo>
                      <a:pt x="1141" y="87"/>
                    </a:lnTo>
                    <a:lnTo>
                      <a:pt x="1155" y="81"/>
                    </a:lnTo>
                    <a:lnTo>
                      <a:pt x="1170" y="76"/>
                    </a:lnTo>
                    <a:lnTo>
                      <a:pt x="1184" y="69"/>
                    </a:lnTo>
                    <a:lnTo>
                      <a:pt x="1197" y="62"/>
                    </a:lnTo>
                    <a:lnTo>
                      <a:pt x="1210" y="55"/>
                    </a:lnTo>
                    <a:lnTo>
                      <a:pt x="1222" y="47"/>
                    </a:lnTo>
                    <a:lnTo>
                      <a:pt x="1234" y="40"/>
                    </a:lnTo>
                    <a:lnTo>
                      <a:pt x="1243" y="32"/>
                    </a:lnTo>
                    <a:lnTo>
                      <a:pt x="1252" y="25"/>
                    </a:lnTo>
                    <a:lnTo>
                      <a:pt x="1260" y="18"/>
                    </a:lnTo>
                    <a:lnTo>
                      <a:pt x="1267" y="11"/>
                    </a:lnTo>
                    <a:lnTo>
                      <a:pt x="1263" y="40"/>
                    </a:lnTo>
                    <a:lnTo>
                      <a:pt x="1258" y="70"/>
                    </a:lnTo>
                    <a:lnTo>
                      <a:pt x="1253" y="95"/>
                    </a:lnTo>
                    <a:lnTo>
                      <a:pt x="1250" y="109"/>
                    </a:lnTo>
                    <a:lnTo>
                      <a:pt x="1237" y="126"/>
                    </a:lnTo>
                    <a:lnTo>
                      <a:pt x="1225" y="144"/>
                    </a:lnTo>
                    <a:lnTo>
                      <a:pt x="1208" y="161"/>
                    </a:lnTo>
                    <a:lnTo>
                      <a:pt x="1191" y="177"/>
                    </a:lnTo>
                    <a:lnTo>
                      <a:pt x="1170" y="192"/>
                    </a:lnTo>
                    <a:lnTo>
                      <a:pt x="1146" y="204"/>
                    </a:lnTo>
                    <a:lnTo>
                      <a:pt x="1119" y="214"/>
                    </a:lnTo>
                    <a:lnTo>
                      <a:pt x="1085" y="221"/>
                    </a:lnTo>
                    <a:close/>
                  </a:path>
                </a:pathLst>
              </a:custGeom>
              <a:grpFill/>
              <a:ln w="9525">
                <a:noFill/>
                <a:round/>
                <a:headEnd/>
                <a:tailEnd/>
              </a:ln>
            </p:spPr>
            <p:txBody>
              <a:bodyPr/>
              <a:lstStyle/>
              <a:p>
                <a:pPr fontAlgn="base">
                  <a:spcBef>
                    <a:spcPct val="0"/>
                  </a:spcBef>
                  <a:spcAft>
                    <a:spcPct val="0"/>
                  </a:spcAft>
                </a:pPr>
                <a:endParaRPr lang="de-DE" sz="1100" b="1">
                  <a:solidFill>
                    <a:srgbClr val="FAEDBE">
                      <a:lumMod val="10000"/>
                    </a:srgbClr>
                  </a:solidFill>
                </a:endParaRPr>
              </a:p>
            </p:txBody>
          </p:sp>
        </p:grpSp>
        <p:sp>
          <p:nvSpPr>
            <p:cNvPr id="147" name="Rectangle 113"/>
            <p:cNvSpPr>
              <a:spLocks noChangeArrowheads="1"/>
            </p:cNvSpPr>
            <p:nvPr>
              <p:custDataLst>
                <p:tags r:id="rId8"/>
              </p:custDataLst>
            </p:nvPr>
          </p:nvSpPr>
          <p:spPr bwMode="gray">
            <a:xfrm>
              <a:off x="6802966" y="3321504"/>
              <a:ext cx="776300" cy="307969"/>
            </a:xfrm>
            <a:prstGeom prst="rect">
              <a:avLst/>
            </a:prstGeom>
            <a:noFill/>
            <a:ln w="9525">
              <a:noFill/>
              <a:miter lim="800000"/>
              <a:headEnd/>
              <a:tailEnd/>
            </a:ln>
          </p:spPr>
          <p:txBody>
            <a:bodyPr wrap="square" lIns="0" tIns="0" rIns="0" bIns="0" anchor="ctr">
              <a:spAutoFit/>
            </a:bodyPr>
            <a:lstStyle/>
            <a:p>
              <a:pPr defTabSz="685145" fontAlgn="base">
                <a:lnSpc>
                  <a:spcPct val="70000"/>
                </a:lnSpc>
                <a:spcBef>
                  <a:spcPct val="0"/>
                </a:spcBef>
                <a:spcAft>
                  <a:spcPct val="0"/>
                </a:spcAft>
                <a:buClr>
                  <a:srgbClr val="C7A10E"/>
                </a:buClr>
              </a:pPr>
              <a:r>
                <a:rPr lang="en-US" sz="2800" b="1" dirty="0" smtClean="0">
                  <a:solidFill>
                    <a:schemeClr val="bg1"/>
                  </a:solidFill>
                  <a:cs typeface="Arial" panose="020B0604020202020204" pitchFamily="34" charset="0"/>
                </a:rPr>
                <a:t>90%</a:t>
              </a:r>
              <a:endParaRPr lang="en-US" sz="1100" b="1" dirty="0">
                <a:solidFill>
                  <a:schemeClr val="bg1"/>
                </a:solidFill>
                <a:cs typeface="Arial" panose="020B0604020202020204" pitchFamily="34" charset="0"/>
              </a:endParaRPr>
            </a:p>
          </p:txBody>
        </p:sp>
        <p:sp>
          <p:nvSpPr>
            <p:cNvPr id="148" name="Rectangle 113"/>
            <p:cNvSpPr>
              <a:spLocks noChangeArrowheads="1"/>
            </p:cNvSpPr>
            <p:nvPr>
              <p:custDataLst>
                <p:tags r:id="rId9"/>
              </p:custDataLst>
            </p:nvPr>
          </p:nvSpPr>
          <p:spPr bwMode="gray">
            <a:xfrm>
              <a:off x="7191116" y="5895407"/>
              <a:ext cx="1673604" cy="307969"/>
            </a:xfrm>
            <a:prstGeom prst="rect">
              <a:avLst/>
            </a:prstGeom>
            <a:noFill/>
            <a:ln w="9525">
              <a:noFill/>
              <a:miter lim="800000"/>
              <a:headEnd/>
              <a:tailEnd/>
            </a:ln>
          </p:spPr>
          <p:txBody>
            <a:bodyPr wrap="square" lIns="0" tIns="0" rIns="0" bIns="0" anchor="ctr">
              <a:spAutoFit/>
            </a:bodyPr>
            <a:lstStyle/>
            <a:p>
              <a:pPr defTabSz="685145" fontAlgn="base">
                <a:lnSpc>
                  <a:spcPct val="70000"/>
                </a:lnSpc>
                <a:spcBef>
                  <a:spcPct val="0"/>
                </a:spcBef>
                <a:spcAft>
                  <a:spcPct val="0"/>
                </a:spcAft>
                <a:buClr>
                  <a:srgbClr val="C7A10E"/>
                </a:buClr>
              </a:pPr>
              <a:r>
                <a:rPr lang="en-US" sz="2800" b="1" dirty="0" smtClean="0">
                  <a:solidFill>
                    <a:schemeClr val="bg1"/>
                  </a:solidFill>
                  <a:cs typeface="Arial" panose="020B0604020202020204" pitchFamily="34" charset="0"/>
                </a:rPr>
                <a:t>570%</a:t>
              </a:r>
              <a:endParaRPr lang="en-US" sz="1100" b="1" dirty="0">
                <a:solidFill>
                  <a:schemeClr val="bg1"/>
                </a:solidFill>
                <a:cs typeface="Arial" panose="020B0604020202020204" pitchFamily="34" charset="0"/>
              </a:endParaRPr>
            </a:p>
          </p:txBody>
        </p:sp>
        <p:sp>
          <p:nvSpPr>
            <p:cNvPr id="149" name="Rectangle 148"/>
            <p:cNvSpPr/>
            <p:nvPr/>
          </p:nvSpPr>
          <p:spPr>
            <a:xfrm>
              <a:off x="5500896" y="94302"/>
              <a:ext cx="3393364" cy="107785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0000"/>
                </a:solidFill>
              </a:endParaRPr>
            </a:p>
          </p:txBody>
        </p:sp>
        <p:sp>
          <p:nvSpPr>
            <p:cNvPr id="150" name="Rectangle 149"/>
            <p:cNvSpPr/>
            <p:nvPr/>
          </p:nvSpPr>
          <p:spPr>
            <a:xfrm>
              <a:off x="5356392" y="589423"/>
              <a:ext cx="3712579" cy="477054"/>
            </a:xfrm>
            <a:prstGeom prst="rect">
              <a:avLst/>
            </a:prstGeom>
            <a:noFill/>
            <a:ln>
              <a:noFill/>
            </a:ln>
          </p:spPr>
          <p:txBody>
            <a:bodyPr wrap="square">
              <a:spAutoFit/>
            </a:bodyPr>
            <a:lstStyle/>
            <a:p>
              <a:pPr algn="ctr">
                <a:lnSpc>
                  <a:spcPts val="3000"/>
                </a:lnSpc>
              </a:pPr>
              <a:r>
                <a:rPr lang="en-US" sz="6600" b="1" dirty="0">
                  <a:solidFill>
                    <a:schemeClr val="bg1"/>
                  </a:solidFill>
                  <a:cs typeface="Arial" panose="020B0604020202020204" pitchFamily="34" charset="0"/>
                </a:rPr>
                <a:t>By 2050</a:t>
              </a:r>
            </a:p>
          </p:txBody>
        </p:sp>
        <p:sp>
          <p:nvSpPr>
            <p:cNvPr id="151" name="Up Arrow 150"/>
            <p:cNvSpPr/>
            <p:nvPr/>
          </p:nvSpPr>
          <p:spPr>
            <a:xfrm>
              <a:off x="6395261" y="3120231"/>
              <a:ext cx="392837" cy="434068"/>
            </a:xfrm>
            <a:prstGeom prst="up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52" name="Rectangle 151"/>
            <p:cNvSpPr/>
            <p:nvPr/>
          </p:nvSpPr>
          <p:spPr>
            <a:xfrm>
              <a:off x="5494435" y="3917808"/>
              <a:ext cx="3393362" cy="671869"/>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53" name="AutoShape 11"/>
            <p:cNvSpPr>
              <a:spLocks noChangeArrowheads="1"/>
            </p:cNvSpPr>
            <p:nvPr>
              <p:custDataLst>
                <p:tags r:id="rId10"/>
              </p:custDataLst>
            </p:nvPr>
          </p:nvSpPr>
          <p:spPr bwMode="gray">
            <a:xfrm>
              <a:off x="5652202" y="4073979"/>
              <a:ext cx="3189620" cy="445018"/>
            </a:xfrm>
            <a:prstGeom prst="leftRightArrow">
              <a:avLst>
                <a:gd name="adj1" fmla="val 100000"/>
                <a:gd name="adj2" fmla="val 0"/>
              </a:avLst>
            </a:prstGeom>
            <a:noFill/>
            <a:ln w="9525">
              <a:noFill/>
              <a:miter lim="800000"/>
              <a:headEnd/>
              <a:tailEnd/>
            </a:ln>
          </p:spPr>
          <p:txBody>
            <a:bodyPr wrap="square" lIns="0" tIns="0" rIns="0" bIns="13994" anchor="b">
              <a:spAutoFit/>
            </a:bodyPr>
            <a:lstStyle/>
            <a:p>
              <a:pPr fontAlgn="base">
                <a:spcBef>
                  <a:spcPct val="0"/>
                </a:spcBef>
                <a:spcAft>
                  <a:spcPct val="0"/>
                </a:spcAft>
              </a:pPr>
              <a:r>
                <a:rPr lang="en-US" altLang="zh-CN" sz="1400" b="1" dirty="0" smtClean="0">
                  <a:solidFill>
                    <a:schemeClr val="bg1"/>
                  </a:solidFill>
                  <a:ea typeface="SimSun" pitchFamily="2" charset="-122"/>
                  <a:cs typeface="Arial" panose="020B0604020202020204" pitchFamily="34" charset="0"/>
                </a:rPr>
                <a:t>Global GDP generated in water </a:t>
              </a:r>
              <a:r>
                <a:rPr lang="en-US" altLang="zh-CN" sz="1400" b="1" dirty="0">
                  <a:solidFill>
                    <a:schemeClr val="bg1"/>
                  </a:solidFill>
                  <a:ea typeface="SimSun" pitchFamily="2" charset="-122"/>
                  <a:cs typeface="Arial" panose="020B0604020202020204" pitchFamily="34" charset="0"/>
                </a:rPr>
                <a:t>s</a:t>
              </a:r>
              <a:r>
                <a:rPr lang="en-US" altLang="zh-CN" sz="1400" b="1" dirty="0" smtClean="0">
                  <a:solidFill>
                    <a:schemeClr val="bg1"/>
                  </a:solidFill>
                  <a:ea typeface="SimSun" pitchFamily="2" charset="-122"/>
                  <a:cs typeface="Arial" panose="020B0604020202020204" pitchFamily="34" charset="0"/>
                </a:rPr>
                <a:t>carce regions</a:t>
              </a:r>
              <a:endParaRPr lang="en-US" altLang="zh-CN" sz="1400" b="1" dirty="0">
                <a:solidFill>
                  <a:schemeClr val="bg1"/>
                </a:solidFill>
                <a:ea typeface="SimSun" pitchFamily="2" charset="-122"/>
                <a:cs typeface="Arial" panose="020B0604020202020204" pitchFamily="34" charset="0"/>
              </a:endParaRPr>
            </a:p>
          </p:txBody>
        </p:sp>
        <p:sp>
          <p:nvSpPr>
            <p:cNvPr id="154" name="Up Arrow 153"/>
            <p:cNvSpPr/>
            <p:nvPr/>
          </p:nvSpPr>
          <p:spPr>
            <a:xfrm>
              <a:off x="6750121" y="5694495"/>
              <a:ext cx="392837" cy="434068"/>
            </a:xfrm>
            <a:prstGeom prst="up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grpSp>
        <p:nvGrpSpPr>
          <p:cNvPr id="6" name="Group 5"/>
          <p:cNvGrpSpPr/>
          <p:nvPr/>
        </p:nvGrpSpPr>
        <p:grpSpPr>
          <a:xfrm>
            <a:off x="942620" y="1764516"/>
            <a:ext cx="3823734" cy="709628"/>
            <a:chOff x="168604" y="1010230"/>
            <a:chExt cx="5216094" cy="1463799"/>
          </a:xfrm>
        </p:grpSpPr>
        <p:sp>
          <p:nvSpPr>
            <p:cNvPr id="119" name="Title 1"/>
            <p:cNvSpPr txBox="1">
              <a:spLocks/>
            </p:cNvSpPr>
            <p:nvPr/>
          </p:nvSpPr>
          <p:spPr>
            <a:xfrm>
              <a:off x="4098420" y="1084743"/>
              <a:ext cx="1286278" cy="1371390"/>
            </a:xfrm>
            <a:prstGeom prst="rect">
              <a:avLst/>
            </a:prstGeom>
          </p:spPr>
          <p:txBody>
            <a:bodyPr vert="horz" lIns="68580" tIns="34290" rIns="68580" bIns="34290" rtlCol="0" anchor="ctr">
              <a:noAutofit/>
            </a:bodyPr>
            <a:lstStyle>
              <a:lvl1pPr algn="ctr" defTabSz="914400" rtl="0" eaLnBrk="1" latinLnBrk="0" hangingPunct="1">
                <a:spcBef>
                  <a:spcPct val="0"/>
                </a:spcBef>
                <a:buNone/>
                <a:defRPr sz="6000" kern="1200">
                  <a:solidFill>
                    <a:schemeClr val="tx1"/>
                  </a:solidFill>
                  <a:latin typeface="+mj-lt"/>
                  <a:ea typeface="+mj-ea"/>
                  <a:cs typeface="+mj-cs"/>
                </a:defRPr>
              </a:lvl1pPr>
            </a:lstStyle>
            <a:p>
              <a:pPr algn="l">
                <a:lnSpc>
                  <a:spcPct val="80000"/>
                </a:lnSpc>
              </a:pPr>
              <a:r>
                <a:rPr lang="en-US" sz="2800" b="1" dirty="0" smtClean="0">
                  <a:latin typeface="+mn-lt"/>
                  <a:cs typeface="Arial" panose="020B0604020202020204" pitchFamily="34" charset="0"/>
                </a:rPr>
                <a:t>52%</a:t>
              </a:r>
              <a:endParaRPr lang="en-US" sz="2400" b="1" dirty="0" smtClean="0">
                <a:latin typeface="+mn-lt"/>
                <a:cs typeface="Arial" panose="020B0604020202020204" pitchFamily="34" charset="0"/>
              </a:endParaRPr>
            </a:p>
            <a:p>
              <a:pPr algn="l">
                <a:lnSpc>
                  <a:spcPct val="80000"/>
                </a:lnSpc>
              </a:pPr>
              <a:r>
                <a:rPr lang="en-US" sz="2800" b="1" dirty="0" smtClean="0">
                  <a:latin typeface="+mn-lt"/>
                  <a:cs typeface="Arial" panose="020B0604020202020204" pitchFamily="34" charset="0"/>
                </a:rPr>
                <a:t>49</a:t>
              </a:r>
              <a:r>
                <a:rPr lang="en-US" sz="2800" b="1" dirty="0">
                  <a:latin typeface="+mn-lt"/>
                  <a:cs typeface="Arial" panose="020B0604020202020204" pitchFamily="34" charset="0"/>
                </a:rPr>
                <a:t>% </a:t>
              </a:r>
              <a:endParaRPr lang="en-US" sz="2800" b="1" dirty="0" smtClean="0">
                <a:latin typeface="+mn-lt"/>
                <a:cs typeface="Arial" panose="020B0604020202020204" pitchFamily="34" charset="0"/>
              </a:endParaRPr>
            </a:p>
            <a:p>
              <a:pPr algn="l">
                <a:lnSpc>
                  <a:spcPct val="80000"/>
                </a:lnSpc>
              </a:pPr>
              <a:r>
                <a:rPr lang="en-US" sz="2800" b="1" dirty="0" smtClean="0">
                  <a:latin typeface="+mn-lt"/>
                  <a:cs typeface="Arial" panose="020B0604020202020204" pitchFamily="34" charset="0"/>
                </a:rPr>
                <a:t>45%</a:t>
              </a:r>
              <a:endParaRPr lang="en-US" sz="2400" b="1" dirty="0" smtClean="0">
                <a:latin typeface="+mn-lt"/>
                <a:cs typeface="Arial" panose="020B0604020202020204" pitchFamily="34" charset="0"/>
              </a:endParaRPr>
            </a:p>
          </p:txBody>
        </p:sp>
        <p:grpSp>
          <p:nvGrpSpPr>
            <p:cNvPr id="5" name="Group 4"/>
            <p:cNvGrpSpPr/>
            <p:nvPr/>
          </p:nvGrpSpPr>
          <p:grpSpPr>
            <a:xfrm>
              <a:off x="168604" y="1010230"/>
              <a:ext cx="3979158" cy="1463799"/>
              <a:chOff x="168604" y="1010230"/>
              <a:chExt cx="3979158" cy="1463799"/>
            </a:xfrm>
          </p:grpSpPr>
          <p:sp>
            <p:nvSpPr>
              <p:cNvPr id="82" name="Notched Right Arrow 81"/>
              <p:cNvSpPr/>
              <p:nvPr/>
            </p:nvSpPr>
            <p:spPr>
              <a:xfrm>
                <a:off x="1036417" y="1115800"/>
                <a:ext cx="3088956" cy="1181865"/>
              </a:xfrm>
              <a:prstGeom prst="notchedRightArrow">
                <a:avLst/>
              </a:prstGeom>
              <a:gradFill flip="none" rotWithShape="1">
                <a:gsLst>
                  <a:gs pos="0">
                    <a:srgbClr val="92D050"/>
                  </a:gs>
                  <a:gs pos="50000">
                    <a:srgbClr val="FF0000">
                      <a:tint val="44500"/>
                      <a:satMod val="160000"/>
                    </a:srgbClr>
                  </a:gs>
                  <a:gs pos="100000">
                    <a:srgbClr val="92D050"/>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7"/>
              <p:cNvSpPr txBox="1">
                <a:spLocks noChangeArrowheads="1"/>
              </p:cNvSpPr>
              <p:nvPr>
                <p:custDataLst>
                  <p:tags r:id="rId1"/>
                </p:custDataLst>
              </p:nvPr>
            </p:nvSpPr>
            <p:spPr>
              <a:xfrm>
                <a:off x="168604" y="1018369"/>
                <a:ext cx="921405" cy="1455660"/>
              </a:xfrm>
              <a:prstGeom prst="rect">
                <a:avLst/>
              </a:prstGeom>
            </p:spPr>
            <p:txBody>
              <a:bodyPr vert="horz" lIns="91440" tIns="45720" rIns="91440" bIns="45720" rtlCol="0" anchor="ctr">
                <a:normAutofit fontScale="70000" lnSpcReduction="20000"/>
              </a:bodyPr>
              <a:lstStyle>
                <a:lvl1pPr algn="l" defTabSz="914400" rtl="0" eaLnBrk="1" latinLnBrk="0" hangingPunct="1">
                  <a:spcBef>
                    <a:spcPct val="0"/>
                  </a:spcBef>
                  <a:buNone/>
                  <a:defRPr sz="4000" kern="1200">
                    <a:solidFill>
                      <a:srgbClr val="88A53D"/>
                    </a:solidFill>
                    <a:latin typeface="Arial" pitchFamily="34" charset="0"/>
                    <a:ea typeface="+mj-ea"/>
                    <a:cs typeface="Arial" pitchFamily="34" charset="0"/>
                  </a:defRPr>
                </a:lvl1pPr>
              </a:lstStyle>
              <a:p>
                <a:pPr>
                  <a:lnSpc>
                    <a:spcPct val="70000"/>
                  </a:lnSpc>
                  <a:spcAft>
                    <a:spcPts val="600"/>
                  </a:spcAft>
                </a:pPr>
                <a:r>
                  <a:rPr lang="en-US" sz="2800" b="1" dirty="0" smtClean="0">
                    <a:solidFill>
                      <a:schemeClr val="tx1"/>
                    </a:solidFill>
                    <a:latin typeface="+mn-lt"/>
                  </a:rPr>
                  <a:t>36%</a:t>
                </a:r>
              </a:p>
              <a:p>
                <a:pPr>
                  <a:lnSpc>
                    <a:spcPct val="70000"/>
                  </a:lnSpc>
                  <a:spcAft>
                    <a:spcPts val="600"/>
                  </a:spcAft>
                </a:pPr>
                <a:r>
                  <a:rPr lang="en-US" sz="2800" b="1" dirty="0" smtClean="0">
                    <a:solidFill>
                      <a:schemeClr val="tx1"/>
                    </a:solidFill>
                    <a:latin typeface="+mn-lt"/>
                  </a:rPr>
                  <a:t>39%</a:t>
                </a:r>
                <a:endParaRPr lang="en-US" sz="2250" b="1" dirty="0" smtClean="0">
                  <a:solidFill>
                    <a:schemeClr val="tx1"/>
                  </a:solidFill>
                  <a:latin typeface="+mn-lt"/>
                </a:endParaRPr>
              </a:p>
              <a:p>
                <a:pPr>
                  <a:lnSpc>
                    <a:spcPct val="70000"/>
                  </a:lnSpc>
                  <a:spcAft>
                    <a:spcPts val="600"/>
                  </a:spcAft>
                </a:pPr>
                <a:r>
                  <a:rPr lang="en-US" sz="2800" b="1" dirty="0" smtClean="0">
                    <a:solidFill>
                      <a:schemeClr val="tx1"/>
                    </a:solidFill>
                    <a:latin typeface="+mn-lt"/>
                  </a:rPr>
                  <a:t>22%</a:t>
                </a:r>
                <a:endParaRPr lang="en-US" sz="2250" b="1" dirty="0">
                  <a:solidFill>
                    <a:schemeClr val="tx1"/>
                  </a:solidFill>
                  <a:latin typeface="+mn-lt"/>
                </a:endParaRPr>
              </a:p>
            </p:txBody>
          </p:sp>
          <p:sp>
            <p:nvSpPr>
              <p:cNvPr id="155" name="Rectangle 7"/>
              <p:cNvSpPr txBox="1">
                <a:spLocks noChangeArrowheads="1"/>
              </p:cNvSpPr>
              <p:nvPr>
                <p:custDataLst>
                  <p:tags r:id="rId2"/>
                </p:custDataLst>
              </p:nvPr>
            </p:nvSpPr>
            <p:spPr>
              <a:xfrm>
                <a:off x="966476" y="1010230"/>
                <a:ext cx="3181286" cy="1455660"/>
              </a:xfrm>
              <a:prstGeom prst="rect">
                <a:avLst/>
              </a:prstGeom>
            </p:spPr>
            <p:txBody>
              <a:bodyPr vert="horz" lIns="91440" tIns="45720" rIns="91440" bIns="45720" rtlCol="0" anchor="ctr">
                <a:normAutofit fontScale="70000" lnSpcReduction="20000"/>
              </a:bodyPr>
              <a:lstStyle>
                <a:lvl1pPr algn="l" defTabSz="914400" rtl="0" eaLnBrk="1" latinLnBrk="0" hangingPunct="1">
                  <a:spcBef>
                    <a:spcPct val="0"/>
                  </a:spcBef>
                  <a:buNone/>
                  <a:defRPr sz="4000" kern="1200">
                    <a:solidFill>
                      <a:srgbClr val="88A53D"/>
                    </a:solidFill>
                    <a:latin typeface="Arial" pitchFamily="34" charset="0"/>
                    <a:ea typeface="+mj-ea"/>
                    <a:cs typeface="Arial" pitchFamily="34" charset="0"/>
                  </a:defRPr>
                </a:lvl1pPr>
              </a:lstStyle>
              <a:p>
                <a:pPr algn="ctr">
                  <a:lnSpc>
                    <a:spcPct val="70000"/>
                  </a:lnSpc>
                  <a:spcAft>
                    <a:spcPts val="600"/>
                  </a:spcAft>
                </a:pPr>
                <a:r>
                  <a:rPr lang="en-US" sz="2800" b="1" dirty="0" smtClean="0">
                    <a:solidFill>
                      <a:schemeClr val="accent6">
                        <a:lumMod val="50000"/>
                      </a:schemeClr>
                    </a:solidFill>
                    <a:latin typeface="+mn-lt"/>
                  </a:rPr>
                  <a:t>population</a:t>
                </a:r>
              </a:p>
              <a:p>
                <a:pPr algn="ctr">
                  <a:lnSpc>
                    <a:spcPct val="70000"/>
                  </a:lnSpc>
                  <a:spcAft>
                    <a:spcPts val="600"/>
                  </a:spcAft>
                </a:pPr>
                <a:r>
                  <a:rPr lang="en-US" sz="2800" b="1" dirty="0" smtClean="0">
                    <a:solidFill>
                      <a:schemeClr val="accent6">
                        <a:lumMod val="50000"/>
                      </a:schemeClr>
                    </a:solidFill>
                    <a:latin typeface="+mn-lt"/>
                  </a:rPr>
                  <a:t>grain production</a:t>
                </a:r>
              </a:p>
              <a:p>
                <a:pPr algn="ctr">
                  <a:lnSpc>
                    <a:spcPct val="70000"/>
                  </a:lnSpc>
                  <a:spcAft>
                    <a:spcPts val="600"/>
                  </a:spcAft>
                </a:pPr>
                <a:r>
                  <a:rPr lang="en-US" sz="2800" b="1" dirty="0" smtClean="0">
                    <a:solidFill>
                      <a:schemeClr val="accent6">
                        <a:lumMod val="50000"/>
                      </a:schemeClr>
                    </a:solidFill>
                    <a:latin typeface="+mn-lt"/>
                  </a:rPr>
                  <a:t>global GDP</a:t>
                </a:r>
                <a:endParaRPr lang="en-US" sz="2800" b="1" dirty="0">
                  <a:solidFill>
                    <a:schemeClr val="accent6">
                      <a:lumMod val="50000"/>
                    </a:schemeClr>
                  </a:solidFill>
                  <a:latin typeface="+mn-lt"/>
                </a:endParaRPr>
              </a:p>
            </p:txBody>
          </p:sp>
        </p:grpSp>
      </p:grpSp>
      <p:cxnSp>
        <p:nvCxnSpPr>
          <p:cNvPr id="156" name="Straight Connector 155"/>
          <p:cNvCxnSpPr/>
          <p:nvPr/>
        </p:nvCxnSpPr>
        <p:spPr>
          <a:xfrm flipV="1">
            <a:off x="2999121" y="2024521"/>
            <a:ext cx="2482100" cy="2604538"/>
          </a:xfrm>
          <a:prstGeom prst="line">
            <a:avLst/>
          </a:prstGeom>
          <a:ln>
            <a:solidFill>
              <a:srgbClr val="C00000">
                <a:alpha val="50196"/>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flipV="1">
            <a:off x="3009783" y="3700392"/>
            <a:ext cx="2491112" cy="1570477"/>
          </a:xfrm>
          <a:prstGeom prst="line">
            <a:avLst/>
          </a:prstGeom>
          <a:ln>
            <a:solidFill>
              <a:srgbClr val="C00000">
                <a:alpha val="50196"/>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flipV="1">
            <a:off x="2982863" y="4636166"/>
            <a:ext cx="2505988" cy="1240614"/>
          </a:xfrm>
          <a:prstGeom prst="line">
            <a:avLst/>
          </a:prstGeom>
          <a:ln>
            <a:solidFill>
              <a:srgbClr val="C00000">
                <a:alpha val="50196"/>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flipV="1">
            <a:off x="2991980" y="6317754"/>
            <a:ext cx="2501940" cy="222560"/>
          </a:xfrm>
          <a:prstGeom prst="line">
            <a:avLst/>
          </a:prstGeom>
          <a:ln>
            <a:solidFill>
              <a:srgbClr val="C00000">
                <a:alpha val="50196"/>
              </a:srgbClr>
            </a:solidFill>
            <a:prstDash val="lgDash"/>
          </a:ln>
        </p:spPr>
        <p:style>
          <a:lnRef idx="1">
            <a:schemeClr val="accent1"/>
          </a:lnRef>
          <a:fillRef idx="0">
            <a:schemeClr val="accent1"/>
          </a:fillRef>
          <a:effectRef idx="0">
            <a:schemeClr val="accent1"/>
          </a:effectRef>
          <a:fontRef idx="minor">
            <a:schemeClr val="tx1"/>
          </a:fontRef>
        </p:style>
      </p:cxnSp>
      <p:pic>
        <p:nvPicPr>
          <p:cNvPr id="160" name="Picture 159"/>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53592" y="203534"/>
            <a:ext cx="525826" cy="830652"/>
          </a:xfrm>
          <a:prstGeom prst="rect">
            <a:avLst/>
          </a:prstGeom>
        </p:spPr>
      </p:pic>
    </p:spTree>
    <p:extLst>
      <p:ext uri="{BB962C8B-B14F-4D97-AF65-F5344CB8AC3E}">
        <p14:creationId xmlns:p14="http://schemas.microsoft.com/office/powerpoint/2010/main" val="2557500469"/>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3D4246"/>
        </a:solidFill>
        <a:effectLst/>
      </p:bgPr>
    </p:bg>
    <p:spTree>
      <p:nvGrpSpPr>
        <p:cNvPr id="1" name=""/>
        <p:cNvGrpSpPr/>
        <p:nvPr/>
      </p:nvGrpSpPr>
      <p:grpSpPr>
        <a:xfrm>
          <a:off x="0" y="0"/>
          <a:ext cx="0" cy="0"/>
          <a:chOff x="0" y="0"/>
          <a:chExt cx="0" cy="0"/>
        </a:xfrm>
      </p:grpSpPr>
      <p:sp>
        <p:nvSpPr>
          <p:cNvPr id="3" name="Shape 415"/>
          <p:cNvSpPr/>
          <p:nvPr/>
        </p:nvSpPr>
        <p:spPr>
          <a:xfrm>
            <a:off x="1144485" y="3250597"/>
            <a:ext cx="6855029" cy="527004"/>
          </a:xfrm>
          <a:prstGeom prst="rect">
            <a:avLst/>
          </a:prstGeom>
          <a:ln w="12700">
            <a:miter lim="400000"/>
          </a:ln>
          <a:extLst>
            <a:ext uri="{C572A759-6A51-4108-AA02-DFA0A04FC94B}">
              <ma14:wrappingTextBoxFlag xmlns="" xmlns:ma14="http://schemas.microsoft.com/office/mac/drawingml/2011/main" val="1"/>
            </a:ext>
          </a:extLst>
        </p:spPr>
        <p:txBody>
          <a:bodyPr wrap="square" lIns="21336" tIns="21336" rIns="21336" bIns="21336" anchor="ctr">
            <a:spAutoFit/>
          </a:bodyPr>
          <a:lstStyle/>
          <a:p>
            <a:pPr algn="ctr">
              <a:lnSpc>
                <a:spcPct val="70000"/>
              </a:lnSpc>
              <a:defRPr sz="1800"/>
            </a:pPr>
            <a:r>
              <a:rPr lang="en-US" sz="4400" dirty="0" smtClean="0">
                <a:solidFill>
                  <a:srgbClr val="CCFF66"/>
                </a:solidFill>
                <a:latin typeface="BebasNeueBold" pitchFamily="34" charset="0"/>
                <a:ea typeface="BebasNeueRegular"/>
                <a:cs typeface="BebasNeueRegular"/>
                <a:sym typeface="BebasNeueRegular"/>
              </a:rPr>
              <a:t>Thanks!</a:t>
            </a:r>
            <a:endParaRPr lang="en-US" sz="4400" dirty="0">
              <a:solidFill>
                <a:srgbClr val="CCFF66"/>
              </a:solidFill>
              <a:latin typeface="BebasNeueBold" pitchFamily="34" charset="0"/>
              <a:ea typeface="BebasNeueRegular"/>
              <a:cs typeface="BebasNeueRegular"/>
              <a:sym typeface="BebasNeueRegular"/>
            </a:endParaRPr>
          </a:p>
        </p:txBody>
      </p:sp>
      <p:sp>
        <p:nvSpPr>
          <p:cNvPr id="4" name="Shape 416"/>
          <p:cNvSpPr/>
          <p:nvPr/>
        </p:nvSpPr>
        <p:spPr>
          <a:xfrm>
            <a:off x="-3163" y="6706515"/>
            <a:ext cx="1843178" cy="158751"/>
          </a:xfrm>
          <a:prstGeom prst="rect">
            <a:avLst/>
          </a:prstGeom>
          <a:solidFill>
            <a:schemeClr val="accent1"/>
          </a:solidFill>
          <a:ln w="12700">
            <a:miter lim="400000"/>
          </a:ln>
        </p:spPr>
        <p:txBody>
          <a:bodyPr lIns="0" tIns="0" rIns="0" bIns="0" anchor="ctr"/>
          <a:lstStyle/>
          <a:p>
            <a:pPr>
              <a:defRPr sz="3200"/>
            </a:pPr>
            <a:endParaRPr sz="3200">
              <a:solidFill>
                <a:prstClr val="black"/>
              </a:solidFill>
            </a:endParaRPr>
          </a:p>
        </p:txBody>
      </p:sp>
      <p:sp>
        <p:nvSpPr>
          <p:cNvPr id="5" name="Shape 417"/>
          <p:cNvSpPr/>
          <p:nvPr/>
        </p:nvSpPr>
        <p:spPr>
          <a:xfrm>
            <a:off x="1818592" y="6706515"/>
            <a:ext cx="1843177" cy="158751"/>
          </a:xfrm>
          <a:prstGeom prst="rect">
            <a:avLst/>
          </a:prstGeom>
          <a:solidFill>
            <a:schemeClr val="accent2"/>
          </a:solidFill>
          <a:ln w="12700">
            <a:miter lim="400000"/>
          </a:ln>
        </p:spPr>
        <p:txBody>
          <a:bodyPr lIns="0" tIns="0" rIns="0" bIns="0" anchor="ctr"/>
          <a:lstStyle/>
          <a:p>
            <a:pPr>
              <a:defRPr sz="3200"/>
            </a:pPr>
            <a:endParaRPr sz="3200">
              <a:solidFill>
                <a:prstClr val="black"/>
              </a:solidFill>
            </a:endParaRPr>
          </a:p>
        </p:txBody>
      </p:sp>
      <p:sp>
        <p:nvSpPr>
          <p:cNvPr id="6" name="Shape 418"/>
          <p:cNvSpPr/>
          <p:nvPr/>
        </p:nvSpPr>
        <p:spPr>
          <a:xfrm>
            <a:off x="3650412" y="6706515"/>
            <a:ext cx="1843177" cy="158751"/>
          </a:xfrm>
          <a:prstGeom prst="rect">
            <a:avLst/>
          </a:prstGeom>
          <a:solidFill>
            <a:schemeClr val="accent3"/>
          </a:solidFill>
          <a:ln w="12700">
            <a:miter lim="400000"/>
          </a:ln>
        </p:spPr>
        <p:txBody>
          <a:bodyPr lIns="0" tIns="0" rIns="0" bIns="0" anchor="ctr"/>
          <a:lstStyle/>
          <a:p>
            <a:pPr>
              <a:defRPr sz="3200"/>
            </a:pPr>
            <a:endParaRPr sz="3200">
              <a:solidFill>
                <a:prstClr val="black"/>
              </a:solidFill>
            </a:endParaRPr>
          </a:p>
        </p:txBody>
      </p:sp>
      <p:sp>
        <p:nvSpPr>
          <p:cNvPr id="7" name="Shape 419"/>
          <p:cNvSpPr/>
          <p:nvPr/>
        </p:nvSpPr>
        <p:spPr>
          <a:xfrm>
            <a:off x="5482231" y="6706515"/>
            <a:ext cx="1843178" cy="158751"/>
          </a:xfrm>
          <a:prstGeom prst="rect">
            <a:avLst/>
          </a:prstGeom>
          <a:solidFill>
            <a:schemeClr val="accent4"/>
          </a:solidFill>
          <a:ln w="12700">
            <a:miter lim="400000"/>
          </a:ln>
        </p:spPr>
        <p:txBody>
          <a:bodyPr lIns="0" tIns="0" rIns="0" bIns="0" anchor="ctr"/>
          <a:lstStyle/>
          <a:p>
            <a:pPr>
              <a:defRPr sz="3200"/>
            </a:pPr>
            <a:endParaRPr sz="3200">
              <a:solidFill>
                <a:prstClr val="black"/>
              </a:solidFill>
            </a:endParaRPr>
          </a:p>
        </p:txBody>
      </p:sp>
      <p:sp>
        <p:nvSpPr>
          <p:cNvPr id="8" name="Shape 420"/>
          <p:cNvSpPr/>
          <p:nvPr/>
        </p:nvSpPr>
        <p:spPr>
          <a:xfrm>
            <a:off x="7303985" y="6706515"/>
            <a:ext cx="1843177" cy="158751"/>
          </a:xfrm>
          <a:prstGeom prst="rect">
            <a:avLst/>
          </a:prstGeom>
          <a:solidFill>
            <a:schemeClr val="accent5"/>
          </a:solidFill>
          <a:ln w="12700">
            <a:miter lim="400000"/>
          </a:ln>
        </p:spPr>
        <p:txBody>
          <a:bodyPr lIns="0" tIns="0" rIns="0" bIns="0" anchor="ctr"/>
          <a:lstStyle/>
          <a:p>
            <a:pPr>
              <a:defRPr sz="3200"/>
            </a:pPr>
            <a:endParaRPr sz="3200">
              <a:solidFill>
                <a:prstClr val="black"/>
              </a:solidFill>
            </a:endParaRPr>
          </a:p>
        </p:txBody>
      </p:sp>
      <p:grpSp>
        <p:nvGrpSpPr>
          <p:cNvPr id="10" name="Group 431"/>
          <p:cNvGrpSpPr/>
          <p:nvPr/>
        </p:nvGrpSpPr>
        <p:grpSpPr>
          <a:xfrm>
            <a:off x="4076078" y="18924"/>
            <a:ext cx="1437253" cy="1767776"/>
            <a:chOff x="378732" y="0"/>
            <a:chExt cx="2879540" cy="3535550"/>
          </a:xfrm>
        </p:grpSpPr>
        <p:sp>
          <p:nvSpPr>
            <p:cNvPr id="11" name="Shape 422"/>
            <p:cNvSpPr/>
            <p:nvPr/>
          </p:nvSpPr>
          <p:spPr>
            <a:xfrm>
              <a:off x="378732" y="0"/>
              <a:ext cx="2047855" cy="3535550"/>
            </a:xfrm>
            <a:custGeom>
              <a:avLst/>
              <a:gdLst/>
              <a:ahLst/>
              <a:cxnLst>
                <a:cxn ang="0">
                  <a:pos x="wd2" y="hd2"/>
                </a:cxn>
                <a:cxn ang="5400000">
                  <a:pos x="wd2" y="hd2"/>
                </a:cxn>
                <a:cxn ang="10800000">
                  <a:pos x="wd2" y="hd2"/>
                </a:cxn>
                <a:cxn ang="16200000">
                  <a:pos x="wd2" y="hd2"/>
                </a:cxn>
              </a:cxnLst>
              <a:rect l="0" t="0" r="r" b="b"/>
              <a:pathLst>
                <a:path w="21600" h="21600" extrusionOk="0">
                  <a:moveTo>
                    <a:pt x="10785" y="16866"/>
                  </a:moveTo>
                  <a:lnTo>
                    <a:pt x="0" y="21600"/>
                  </a:lnTo>
                  <a:lnTo>
                    <a:pt x="0" y="0"/>
                  </a:lnTo>
                  <a:lnTo>
                    <a:pt x="21600" y="0"/>
                  </a:lnTo>
                  <a:lnTo>
                    <a:pt x="21600" y="21589"/>
                  </a:lnTo>
                  <a:lnTo>
                    <a:pt x="10785" y="16866"/>
                  </a:lnTo>
                  <a:close/>
                </a:path>
              </a:pathLst>
            </a:custGeom>
            <a:solidFill>
              <a:srgbClr val="FFFFFF"/>
            </a:solidFill>
            <a:ln w="12700" cap="flat">
              <a:noFill/>
              <a:miter lim="400000"/>
            </a:ln>
            <a:effectLst/>
          </p:spPr>
          <p:txBody>
            <a:bodyPr wrap="square" lIns="0" tIns="0" rIns="0" bIns="0" numCol="1" anchor="ctr">
              <a:noAutofit/>
            </a:bodyPr>
            <a:lstStyle/>
            <a:p>
              <a:pPr>
                <a:defRPr sz="3200"/>
              </a:pPr>
              <a:endParaRPr sz="3200">
                <a:solidFill>
                  <a:prstClr val="black"/>
                </a:solidFill>
              </a:endParaRPr>
            </a:p>
          </p:txBody>
        </p:sp>
        <p:sp>
          <p:nvSpPr>
            <p:cNvPr id="13" name="Shape 424"/>
            <p:cNvSpPr/>
            <p:nvPr/>
          </p:nvSpPr>
          <p:spPr>
            <a:xfrm>
              <a:off x="513648" y="1544187"/>
              <a:ext cx="2744624" cy="44717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spAutoFit/>
            </a:bodyPr>
            <a:lstStyle>
              <a:lvl1pPr>
                <a:lnSpc>
                  <a:spcPct val="70000"/>
                </a:lnSpc>
                <a:defRPr sz="2500">
                  <a:solidFill>
                    <a:srgbClr val="212830"/>
                  </a:solidFill>
                  <a:latin typeface="Roboto Regular"/>
                  <a:ea typeface="Roboto Regular"/>
                  <a:cs typeface="Roboto Regular"/>
                  <a:sym typeface="Roboto Regular"/>
                </a:defRPr>
              </a:lvl1pPr>
            </a:lstStyle>
            <a:p>
              <a:pPr>
                <a:defRPr sz="1800">
                  <a:solidFill>
                    <a:srgbClr val="000000"/>
                  </a:solidFill>
                </a:defRPr>
              </a:pPr>
              <a:endParaRPr sz="1100" dirty="0">
                <a:solidFill>
                  <a:srgbClr val="000000"/>
                </a:solidFill>
              </a:endParaRPr>
            </a:p>
          </p:txBody>
        </p:sp>
        <p:grpSp>
          <p:nvGrpSpPr>
            <p:cNvPr id="14" name="Group 430"/>
            <p:cNvGrpSpPr/>
            <p:nvPr/>
          </p:nvGrpSpPr>
          <p:grpSpPr>
            <a:xfrm>
              <a:off x="861128" y="629033"/>
              <a:ext cx="1106116" cy="162566"/>
              <a:chOff x="0" y="0"/>
              <a:chExt cx="1106114" cy="162564"/>
            </a:xfrm>
          </p:grpSpPr>
          <p:sp>
            <p:nvSpPr>
              <p:cNvPr id="15" name="Shape 425"/>
              <p:cNvSpPr/>
              <p:nvPr/>
            </p:nvSpPr>
            <p:spPr>
              <a:xfrm>
                <a:off x="0" y="0"/>
                <a:ext cx="162565" cy="16256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1"/>
              </a:solidFill>
              <a:ln w="12700" cap="flat">
                <a:noFill/>
                <a:miter lim="400000"/>
              </a:ln>
              <a:effectLst/>
            </p:spPr>
            <p:txBody>
              <a:bodyPr wrap="square" lIns="0" tIns="0" rIns="0" bIns="0" numCol="1" anchor="ctr">
                <a:noAutofit/>
              </a:bodyPr>
              <a:lstStyle/>
              <a:p>
                <a:pPr>
                  <a:defRPr sz="3200"/>
                </a:pPr>
                <a:endParaRPr sz="3200">
                  <a:solidFill>
                    <a:prstClr val="black"/>
                  </a:solidFill>
                </a:endParaRPr>
              </a:p>
            </p:txBody>
          </p:sp>
          <p:sp>
            <p:nvSpPr>
              <p:cNvPr id="16" name="Shape 426"/>
              <p:cNvSpPr/>
              <p:nvPr/>
            </p:nvSpPr>
            <p:spPr>
              <a:xfrm>
                <a:off x="235887" y="0"/>
                <a:ext cx="162566" cy="16256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2"/>
              </a:solidFill>
              <a:ln w="12700" cap="flat">
                <a:noFill/>
                <a:miter lim="400000"/>
              </a:ln>
              <a:effectLst/>
            </p:spPr>
            <p:txBody>
              <a:bodyPr wrap="square" lIns="0" tIns="0" rIns="0" bIns="0" numCol="1" anchor="ctr">
                <a:noAutofit/>
              </a:bodyPr>
              <a:lstStyle/>
              <a:p>
                <a:pPr>
                  <a:defRPr sz="3200"/>
                </a:pPr>
                <a:endParaRPr sz="3200">
                  <a:solidFill>
                    <a:prstClr val="black"/>
                  </a:solidFill>
                </a:endParaRPr>
              </a:p>
            </p:txBody>
          </p:sp>
          <p:sp>
            <p:nvSpPr>
              <p:cNvPr id="17" name="Shape 427"/>
              <p:cNvSpPr/>
              <p:nvPr/>
            </p:nvSpPr>
            <p:spPr>
              <a:xfrm>
                <a:off x="471775" y="0"/>
                <a:ext cx="162565" cy="16256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3"/>
              </a:solidFill>
              <a:ln w="12700" cap="flat">
                <a:noFill/>
                <a:miter lim="400000"/>
              </a:ln>
              <a:effectLst/>
            </p:spPr>
            <p:txBody>
              <a:bodyPr wrap="square" lIns="0" tIns="0" rIns="0" bIns="0" numCol="1" anchor="ctr">
                <a:noAutofit/>
              </a:bodyPr>
              <a:lstStyle/>
              <a:p>
                <a:pPr>
                  <a:defRPr sz="3200"/>
                </a:pPr>
                <a:endParaRPr sz="3200">
                  <a:solidFill>
                    <a:prstClr val="black"/>
                  </a:solidFill>
                </a:endParaRPr>
              </a:p>
            </p:txBody>
          </p:sp>
          <p:sp>
            <p:nvSpPr>
              <p:cNvPr id="18" name="Shape 428"/>
              <p:cNvSpPr/>
              <p:nvPr/>
            </p:nvSpPr>
            <p:spPr>
              <a:xfrm>
                <a:off x="707662" y="0"/>
                <a:ext cx="162566" cy="16256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4"/>
              </a:solidFill>
              <a:ln w="12700" cap="flat">
                <a:noFill/>
                <a:miter lim="400000"/>
              </a:ln>
              <a:effectLst/>
            </p:spPr>
            <p:txBody>
              <a:bodyPr wrap="square" lIns="0" tIns="0" rIns="0" bIns="0" numCol="1" anchor="ctr">
                <a:noAutofit/>
              </a:bodyPr>
              <a:lstStyle/>
              <a:p>
                <a:pPr>
                  <a:defRPr sz="3200"/>
                </a:pPr>
                <a:endParaRPr sz="3200">
                  <a:solidFill>
                    <a:prstClr val="black"/>
                  </a:solidFill>
                </a:endParaRPr>
              </a:p>
            </p:txBody>
          </p:sp>
          <p:sp>
            <p:nvSpPr>
              <p:cNvPr id="19" name="Shape 429"/>
              <p:cNvSpPr/>
              <p:nvPr/>
            </p:nvSpPr>
            <p:spPr>
              <a:xfrm>
                <a:off x="943550" y="0"/>
                <a:ext cx="162565" cy="16256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5"/>
              </a:solidFill>
              <a:ln w="12700" cap="flat">
                <a:noFill/>
                <a:miter lim="400000"/>
              </a:ln>
              <a:effectLst/>
            </p:spPr>
            <p:txBody>
              <a:bodyPr wrap="square" lIns="0" tIns="0" rIns="0" bIns="0" numCol="1" anchor="ctr">
                <a:noAutofit/>
              </a:bodyPr>
              <a:lstStyle/>
              <a:p>
                <a:pPr>
                  <a:defRPr sz="3200"/>
                </a:pPr>
                <a:endParaRPr sz="3200">
                  <a:solidFill>
                    <a:prstClr val="black"/>
                  </a:solidFill>
                </a:endParaRPr>
              </a:p>
            </p:txBody>
          </p:sp>
        </p:grpSp>
      </p:grpSp>
    </p:spTree>
    <p:extLst>
      <p:ext uri="{BB962C8B-B14F-4D97-AF65-F5344CB8AC3E}">
        <p14:creationId xmlns:p14="http://schemas.microsoft.com/office/powerpoint/2010/main" val="59438898"/>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iterate>
                                    <p:tmAbs val="0"/>
                                  </p:iterate>
                                  <p:childTnLst>
                                    <p:set>
                                      <p:cBhvr>
                                        <p:cTn id="6" fill="hold"/>
                                        <p:tgtEl>
                                          <p:spTgt spid="10"/>
                                        </p:tgtEl>
                                        <p:attrNameLst>
                                          <p:attrName>style.visibility</p:attrName>
                                        </p:attrNameLst>
                                      </p:cBhvr>
                                      <p:to>
                                        <p:strVal val="visible"/>
                                      </p:to>
                                    </p:set>
                                    <p:anim calcmode="lin" valueType="num">
                                      <p:cBhvr>
                                        <p:cTn id="7" dur="1000" fill="hold"/>
                                        <p:tgtEl>
                                          <p:spTgt spid="10"/>
                                        </p:tgtEl>
                                        <p:attrNameLst>
                                          <p:attrName>ppt_x</p:attrName>
                                        </p:attrNameLst>
                                      </p:cBhvr>
                                      <p:tavLst>
                                        <p:tav tm="0">
                                          <p:val>
                                            <p:strVal val="#ppt_x"/>
                                          </p:val>
                                        </p:tav>
                                        <p:tav tm="100000">
                                          <p:val>
                                            <p:strVal val="#ppt_x"/>
                                          </p:val>
                                        </p:tav>
                                      </p:tavLst>
                                    </p:anim>
                                    <p:anim calcmode="lin" valueType="num">
                                      <p:cBhvr>
                                        <p:cTn id="8" dur="1000" fill="hold"/>
                                        <p:tgtEl>
                                          <p:spTgt spid="10"/>
                                        </p:tgtEl>
                                        <p:attrNameLst>
                                          <p:attrName>ppt_y</p:attrName>
                                        </p:attrNameLst>
                                      </p:cBhvr>
                                      <p:tavLst>
                                        <p:tav tm="0">
                                          <p:val>
                                            <p:strVal val="0-#ppt_h/2"/>
                                          </p:val>
                                        </p:tav>
                                        <p:tav tm="100000">
                                          <p:val>
                                            <p:strVal val="#ppt_y"/>
                                          </p:val>
                                        </p:tav>
                                      </p:tavLst>
                                    </p:anim>
                                  </p:childTnLst>
                                </p:cTn>
                              </p:par>
                            </p:childTnLst>
                          </p:cTn>
                        </p:par>
                        <p:par>
                          <p:cTn id="9" fill="hold">
                            <p:stCondLst>
                              <p:cond delay="1000"/>
                            </p:stCondLst>
                            <p:childTnLst>
                              <p:par>
                                <p:cTn id="10" presetID="2" presetClass="entr" presetSubtype="8" fill="hold" grpId="0" nodeType="after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additive="base">
                                        <p:cTn id="12" dur="500" fill="hold"/>
                                        <p:tgtEl>
                                          <p:spTgt spid="3"/>
                                        </p:tgtEl>
                                        <p:attrNameLst>
                                          <p:attrName>ppt_x</p:attrName>
                                        </p:attrNameLst>
                                      </p:cBhvr>
                                      <p:tavLst>
                                        <p:tav tm="0">
                                          <p:val>
                                            <p:strVal val="0-#ppt_w/2"/>
                                          </p:val>
                                        </p:tav>
                                        <p:tav tm="100000">
                                          <p:val>
                                            <p:strVal val="#ppt_x"/>
                                          </p:val>
                                        </p:tav>
                                      </p:tavLst>
                                    </p:anim>
                                    <p:anim calcmode="lin" valueType="num">
                                      <p:cBhvr additive="base">
                                        <p:cTn id="13" dur="500" fill="hold"/>
                                        <p:tgtEl>
                                          <p:spTgt spid="3"/>
                                        </p:tgtEl>
                                        <p:attrNameLst>
                                          <p:attrName>ppt_y</p:attrName>
                                        </p:attrNameLst>
                                      </p:cBhvr>
                                      <p:tavLst>
                                        <p:tav tm="0">
                                          <p:val>
                                            <p:strVal val="#ppt_y"/>
                                          </p:val>
                                        </p:tav>
                                        <p:tav tm="100000">
                                          <p:val>
                                            <p:strVal val="#ppt_y"/>
                                          </p:val>
                                        </p:tav>
                                      </p:tavLst>
                                    </p:anim>
                                  </p:childTnLst>
                                </p:cTn>
                              </p:par>
                            </p:childTnLst>
                          </p:cTn>
                        </p:par>
                        <p:par>
                          <p:cTn id="14" fill="hold">
                            <p:stCondLst>
                              <p:cond delay="1500"/>
                            </p:stCondLst>
                            <p:childTnLst>
                              <p:par>
                                <p:cTn id="15" presetID="2" presetClass="entr" presetSubtype="8" fill="hold" grpId="0" nodeType="afterEffect">
                                  <p:stCondLst>
                                    <p:cond delay="0"/>
                                  </p:stCondLst>
                                  <p:iterate>
                                    <p:tmAbs val="0"/>
                                  </p:iterate>
                                  <p:childTnLst>
                                    <p:set>
                                      <p:cBhvr>
                                        <p:cTn id="16" fill="hold"/>
                                        <p:tgtEl>
                                          <p:spTgt spid="8"/>
                                        </p:tgtEl>
                                        <p:attrNameLst>
                                          <p:attrName>style.visibility</p:attrName>
                                        </p:attrNameLst>
                                      </p:cBhvr>
                                      <p:to>
                                        <p:strVal val="visible"/>
                                      </p:to>
                                    </p:set>
                                    <p:anim calcmode="lin" valueType="num">
                                      <p:cBhvr>
                                        <p:cTn id="17" dur="350" fill="hold"/>
                                        <p:tgtEl>
                                          <p:spTgt spid="8"/>
                                        </p:tgtEl>
                                        <p:attrNameLst>
                                          <p:attrName>ppt_x</p:attrName>
                                        </p:attrNameLst>
                                      </p:cBhvr>
                                      <p:tavLst>
                                        <p:tav tm="0">
                                          <p:val>
                                            <p:strVal val="0-#ppt_w/2"/>
                                          </p:val>
                                        </p:tav>
                                        <p:tav tm="100000">
                                          <p:val>
                                            <p:strVal val="#ppt_x"/>
                                          </p:val>
                                        </p:tav>
                                      </p:tavLst>
                                    </p:anim>
                                    <p:anim calcmode="lin" valueType="num">
                                      <p:cBhvr>
                                        <p:cTn id="18" dur="350" fill="hold"/>
                                        <p:tgtEl>
                                          <p:spTgt spid="8"/>
                                        </p:tgtEl>
                                        <p:attrNameLst>
                                          <p:attrName>ppt_y</p:attrName>
                                        </p:attrNameLst>
                                      </p:cBhvr>
                                      <p:tavLst>
                                        <p:tav tm="0">
                                          <p:val>
                                            <p:strVal val="#ppt_y"/>
                                          </p:val>
                                        </p:tav>
                                        <p:tav tm="100000">
                                          <p:val>
                                            <p:strVal val="#ppt_y"/>
                                          </p:val>
                                        </p:tav>
                                      </p:tavLst>
                                    </p:anim>
                                  </p:childTnLst>
                                </p:cTn>
                              </p:par>
                            </p:childTnLst>
                          </p:cTn>
                        </p:par>
                        <p:par>
                          <p:cTn id="19" fill="hold">
                            <p:stCondLst>
                              <p:cond delay="1850"/>
                            </p:stCondLst>
                            <p:childTnLst>
                              <p:par>
                                <p:cTn id="20" presetID="2" presetClass="entr" presetSubtype="8" fill="hold" grpId="0" nodeType="afterEffect">
                                  <p:stCondLst>
                                    <p:cond delay="0"/>
                                  </p:stCondLst>
                                  <p:iterate>
                                    <p:tmAbs val="0"/>
                                  </p:iterate>
                                  <p:childTnLst>
                                    <p:set>
                                      <p:cBhvr>
                                        <p:cTn id="21" fill="hold"/>
                                        <p:tgtEl>
                                          <p:spTgt spid="7"/>
                                        </p:tgtEl>
                                        <p:attrNameLst>
                                          <p:attrName>style.visibility</p:attrName>
                                        </p:attrNameLst>
                                      </p:cBhvr>
                                      <p:to>
                                        <p:strVal val="visible"/>
                                      </p:to>
                                    </p:set>
                                    <p:anim calcmode="lin" valueType="num">
                                      <p:cBhvr>
                                        <p:cTn id="22" dur="350" fill="hold"/>
                                        <p:tgtEl>
                                          <p:spTgt spid="7"/>
                                        </p:tgtEl>
                                        <p:attrNameLst>
                                          <p:attrName>ppt_x</p:attrName>
                                        </p:attrNameLst>
                                      </p:cBhvr>
                                      <p:tavLst>
                                        <p:tav tm="0">
                                          <p:val>
                                            <p:strVal val="0-#ppt_w/2"/>
                                          </p:val>
                                        </p:tav>
                                        <p:tav tm="100000">
                                          <p:val>
                                            <p:strVal val="#ppt_x"/>
                                          </p:val>
                                        </p:tav>
                                      </p:tavLst>
                                    </p:anim>
                                    <p:anim calcmode="lin" valueType="num">
                                      <p:cBhvr>
                                        <p:cTn id="23" dur="350" fill="hold"/>
                                        <p:tgtEl>
                                          <p:spTgt spid="7"/>
                                        </p:tgtEl>
                                        <p:attrNameLst>
                                          <p:attrName>ppt_y</p:attrName>
                                        </p:attrNameLst>
                                      </p:cBhvr>
                                      <p:tavLst>
                                        <p:tav tm="0">
                                          <p:val>
                                            <p:strVal val="#ppt_y"/>
                                          </p:val>
                                        </p:tav>
                                        <p:tav tm="100000">
                                          <p:val>
                                            <p:strVal val="#ppt_y"/>
                                          </p:val>
                                        </p:tav>
                                      </p:tavLst>
                                    </p:anim>
                                  </p:childTnLst>
                                </p:cTn>
                              </p:par>
                            </p:childTnLst>
                          </p:cTn>
                        </p:par>
                        <p:par>
                          <p:cTn id="24" fill="hold">
                            <p:stCondLst>
                              <p:cond delay="2200"/>
                            </p:stCondLst>
                            <p:childTnLst>
                              <p:par>
                                <p:cTn id="25" presetID="2" presetClass="entr" presetSubtype="8" fill="hold" grpId="0" nodeType="afterEffect">
                                  <p:stCondLst>
                                    <p:cond delay="0"/>
                                  </p:stCondLst>
                                  <p:iterate>
                                    <p:tmAbs val="0"/>
                                  </p:iterate>
                                  <p:childTnLst>
                                    <p:set>
                                      <p:cBhvr>
                                        <p:cTn id="26" fill="hold"/>
                                        <p:tgtEl>
                                          <p:spTgt spid="6"/>
                                        </p:tgtEl>
                                        <p:attrNameLst>
                                          <p:attrName>style.visibility</p:attrName>
                                        </p:attrNameLst>
                                      </p:cBhvr>
                                      <p:to>
                                        <p:strVal val="visible"/>
                                      </p:to>
                                    </p:set>
                                    <p:anim calcmode="lin" valueType="num">
                                      <p:cBhvr>
                                        <p:cTn id="27" dur="350" fill="hold"/>
                                        <p:tgtEl>
                                          <p:spTgt spid="6"/>
                                        </p:tgtEl>
                                        <p:attrNameLst>
                                          <p:attrName>ppt_x</p:attrName>
                                        </p:attrNameLst>
                                      </p:cBhvr>
                                      <p:tavLst>
                                        <p:tav tm="0">
                                          <p:val>
                                            <p:strVal val="0-#ppt_w/2"/>
                                          </p:val>
                                        </p:tav>
                                        <p:tav tm="100000">
                                          <p:val>
                                            <p:strVal val="#ppt_x"/>
                                          </p:val>
                                        </p:tav>
                                      </p:tavLst>
                                    </p:anim>
                                    <p:anim calcmode="lin" valueType="num">
                                      <p:cBhvr>
                                        <p:cTn id="28" dur="350" fill="hold"/>
                                        <p:tgtEl>
                                          <p:spTgt spid="6"/>
                                        </p:tgtEl>
                                        <p:attrNameLst>
                                          <p:attrName>ppt_y</p:attrName>
                                        </p:attrNameLst>
                                      </p:cBhvr>
                                      <p:tavLst>
                                        <p:tav tm="0">
                                          <p:val>
                                            <p:strVal val="#ppt_y"/>
                                          </p:val>
                                        </p:tav>
                                        <p:tav tm="100000">
                                          <p:val>
                                            <p:strVal val="#ppt_y"/>
                                          </p:val>
                                        </p:tav>
                                      </p:tavLst>
                                    </p:anim>
                                  </p:childTnLst>
                                </p:cTn>
                              </p:par>
                            </p:childTnLst>
                          </p:cTn>
                        </p:par>
                        <p:par>
                          <p:cTn id="29" fill="hold">
                            <p:stCondLst>
                              <p:cond delay="2550"/>
                            </p:stCondLst>
                            <p:childTnLst>
                              <p:par>
                                <p:cTn id="30" presetID="2" presetClass="entr" presetSubtype="8" fill="hold" grpId="0" nodeType="afterEffect">
                                  <p:stCondLst>
                                    <p:cond delay="0"/>
                                  </p:stCondLst>
                                  <p:iterate>
                                    <p:tmAbs val="0"/>
                                  </p:iterate>
                                  <p:childTnLst>
                                    <p:set>
                                      <p:cBhvr>
                                        <p:cTn id="31" fill="hold"/>
                                        <p:tgtEl>
                                          <p:spTgt spid="5"/>
                                        </p:tgtEl>
                                        <p:attrNameLst>
                                          <p:attrName>style.visibility</p:attrName>
                                        </p:attrNameLst>
                                      </p:cBhvr>
                                      <p:to>
                                        <p:strVal val="visible"/>
                                      </p:to>
                                    </p:set>
                                    <p:anim calcmode="lin" valueType="num">
                                      <p:cBhvr>
                                        <p:cTn id="32" dur="350" fill="hold"/>
                                        <p:tgtEl>
                                          <p:spTgt spid="5"/>
                                        </p:tgtEl>
                                        <p:attrNameLst>
                                          <p:attrName>ppt_x</p:attrName>
                                        </p:attrNameLst>
                                      </p:cBhvr>
                                      <p:tavLst>
                                        <p:tav tm="0">
                                          <p:val>
                                            <p:strVal val="0-#ppt_w/2"/>
                                          </p:val>
                                        </p:tav>
                                        <p:tav tm="100000">
                                          <p:val>
                                            <p:strVal val="#ppt_x"/>
                                          </p:val>
                                        </p:tav>
                                      </p:tavLst>
                                    </p:anim>
                                    <p:anim calcmode="lin" valueType="num">
                                      <p:cBhvr>
                                        <p:cTn id="33" dur="350" fill="hold"/>
                                        <p:tgtEl>
                                          <p:spTgt spid="5"/>
                                        </p:tgtEl>
                                        <p:attrNameLst>
                                          <p:attrName>ppt_y</p:attrName>
                                        </p:attrNameLst>
                                      </p:cBhvr>
                                      <p:tavLst>
                                        <p:tav tm="0">
                                          <p:val>
                                            <p:strVal val="#ppt_y"/>
                                          </p:val>
                                        </p:tav>
                                        <p:tav tm="100000">
                                          <p:val>
                                            <p:strVal val="#ppt_y"/>
                                          </p:val>
                                        </p:tav>
                                      </p:tavLst>
                                    </p:anim>
                                  </p:childTnLst>
                                </p:cTn>
                              </p:par>
                            </p:childTnLst>
                          </p:cTn>
                        </p:par>
                        <p:par>
                          <p:cTn id="34" fill="hold">
                            <p:stCondLst>
                              <p:cond delay="2900"/>
                            </p:stCondLst>
                            <p:childTnLst>
                              <p:par>
                                <p:cTn id="35" presetID="2" presetClass="entr" presetSubtype="8" fill="hold" grpId="0" nodeType="afterEffect">
                                  <p:stCondLst>
                                    <p:cond delay="0"/>
                                  </p:stCondLst>
                                  <p:iterate>
                                    <p:tmAbs val="0"/>
                                  </p:iterate>
                                  <p:childTnLst>
                                    <p:set>
                                      <p:cBhvr>
                                        <p:cTn id="36" fill="hold"/>
                                        <p:tgtEl>
                                          <p:spTgt spid="4"/>
                                        </p:tgtEl>
                                        <p:attrNameLst>
                                          <p:attrName>style.visibility</p:attrName>
                                        </p:attrNameLst>
                                      </p:cBhvr>
                                      <p:to>
                                        <p:strVal val="visible"/>
                                      </p:to>
                                    </p:set>
                                    <p:anim calcmode="lin" valueType="num">
                                      <p:cBhvr>
                                        <p:cTn id="37" dur="350" fill="hold"/>
                                        <p:tgtEl>
                                          <p:spTgt spid="4"/>
                                        </p:tgtEl>
                                        <p:attrNameLst>
                                          <p:attrName>ppt_x</p:attrName>
                                        </p:attrNameLst>
                                      </p:cBhvr>
                                      <p:tavLst>
                                        <p:tav tm="0">
                                          <p:val>
                                            <p:strVal val="0-#ppt_w/2"/>
                                          </p:val>
                                        </p:tav>
                                        <p:tav tm="100000">
                                          <p:val>
                                            <p:strVal val="#ppt_x"/>
                                          </p:val>
                                        </p:tav>
                                      </p:tavLst>
                                    </p:anim>
                                    <p:anim calcmode="lin" valueType="num">
                                      <p:cBhvr>
                                        <p:cTn id="38" dur="3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advAuto="0"/>
      <p:bldP spid="5" grpId="0" animBg="1" advAuto="0"/>
      <p:bldP spid="6" grpId="0" animBg="1" advAuto="0"/>
      <p:bldP spid="7" grpId="0" animBg="1" advAuto="0"/>
      <p:bldP spid="8" grpId="0" animBg="1" advAuto="0"/>
      <p:bldP spid="10" grpId="0" animBg="1" advAuto="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5869"/>
          <p:cNvSpPr txBox="1">
            <a:spLocks/>
          </p:cNvSpPr>
          <p:nvPr/>
        </p:nvSpPr>
        <p:spPr>
          <a:xfrm>
            <a:off x="805080" y="283714"/>
            <a:ext cx="8352038" cy="945260"/>
          </a:xfrm>
          <a:prstGeom prst="rect">
            <a:avLst/>
          </a:prstGeom>
        </p:spPr>
        <p:txBody>
          <a:bodyPr vert="horz" lIns="91440" tIns="45720" rIns="91440" bIns="45720" rtlCol="0" anchor="ctr">
            <a:normAutofit fontScale="97500"/>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defRPr sz="1800" b="0">
                <a:solidFill>
                  <a:srgbClr val="000000"/>
                </a:solidFill>
              </a:defRPr>
            </a:pPr>
            <a:r>
              <a:rPr lang="en-US" sz="2800" dirty="0" smtClean="0">
                <a:latin typeface="+mn-lt"/>
                <a:cs typeface="Arial" panose="020B0604020202020204" pitchFamily="34" charset="0"/>
              </a:rPr>
              <a:t>HEAVY TOLL ON RAINFED MAIZE WITH CLIMATE CHANGE</a:t>
            </a:r>
            <a:endParaRPr lang="en-US" sz="2800" dirty="0">
              <a:latin typeface="+mn-lt"/>
              <a:cs typeface="Arial" panose="020B0604020202020204" pitchFamily="34" charset="0"/>
            </a:endParaRPr>
          </a:p>
        </p:txBody>
      </p:sp>
      <p:sp>
        <p:nvSpPr>
          <p:cNvPr id="95" name="Shape 5959"/>
          <p:cNvSpPr txBox="1">
            <a:spLocks/>
          </p:cNvSpPr>
          <p:nvPr/>
        </p:nvSpPr>
        <p:spPr>
          <a:xfrm>
            <a:off x="2116128" y="1556528"/>
            <a:ext cx="5400600" cy="389811"/>
          </a:xfrm>
          <a:prstGeom prst="rect">
            <a:avLst/>
          </a:prstGeom>
        </p:spPr>
        <p:txBody>
          <a:bodyPr vert="horz" lIns="91440" tIns="45720" rIns="91440" bIns="4572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defRPr sz="1800"/>
            </a:pPr>
            <a:r>
              <a:rPr lang="en-US" sz="1800" dirty="0"/>
              <a:t>Global yields projected </a:t>
            </a:r>
            <a:r>
              <a:rPr lang="en-US" sz="1800" b="1" dirty="0" smtClean="0"/>
              <a:t>30</a:t>
            </a:r>
            <a:r>
              <a:rPr lang="en-US" sz="1800" b="1" dirty="0"/>
              <a:t>% lower </a:t>
            </a:r>
            <a:r>
              <a:rPr lang="en-US" sz="1800" dirty="0"/>
              <a:t>in 2050 compared to no climate change</a:t>
            </a:r>
          </a:p>
        </p:txBody>
      </p:sp>
      <p:pic>
        <p:nvPicPr>
          <p:cNvPr id="99" name="Picture 9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0034" y="2204864"/>
            <a:ext cx="8316422" cy="4302237"/>
          </a:xfrm>
          <a:prstGeom prst="rect">
            <a:avLst/>
          </a:prstGeom>
        </p:spPr>
      </p:pic>
      <p:pic>
        <p:nvPicPr>
          <p:cNvPr id="100" name="Picture 9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1313" y="4869160"/>
            <a:ext cx="1457791" cy="1467776"/>
          </a:xfrm>
          <a:prstGeom prst="rect">
            <a:avLst/>
          </a:prstGeom>
        </p:spPr>
      </p:pic>
      <p:sp>
        <p:nvSpPr>
          <p:cNvPr id="101" name="Rectangle 100"/>
          <p:cNvSpPr/>
          <p:nvPr/>
        </p:nvSpPr>
        <p:spPr>
          <a:xfrm>
            <a:off x="7358875" y="6549039"/>
            <a:ext cx="1611339" cy="200055"/>
          </a:xfrm>
          <a:prstGeom prst="rect">
            <a:avLst/>
          </a:prstGeom>
        </p:spPr>
        <p:txBody>
          <a:bodyPr wrap="none">
            <a:spAutoFit/>
          </a:bodyPr>
          <a:lstStyle/>
          <a:p>
            <a:r>
              <a:rPr lang="en-US" sz="700" dirty="0">
                <a:solidFill>
                  <a:schemeClr val="accent1"/>
                </a:solidFill>
                <a:latin typeface="Arial" panose="020B0604020202020204" pitchFamily="34" charset="0"/>
                <a:cs typeface="Arial" panose="020B0604020202020204" pitchFamily="34" charset="0"/>
              </a:rPr>
              <a:t>Source: IFPRI IMPACT </a:t>
            </a:r>
            <a:r>
              <a:rPr lang="en-US" sz="700" dirty="0" smtClean="0">
                <a:solidFill>
                  <a:schemeClr val="accent1"/>
                </a:solidFill>
                <a:latin typeface="Arial" panose="020B0604020202020204" pitchFamily="34" charset="0"/>
                <a:cs typeface="Arial" panose="020B0604020202020204" pitchFamily="34" charset="0"/>
              </a:rPr>
              <a:t>simulations.</a:t>
            </a:r>
            <a:endParaRPr lang="en-US" sz="700" dirty="0">
              <a:solidFill>
                <a:schemeClr val="accent1"/>
              </a:solidFill>
              <a:latin typeface="Arial" panose="020B0604020202020204" pitchFamily="34" charset="0"/>
              <a:cs typeface="Arial" panose="020B0604020202020204" pitchFamily="34" charset="0"/>
            </a:endParaRPr>
          </a:p>
        </p:txBody>
      </p:sp>
      <p:sp>
        <p:nvSpPr>
          <p:cNvPr id="102" name="Rectangle 101"/>
          <p:cNvSpPr/>
          <p:nvPr/>
        </p:nvSpPr>
        <p:spPr>
          <a:xfrm>
            <a:off x="5839573" y="6417004"/>
            <a:ext cx="1667892" cy="348622"/>
          </a:xfrm>
          <a:prstGeom prst="rect">
            <a:avLst/>
          </a:prstGeom>
        </p:spPr>
        <p:txBody>
          <a:bodyPr wrap="none">
            <a:spAutoFit/>
          </a:bodyPr>
          <a:lstStyle/>
          <a:p>
            <a:pPr>
              <a:lnSpc>
                <a:spcPts val="2250"/>
              </a:lnSpc>
            </a:pPr>
            <a:r>
              <a:rPr lang="en-US" sz="1200" dirty="0">
                <a:solidFill>
                  <a:schemeClr val="accent1"/>
                </a:solidFill>
                <a:latin typeface="Arial" panose="020B0604020202020204" pitchFamily="34" charset="0"/>
                <a:cs typeface="Arial" panose="020B0604020202020204" pitchFamily="34" charset="0"/>
              </a:rPr>
              <a:t>(HadGEM2, RCP 8.5)</a:t>
            </a:r>
          </a:p>
        </p:txBody>
      </p:sp>
      <p:pic>
        <p:nvPicPr>
          <p:cNvPr id="103" name="Picture 10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3044" y="283714"/>
            <a:ext cx="525826" cy="830652"/>
          </a:xfrm>
          <a:prstGeom prst="rect">
            <a:avLst/>
          </a:prstGeom>
        </p:spPr>
      </p:pic>
    </p:spTree>
    <p:extLst>
      <p:ext uri="{BB962C8B-B14F-4D97-AF65-F5344CB8AC3E}">
        <p14:creationId xmlns:p14="http://schemas.microsoft.com/office/powerpoint/2010/main" val="8136839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p:cNvGraphicFramePr>
            <a:graphicFrameLocks/>
          </p:cNvGraphicFramePr>
          <p:nvPr>
            <p:extLst/>
          </p:nvPr>
        </p:nvGraphicFramePr>
        <p:xfrm>
          <a:off x="0" y="2757154"/>
          <a:ext cx="4346139" cy="4140609"/>
        </p:xfrm>
        <a:graphic>
          <a:graphicData uri="http://schemas.openxmlformats.org/drawingml/2006/chart">
            <c:chart xmlns:c="http://schemas.openxmlformats.org/drawingml/2006/chart" xmlns:r="http://schemas.openxmlformats.org/officeDocument/2006/relationships" r:id="rId3"/>
          </a:graphicData>
        </a:graphic>
      </p:graphicFrame>
      <p:sp>
        <p:nvSpPr>
          <p:cNvPr id="11" name="McK 5. Source"/>
          <p:cNvSpPr>
            <a:spLocks noChangeArrowheads="1"/>
          </p:cNvSpPr>
          <p:nvPr>
            <p:custDataLst>
              <p:tags r:id="rId1"/>
            </p:custDataLst>
          </p:nvPr>
        </p:nvSpPr>
        <p:spPr bwMode="auto">
          <a:xfrm>
            <a:off x="6564573" y="6674190"/>
            <a:ext cx="2422294" cy="107722"/>
          </a:xfrm>
          <a:prstGeom prst="rect">
            <a:avLst/>
          </a:prstGeom>
          <a:noFill/>
          <a:ln w="9525" algn="ctr">
            <a:noFill/>
            <a:miter lim="800000"/>
            <a:headEnd/>
            <a:tailEnd/>
          </a:ln>
        </p:spPr>
        <p:txBody>
          <a:bodyPr wrap="square" lIns="0" tIns="0" rIns="0" bIns="0" anchor="ctr">
            <a:spAutoFit/>
          </a:bodyPr>
          <a:lstStyle/>
          <a:p>
            <a:pPr marL="466481" indent="-466481" algn="r" defTabSz="685145" fontAlgn="base">
              <a:spcBef>
                <a:spcPct val="0"/>
              </a:spcBef>
              <a:spcAft>
                <a:spcPct val="0"/>
              </a:spcAft>
              <a:tabLst>
                <a:tab pos="468911" algn="l"/>
              </a:tabLst>
            </a:pPr>
            <a:r>
              <a:rPr lang="en-US" sz="700" dirty="0">
                <a:solidFill>
                  <a:schemeClr val="accent1"/>
                </a:solidFill>
                <a:cs typeface="Arial" panose="020B0604020202020204" pitchFamily="34" charset="0"/>
              </a:rPr>
              <a:t>Source: IFPRI </a:t>
            </a:r>
            <a:r>
              <a:rPr lang="en-US" sz="700" dirty="0" smtClean="0">
                <a:solidFill>
                  <a:schemeClr val="accent1"/>
                </a:solidFill>
                <a:cs typeface="Arial" panose="020B0604020202020204" pitchFamily="34" charset="0"/>
              </a:rPr>
              <a:t>IMPACT 3.2 Projections.</a:t>
            </a:r>
            <a:endParaRPr lang="en-US" sz="700" dirty="0">
              <a:solidFill>
                <a:schemeClr val="accent1"/>
              </a:solidFill>
              <a:cs typeface="Arial" panose="020B0604020202020204" pitchFamily="34" charset="0"/>
            </a:endParaRPr>
          </a:p>
        </p:txBody>
      </p:sp>
      <p:sp>
        <p:nvSpPr>
          <p:cNvPr id="12" name="Title 1"/>
          <p:cNvSpPr txBox="1">
            <a:spLocks/>
          </p:cNvSpPr>
          <p:nvPr/>
        </p:nvSpPr>
        <p:spPr>
          <a:xfrm>
            <a:off x="862036" y="235743"/>
            <a:ext cx="8124831" cy="1224801"/>
          </a:xfrm>
          <a:prstGeom prst="rect">
            <a:avLst/>
          </a:prstGeo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dirty="0" smtClean="0">
                <a:latin typeface="+mn-lt"/>
                <a:cs typeface="Arial" panose="020B0604020202020204" pitchFamily="34" charset="0"/>
              </a:rPr>
              <a:t>FOOD PRICES INCREASE WITHOUT CLIMATE CHANGE; EVEN HIGHER WITH CLIMATE CHANGE</a:t>
            </a:r>
            <a:endParaRPr lang="en-US" sz="2800" dirty="0">
              <a:latin typeface="+mn-lt"/>
              <a:cs typeface="Arial" panose="020B0604020202020204" pitchFamily="34" charset="0"/>
            </a:endParaRPr>
          </a:p>
        </p:txBody>
      </p:sp>
      <p:grpSp>
        <p:nvGrpSpPr>
          <p:cNvPr id="16" name="Group 15"/>
          <p:cNvGrpSpPr/>
          <p:nvPr/>
        </p:nvGrpSpPr>
        <p:grpSpPr>
          <a:xfrm>
            <a:off x="3347864" y="1674012"/>
            <a:ext cx="3869268" cy="654025"/>
            <a:chOff x="4038327" y="5287084"/>
            <a:chExt cx="2317759" cy="654025"/>
          </a:xfrm>
        </p:grpSpPr>
        <p:sp>
          <p:nvSpPr>
            <p:cNvPr id="3" name="TextBox 2"/>
            <p:cNvSpPr txBox="1"/>
            <p:nvPr/>
          </p:nvSpPr>
          <p:spPr>
            <a:xfrm>
              <a:off x="4276219" y="5287084"/>
              <a:ext cx="2079867" cy="654025"/>
            </a:xfrm>
            <a:prstGeom prst="rect">
              <a:avLst/>
            </a:prstGeom>
            <a:noFill/>
          </p:spPr>
          <p:txBody>
            <a:bodyPr wrap="square" rtlCol="0">
              <a:spAutoFit/>
            </a:bodyPr>
            <a:lstStyle/>
            <a:p>
              <a:pPr>
                <a:spcAft>
                  <a:spcPts val="300"/>
                </a:spcAft>
              </a:pPr>
              <a:r>
                <a:rPr lang="en-US" sz="1050" dirty="0" smtClean="0">
                  <a:solidFill>
                    <a:schemeClr val="accent1"/>
                  </a:solidFill>
                  <a:cs typeface="Arial" panose="020B0604020202020204" pitchFamily="34" charset="0"/>
                </a:rPr>
                <a:t>No climate change</a:t>
              </a:r>
            </a:p>
            <a:p>
              <a:pPr>
                <a:spcAft>
                  <a:spcPts val="300"/>
                </a:spcAft>
              </a:pPr>
              <a:r>
                <a:rPr lang="en-US" sz="1050" dirty="0" smtClean="0">
                  <a:solidFill>
                    <a:schemeClr val="accent1"/>
                  </a:solidFill>
                  <a:cs typeface="Arial" panose="020B0604020202020204" pitchFamily="34" charset="0"/>
                </a:rPr>
                <a:t>Average with climate change</a:t>
              </a:r>
            </a:p>
            <a:p>
              <a:pPr>
                <a:spcAft>
                  <a:spcPts val="300"/>
                </a:spcAft>
              </a:pPr>
              <a:r>
                <a:rPr lang="en-US" sz="1050" dirty="0" smtClean="0">
                  <a:solidFill>
                    <a:schemeClr val="accent1"/>
                  </a:solidFill>
                  <a:cs typeface="Arial" panose="020B0604020202020204" pitchFamily="34" charset="0"/>
                </a:rPr>
                <a:t>With climate change - range across models</a:t>
              </a:r>
              <a:endParaRPr lang="en-US" sz="1050" dirty="0">
                <a:solidFill>
                  <a:schemeClr val="accent1"/>
                </a:solidFill>
                <a:cs typeface="Arial" panose="020B0604020202020204" pitchFamily="34" charset="0"/>
              </a:endParaRPr>
            </a:p>
          </p:txBody>
        </p:sp>
        <p:cxnSp>
          <p:nvCxnSpPr>
            <p:cNvPr id="5" name="Straight Connector 4"/>
            <p:cNvCxnSpPr/>
            <p:nvPr/>
          </p:nvCxnSpPr>
          <p:spPr>
            <a:xfrm>
              <a:off x="4038327" y="5402422"/>
              <a:ext cx="237892"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042044" y="5609642"/>
              <a:ext cx="23789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4038327" y="5761054"/>
              <a:ext cx="237892" cy="906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3" name="Rectangle 22"/>
          <p:cNvSpPr/>
          <p:nvPr/>
        </p:nvSpPr>
        <p:spPr>
          <a:xfrm>
            <a:off x="696825" y="2435791"/>
            <a:ext cx="1581330" cy="387286"/>
          </a:xfrm>
          <a:prstGeom prst="rect">
            <a:avLst/>
          </a:prstGeom>
        </p:spPr>
        <p:txBody>
          <a:bodyPr wrap="none">
            <a:spAutoFit/>
          </a:bodyPr>
          <a:lstStyle/>
          <a:p>
            <a:pPr algn="ctr">
              <a:lnSpc>
                <a:spcPts val="2250"/>
              </a:lnSpc>
            </a:pPr>
            <a:r>
              <a:rPr lang="en-US" sz="1200" b="1" dirty="0" smtClean="0">
                <a:solidFill>
                  <a:schemeClr val="bg1"/>
                </a:solidFill>
                <a:cs typeface="Arial" panose="020B0604020202020204" pitchFamily="34" charset="0"/>
              </a:rPr>
              <a:t>(Indexed to 1 in 2010)</a:t>
            </a:r>
            <a:endParaRPr lang="en-US" sz="1200" b="1" dirty="0">
              <a:solidFill>
                <a:schemeClr val="bg1"/>
              </a:solidFill>
              <a:cs typeface="Arial" panose="020B0604020202020204" pitchFamily="34" charset="0"/>
            </a:endParaRPr>
          </a:p>
        </p:txBody>
      </p:sp>
      <p:graphicFrame>
        <p:nvGraphicFramePr>
          <p:cNvPr id="18" name="Chart 17"/>
          <p:cNvGraphicFramePr>
            <a:graphicFrameLocks/>
          </p:cNvGraphicFramePr>
          <p:nvPr>
            <p:extLst/>
          </p:nvPr>
        </p:nvGraphicFramePr>
        <p:xfrm>
          <a:off x="4409740" y="2787969"/>
          <a:ext cx="4326921" cy="4166920"/>
        </p:xfrm>
        <a:graphic>
          <a:graphicData uri="http://schemas.openxmlformats.org/drawingml/2006/chart">
            <c:chart xmlns:c="http://schemas.openxmlformats.org/drawingml/2006/chart" xmlns:r="http://schemas.openxmlformats.org/officeDocument/2006/relationships" r:id="rId4"/>
          </a:graphicData>
        </a:graphic>
      </p:graphicFrame>
      <p:sp>
        <p:nvSpPr>
          <p:cNvPr id="19" name="Rectangle 18"/>
          <p:cNvSpPr/>
          <p:nvPr/>
        </p:nvSpPr>
        <p:spPr>
          <a:xfrm>
            <a:off x="753603" y="3325778"/>
            <a:ext cx="2223244" cy="734565"/>
          </a:xfrm>
          <a:prstGeom prst="rect">
            <a:avLst/>
          </a:prstGeom>
        </p:spPr>
        <p:txBody>
          <a:bodyPr wrap="square">
            <a:spAutoFit/>
          </a:bodyPr>
          <a:lstStyle/>
          <a:p>
            <a:r>
              <a:rPr lang="en-US" sz="4100" b="1" dirty="0" smtClean="0">
                <a:solidFill>
                  <a:schemeClr val="accent4"/>
                </a:solidFill>
                <a:cs typeface="Arial" panose="020B0604020202020204" pitchFamily="34" charset="0"/>
              </a:rPr>
              <a:t>Cereals</a:t>
            </a:r>
            <a:endParaRPr lang="en-US" sz="4100" b="1" dirty="0">
              <a:solidFill>
                <a:schemeClr val="accent4"/>
              </a:solidFill>
              <a:cs typeface="Arial" panose="020B0604020202020204" pitchFamily="34" charset="0"/>
            </a:endParaRPr>
          </a:p>
        </p:txBody>
      </p:sp>
      <p:sp>
        <p:nvSpPr>
          <p:cNvPr id="20" name="Rectangle 19"/>
          <p:cNvSpPr/>
          <p:nvPr/>
        </p:nvSpPr>
        <p:spPr>
          <a:xfrm>
            <a:off x="5011204" y="3446750"/>
            <a:ext cx="3406474" cy="723275"/>
          </a:xfrm>
          <a:prstGeom prst="rect">
            <a:avLst/>
          </a:prstGeom>
        </p:spPr>
        <p:txBody>
          <a:bodyPr wrap="square">
            <a:spAutoFit/>
          </a:bodyPr>
          <a:lstStyle/>
          <a:p>
            <a:r>
              <a:rPr lang="en-US" sz="4100" b="1" dirty="0" smtClean="0">
                <a:solidFill>
                  <a:schemeClr val="accent3"/>
                </a:solidFill>
                <a:cs typeface="Arial" panose="020B0604020202020204" pitchFamily="34" charset="0"/>
              </a:rPr>
              <a:t>Roots/tubers</a:t>
            </a:r>
            <a:endParaRPr lang="en-US" sz="4100" b="1" dirty="0">
              <a:solidFill>
                <a:schemeClr val="accent3"/>
              </a:solidFill>
              <a:cs typeface="Arial" panose="020B0604020202020204" pitchFamily="34" charset="0"/>
            </a:endParaRPr>
          </a:p>
        </p:txBody>
      </p:sp>
      <p:grpSp>
        <p:nvGrpSpPr>
          <p:cNvPr id="17" name="Group 16"/>
          <p:cNvGrpSpPr/>
          <p:nvPr/>
        </p:nvGrpSpPr>
        <p:grpSpPr>
          <a:xfrm>
            <a:off x="0" y="2508581"/>
            <a:ext cx="1135514" cy="387286"/>
            <a:chOff x="4286037" y="2456219"/>
            <a:chExt cx="1135514" cy="387286"/>
          </a:xfrm>
        </p:grpSpPr>
        <p:sp>
          <p:nvSpPr>
            <p:cNvPr id="21" name="Rectangle 20"/>
            <p:cNvSpPr/>
            <p:nvPr/>
          </p:nvSpPr>
          <p:spPr>
            <a:xfrm>
              <a:off x="4286037" y="2515244"/>
              <a:ext cx="1135514" cy="2692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a:xfrm>
              <a:off x="4491356" y="2456219"/>
              <a:ext cx="724877" cy="387286"/>
            </a:xfrm>
            <a:prstGeom prst="rect">
              <a:avLst/>
            </a:prstGeom>
          </p:spPr>
          <p:txBody>
            <a:bodyPr wrap="none">
              <a:spAutoFit/>
            </a:bodyPr>
            <a:lstStyle/>
            <a:p>
              <a:pPr algn="ctr">
                <a:lnSpc>
                  <a:spcPts val="2250"/>
                </a:lnSpc>
              </a:pPr>
              <a:r>
                <a:rPr lang="en-US" sz="1200" b="1" dirty="0" smtClean="0">
                  <a:solidFill>
                    <a:schemeClr val="bg1"/>
                  </a:solidFill>
                  <a:cs typeface="Arial" panose="020B0604020202020204" pitchFamily="34" charset="0"/>
                </a:rPr>
                <a:t>2010 = 1</a:t>
              </a:r>
              <a:endParaRPr lang="en-US" sz="1200" b="1" dirty="0">
                <a:solidFill>
                  <a:schemeClr val="bg1"/>
                </a:solidFill>
                <a:cs typeface="Arial" panose="020B0604020202020204" pitchFamily="34" charset="0"/>
              </a:endParaRPr>
            </a:p>
          </p:txBody>
        </p:sp>
      </p:grpSp>
      <p:grpSp>
        <p:nvGrpSpPr>
          <p:cNvPr id="27" name="Group 26"/>
          <p:cNvGrpSpPr/>
          <p:nvPr/>
        </p:nvGrpSpPr>
        <p:grpSpPr>
          <a:xfrm>
            <a:off x="4443447" y="2504937"/>
            <a:ext cx="1135514" cy="387286"/>
            <a:chOff x="4286037" y="2456219"/>
            <a:chExt cx="1135514" cy="387286"/>
          </a:xfrm>
        </p:grpSpPr>
        <p:sp>
          <p:nvSpPr>
            <p:cNvPr id="28" name="Rectangle 27"/>
            <p:cNvSpPr/>
            <p:nvPr/>
          </p:nvSpPr>
          <p:spPr>
            <a:xfrm>
              <a:off x="4286037" y="2515244"/>
              <a:ext cx="1135514" cy="2692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4491356" y="2456219"/>
              <a:ext cx="724877" cy="387286"/>
            </a:xfrm>
            <a:prstGeom prst="rect">
              <a:avLst/>
            </a:prstGeom>
          </p:spPr>
          <p:txBody>
            <a:bodyPr wrap="none">
              <a:spAutoFit/>
            </a:bodyPr>
            <a:lstStyle/>
            <a:p>
              <a:pPr algn="ctr">
                <a:lnSpc>
                  <a:spcPts val="2250"/>
                </a:lnSpc>
              </a:pPr>
              <a:r>
                <a:rPr lang="en-US" sz="1200" b="1" dirty="0" smtClean="0">
                  <a:solidFill>
                    <a:schemeClr val="bg1"/>
                  </a:solidFill>
                  <a:cs typeface="Arial" panose="020B0604020202020204" pitchFamily="34" charset="0"/>
                </a:rPr>
                <a:t>2010 = 1</a:t>
              </a:r>
              <a:endParaRPr lang="en-US" sz="1200" b="1" dirty="0">
                <a:solidFill>
                  <a:schemeClr val="bg1"/>
                </a:solidFill>
                <a:cs typeface="Arial" panose="020B0604020202020204" pitchFamily="34" charset="0"/>
              </a:endParaRPr>
            </a:p>
          </p:txBody>
        </p:sp>
      </p:grpSp>
      <p:pic>
        <p:nvPicPr>
          <p:cNvPr id="22" name="Picture 2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3044" y="283714"/>
            <a:ext cx="525826" cy="830652"/>
          </a:xfrm>
          <a:prstGeom prst="rect">
            <a:avLst/>
          </a:prstGeom>
        </p:spPr>
      </p:pic>
    </p:spTree>
    <p:extLst>
      <p:ext uri="{BB962C8B-B14F-4D97-AF65-F5344CB8AC3E}">
        <p14:creationId xmlns:p14="http://schemas.microsoft.com/office/powerpoint/2010/main" val="175316341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9724" y="6657945"/>
            <a:ext cx="6808790" cy="200055"/>
          </a:xfrm>
          <a:prstGeom prst="rect">
            <a:avLst/>
          </a:prstGeom>
        </p:spPr>
        <p:txBody>
          <a:bodyPr wrap="square">
            <a:spAutoFit/>
          </a:bodyPr>
          <a:lstStyle/>
          <a:p>
            <a:r>
              <a:rPr lang="en-US" sz="700" dirty="0">
                <a:solidFill>
                  <a:srgbClr val="435464"/>
                </a:solidFill>
                <a:latin typeface="Arial" panose="020B0604020202020204" pitchFamily="34" charset="0"/>
                <a:cs typeface="Arial" panose="020B0604020202020204" pitchFamily="34" charset="0"/>
              </a:rPr>
              <a:t>Sources: 1969-71 to 1999-2001 from </a:t>
            </a:r>
            <a:r>
              <a:rPr lang="en-US" sz="700" dirty="0" err="1">
                <a:solidFill>
                  <a:srgbClr val="435464"/>
                </a:solidFill>
                <a:latin typeface="Arial" panose="020B0604020202020204" pitchFamily="34" charset="0"/>
                <a:cs typeface="Arial" panose="020B0604020202020204" pitchFamily="34" charset="0"/>
              </a:rPr>
              <a:t>Alexandratos</a:t>
            </a:r>
            <a:r>
              <a:rPr lang="en-US" sz="700" dirty="0">
                <a:solidFill>
                  <a:srgbClr val="435464"/>
                </a:solidFill>
                <a:latin typeface="Arial" panose="020B0604020202020204" pitchFamily="34" charset="0"/>
                <a:cs typeface="Arial" panose="020B0604020202020204" pitchFamily="34" charset="0"/>
              </a:rPr>
              <a:t> 2006; </a:t>
            </a:r>
            <a:r>
              <a:rPr lang="en-US" sz="700" dirty="0" smtClean="0">
                <a:solidFill>
                  <a:srgbClr val="435464"/>
                </a:solidFill>
                <a:latin typeface="Arial" panose="020B0604020202020204" pitchFamily="34" charset="0"/>
                <a:cs typeface="Arial" panose="020B0604020202020204" pitchFamily="34" charset="0"/>
              </a:rPr>
              <a:t>2010-2050 </a:t>
            </a:r>
            <a:r>
              <a:rPr lang="en-US" sz="700" dirty="0">
                <a:solidFill>
                  <a:srgbClr val="435464"/>
                </a:solidFill>
                <a:latin typeface="Arial" panose="020B0604020202020204" pitchFamily="34" charset="0"/>
                <a:cs typeface="Arial" panose="020B0604020202020204" pitchFamily="34" charset="0"/>
              </a:rPr>
              <a:t>from IFPRI's </a:t>
            </a:r>
            <a:r>
              <a:rPr lang="en-US" sz="700" dirty="0" smtClean="0">
                <a:solidFill>
                  <a:srgbClr val="435464"/>
                </a:solidFill>
                <a:latin typeface="Arial" panose="020B0604020202020204" pitchFamily="34" charset="0"/>
                <a:cs typeface="Arial" panose="020B0604020202020204" pitchFamily="34" charset="0"/>
              </a:rPr>
              <a:t>IMPACT 3.2 Projections. </a:t>
            </a:r>
            <a:endParaRPr lang="en-US" sz="700" dirty="0">
              <a:solidFill>
                <a:srgbClr val="435464"/>
              </a:solidFill>
              <a:latin typeface="Arial" panose="020B0604020202020204" pitchFamily="34" charset="0"/>
              <a:cs typeface="Arial" panose="020B0604020202020204" pitchFamily="34" charset="0"/>
            </a:endParaRPr>
          </a:p>
        </p:txBody>
      </p:sp>
      <p:sp>
        <p:nvSpPr>
          <p:cNvPr id="7" name="Title 1"/>
          <p:cNvSpPr txBox="1">
            <a:spLocks/>
          </p:cNvSpPr>
          <p:nvPr/>
        </p:nvSpPr>
        <p:spPr>
          <a:xfrm>
            <a:off x="27440" y="215152"/>
            <a:ext cx="9267478" cy="1164773"/>
          </a:xfrm>
          <a:prstGeom prst="rect">
            <a:avLst/>
          </a:prstGeom>
        </p:spPr>
        <p:txBody>
          <a:bodyPr vert="horz" lIns="91440" tIns="45720" rIns="91440" bIns="45720" rtlCol="0" anchor="t">
            <a:noAutofit/>
          </a:bodyPr>
          <a:lstStyle>
            <a:lvl1pPr algn="l" defTabSz="914400" rtl="0" eaLnBrk="1" latinLnBrk="0" hangingPunct="1">
              <a:spcBef>
                <a:spcPct val="0"/>
              </a:spcBef>
              <a:buNone/>
              <a:defRPr sz="4000" kern="1200">
                <a:solidFill>
                  <a:srgbClr val="88A53D"/>
                </a:solidFill>
                <a:latin typeface="Arial" pitchFamily="34" charset="0"/>
                <a:ea typeface="+mj-ea"/>
                <a:cs typeface="Arial" pitchFamily="34" charset="0"/>
              </a:defRPr>
            </a:lvl1pPr>
          </a:lstStyle>
          <a:p>
            <a:r>
              <a:rPr lang="en-US" sz="3600" b="1" dirty="0" smtClean="0">
                <a:solidFill>
                  <a:srgbClr val="435464"/>
                </a:solidFill>
              </a:rPr>
              <a:t>Per capita food consumption grows.</a:t>
            </a:r>
          </a:p>
          <a:p>
            <a:r>
              <a:rPr lang="en-US" sz="3600" b="1" dirty="0" smtClean="0">
                <a:solidFill>
                  <a:srgbClr val="435464"/>
                </a:solidFill>
              </a:rPr>
              <a:t>Africa and South Asia catching up. </a:t>
            </a:r>
            <a:endParaRPr lang="en-US" sz="3600" dirty="0">
              <a:solidFill>
                <a:srgbClr val="435464"/>
              </a:solidFill>
            </a:endParaRPr>
          </a:p>
        </p:txBody>
      </p:sp>
      <p:graphicFrame>
        <p:nvGraphicFramePr>
          <p:cNvPr id="6" name="Chart 5"/>
          <p:cNvGraphicFramePr>
            <a:graphicFrameLocks/>
          </p:cNvGraphicFramePr>
          <p:nvPr>
            <p:extLst/>
          </p:nvPr>
        </p:nvGraphicFramePr>
        <p:xfrm>
          <a:off x="199346" y="1292251"/>
          <a:ext cx="8944654" cy="5365694"/>
        </p:xfrm>
        <a:graphic>
          <a:graphicData uri="http://schemas.openxmlformats.org/drawingml/2006/chart">
            <c:chart xmlns:c="http://schemas.openxmlformats.org/drawingml/2006/chart" xmlns:r="http://schemas.openxmlformats.org/officeDocument/2006/relationships" r:id="rId2"/>
          </a:graphicData>
        </a:graphic>
      </p:graphicFrame>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8424" y="382212"/>
            <a:ext cx="525826" cy="830652"/>
          </a:xfrm>
          <a:prstGeom prst="rect">
            <a:avLst/>
          </a:prstGeom>
        </p:spPr>
      </p:pic>
    </p:spTree>
    <p:extLst>
      <p:ext uri="{BB962C8B-B14F-4D97-AF65-F5344CB8AC3E}">
        <p14:creationId xmlns:p14="http://schemas.microsoft.com/office/powerpoint/2010/main" val="242827134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a:graphicFrameLocks/>
          </p:cNvGraphicFramePr>
          <p:nvPr>
            <p:extLst/>
          </p:nvPr>
        </p:nvGraphicFramePr>
        <p:xfrm>
          <a:off x="0" y="1229446"/>
          <a:ext cx="9144000" cy="5320037"/>
        </p:xfrm>
        <a:graphic>
          <a:graphicData uri="http://schemas.openxmlformats.org/drawingml/2006/chart">
            <c:chart xmlns:c="http://schemas.openxmlformats.org/drawingml/2006/chart" xmlns:r="http://schemas.openxmlformats.org/officeDocument/2006/relationships" r:id="rId3"/>
          </a:graphicData>
        </a:graphic>
      </p:graphicFrame>
      <p:sp>
        <p:nvSpPr>
          <p:cNvPr id="6" name="McK 5. Source"/>
          <p:cNvSpPr>
            <a:spLocks noChangeArrowheads="1"/>
          </p:cNvSpPr>
          <p:nvPr>
            <p:custDataLst>
              <p:tags r:id="rId1"/>
            </p:custDataLst>
          </p:nvPr>
        </p:nvSpPr>
        <p:spPr bwMode="auto">
          <a:xfrm>
            <a:off x="4642341" y="6614006"/>
            <a:ext cx="4244687" cy="107722"/>
          </a:xfrm>
          <a:prstGeom prst="rect">
            <a:avLst/>
          </a:prstGeom>
          <a:noFill/>
          <a:ln w="9525" algn="ctr">
            <a:noFill/>
            <a:miter lim="800000"/>
            <a:headEnd/>
            <a:tailEnd/>
          </a:ln>
        </p:spPr>
        <p:txBody>
          <a:bodyPr wrap="square" lIns="0" tIns="0" rIns="0" bIns="0" anchor="ctr">
            <a:spAutoFit/>
          </a:bodyPr>
          <a:lstStyle/>
          <a:p>
            <a:pPr marL="466481" indent="-466481" algn="r" defTabSz="685145" fontAlgn="base">
              <a:spcBef>
                <a:spcPct val="0"/>
              </a:spcBef>
              <a:spcAft>
                <a:spcPct val="0"/>
              </a:spcAft>
              <a:tabLst>
                <a:tab pos="468911" algn="l"/>
              </a:tabLst>
            </a:pPr>
            <a:r>
              <a:rPr lang="en-US" sz="700" dirty="0">
                <a:solidFill>
                  <a:srgbClr val="435464"/>
                </a:solidFill>
                <a:latin typeface="Arial" panose="020B0604020202020204" pitchFamily="34" charset="0"/>
                <a:cs typeface="Arial" panose="020B0604020202020204" pitchFamily="34" charset="0"/>
              </a:rPr>
              <a:t>Source: IFPRI IMPACT </a:t>
            </a:r>
            <a:r>
              <a:rPr lang="en-US" sz="700" dirty="0" smtClean="0">
                <a:solidFill>
                  <a:srgbClr val="435464"/>
                </a:solidFill>
                <a:latin typeface="Arial" panose="020B0604020202020204" pitchFamily="34" charset="0"/>
                <a:cs typeface="Arial" panose="020B0604020202020204" pitchFamily="34" charset="0"/>
              </a:rPr>
              <a:t>3.2 Projections.</a:t>
            </a:r>
            <a:endParaRPr lang="en-US" sz="700" dirty="0">
              <a:solidFill>
                <a:srgbClr val="435464"/>
              </a:solidFill>
              <a:latin typeface="Arial" panose="020B0604020202020204" pitchFamily="34" charset="0"/>
              <a:cs typeface="Arial" panose="020B0604020202020204" pitchFamily="34" charset="0"/>
            </a:endParaRPr>
          </a:p>
        </p:txBody>
      </p:sp>
      <p:sp>
        <p:nvSpPr>
          <p:cNvPr id="7" name="Title 1"/>
          <p:cNvSpPr>
            <a:spLocks noGrp="1"/>
          </p:cNvSpPr>
          <p:nvPr>
            <p:ph type="title"/>
          </p:nvPr>
        </p:nvSpPr>
        <p:spPr>
          <a:xfrm>
            <a:off x="23296" y="86116"/>
            <a:ext cx="8077096" cy="1143330"/>
          </a:xfrm>
        </p:spPr>
        <p:txBody>
          <a:bodyPr>
            <a:noAutofit/>
          </a:bodyPr>
          <a:lstStyle/>
          <a:p>
            <a:r>
              <a:rPr lang="en-US" sz="2800" b="1" dirty="0" smtClean="0">
                <a:solidFill>
                  <a:schemeClr val="accent1"/>
                </a:solidFill>
              </a:rPr>
              <a:t>Improved progress on hunger, but too slow.</a:t>
            </a:r>
            <a:br>
              <a:rPr lang="en-US" sz="2800" b="1" dirty="0" smtClean="0">
                <a:solidFill>
                  <a:schemeClr val="accent1"/>
                </a:solidFill>
              </a:rPr>
            </a:br>
            <a:r>
              <a:rPr lang="en-US" sz="2800" b="1" dirty="0" smtClean="0">
                <a:solidFill>
                  <a:srgbClr val="C00000"/>
                </a:solidFill>
              </a:rPr>
              <a:t>Climate change increases hunger.</a:t>
            </a:r>
            <a:endParaRPr lang="en-US" sz="2800" dirty="0">
              <a:solidFill>
                <a:srgbClr val="C00000"/>
              </a:solidFill>
            </a:endParaRPr>
          </a:p>
        </p:txBody>
      </p:sp>
      <p:sp>
        <p:nvSpPr>
          <p:cNvPr id="8" name="TextBox 7"/>
          <p:cNvSpPr txBox="1"/>
          <p:nvPr/>
        </p:nvSpPr>
        <p:spPr>
          <a:xfrm>
            <a:off x="306799" y="1435492"/>
            <a:ext cx="3186495" cy="861774"/>
          </a:xfrm>
          <a:prstGeom prst="rect">
            <a:avLst/>
          </a:prstGeom>
          <a:noFill/>
        </p:spPr>
        <p:txBody>
          <a:bodyPr wrap="square" rtlCol="0">
            <a:spAutoFit/>
          </a:bodyPr>
          <a:lstStyle/>
          <a:p>
            <a:r>
              <a:rPr lang="en-US" b="1" dirty="0" smtClean="0">
                <a:solidFill>
                  <a:srgbClr val="435464"/>
                </a:solidFill>
                <a:latin typeface="Arial" panose="020B0604020202020204" pitchFamily="34" charset="0"/>
                <a:cs typeface="Arial" panose="020B0604020202020204" pitchFamily="34" charset="0"/>
              </a:rPr>
              <a:t>Undernourished people </a:t>
            </a:r>
            <a:r>
              <a:rPr lang="en-US" sz="1200" b="1" i="1" dirty="0" smtClean="0">
                <a:solidFill>
                  <a:srgbClr val="435464"/>
                </a:solidFill>
                <a:latin typeface="Arial" panose="020B0604020202020204" pitchFamily="34" charset="0"/>
                <a:cs typeface="Arial" panose="020B0604020202020204" pitchFamily="34" charset="0"/>
              </a:rPr>
              <a:t>(</a:t>
            </a:r>
            <a:r>
              <a:rPr lang="en-US" sz="1200" b="1" i="1" dirty="0">
                <a:solidFill>
                  <a:srgbClr val="435464"/>
                </a:solidFill>
                <a:latin typeface="Arial" panose="020B0604020202020204" pitchFamily="34" charset="0"/>
                <a:cs typeface="Arial" panose="020B0604020202020204" pitchFamily="34" charset="0"/>
              </a:rPr>
              <a:t>millions)</a:t>
            </a:r>
          </a:p>
          <a:p>
            <a:endParaRPr lang="en-US" b="1" dirty="0" smtClean="0">
              <a:solidFill>
                <a:srgbClr val="435464"/>
              </a:solidFill>
              <a:latin typeface="Arial" panose="020B0604020202020204" pitchFamily="34" charset="0"/>
              <a:cs typeface="Arial" panose="020B0604020202020204" pitchFamily="34" charset="0"/>
            </a:endParaRPr>
          </a:p>
        </p:txBody>
      </p:sp>
      <p:sp>
        <p:nvSpPr>
          <p:cNvPr id="2" name="TextBox 1"/>
          <p:cNvSpPr txBox="1"/>
          <p:nvPr/>
        </p:nvSpPr>
        <p:spPr>
          <a:xfrm>
            <a:off x="1263806" y="6247220"/>
            <a:ext cx="1583473" cy="246221"/>
          </a:xfrm>
          <a:prstGeom prst="rect">
            <a:avLst/>
          </a:prstGeom>
          <a:noFill/>
        </p:spPr>
        <p:txBody>
          <a:bodyPr wrap="square" rtlCol="0">
            <a:spAutoFit/>
          </a:bodyPr>
          <a:lstStyle/>
          <a:p>
            <a:r>
              <a:rPr lang="en-US" sz="1000" b="1" dirty="0" smtClean="0">
                <a:solidFill>
                  <a:srgbClr val="435464"/>
                </a:solidFill>
                <a:latin typeface="Arial" panose="020B0604020202020204" pitchFamily="34" charset="0"/>
                <a:cs typeface="Arial" panose="020B0604020202020204" pitchFamily="34" charset="0"/>
              </a:rPr>
              <a:t>Developing countries</a:t>
            </a:r>
            <a:endParaRPr lang="en-US" sz="1000" b="1" dirty="0">
              <a:solidFill>
                <a:srgbClr val="435464"/>
              </a:solidFill>
              <a:latin typeface="Arial" panose="020B0604020202020204" pitchFamily="34" charset="0"/>
              <a:cs typeface="Arial" panose="020B0604020202020204" pitchFamily="34" charset="0"/>
            </a:endParaRPr>
          </a:p>
        </p:txBody>
      </p:sp>
      <p:sp>
        <p:nvSpPr>
          <p:cNvPr id="9" name="TextBox 8"/>
          <p:cNvSpPr txBox="1"/>
          <p:nvPr/>
        </p:nvSpPr>
        <p:spPr>
          <a:xfrm>
            <a:off x="4248613" y="6247220"/>
            <a:ext cx="873513" cy="246221"/>
          </a:xfrm>
          <a:prstGeom prst="rect">
            <a:avLst/>
          </a:prstGeom>
          <a:noFill/>
        </p:spPr>
        <p:txBody>
          <a:bodyPr wrap="square" rtlCol="0">
            <a:spAutoFit/>
          </a:bodyPr>
          <a:lstStyle/>
          <a:p>
            <a:r>
              <a:rPr lang="en-US" sz="1000" b="1" dirty="0" smtClean="0">
                <a:solidFill>
                  <a:srgbClr val="435464"/>
                </a:solidFill>
                <a:latin typeface="Arial" panose="020B0604020202020204" pitchFamily="34" charset="0"/>
                <a:cs typeface="Arial" panose="020B0604020202020204" pitchFamily="34" charset="0"/>
              </a:rPr>
              <a:t>South Asia</a:t>
            </a:r>
            <a:endParaRPr lang="en-US" sz="1000" b="1" dirty="0">
              <a:solidFill>
                <a:srgbClr val="435464"/>
              </a:solidFill>
              <a:latin typeface="Arial" panose="020B0604020202020204" pitchFamily="34" charset="0"/>
              <a:cs typeface="Arial" panose="020B0604020202020204" pitchFamily="34" charset="0"/>
            </a:endParaRPr>
          </a:p>
        </p:txBody>
      </p:sp>
      <p:sp>
        <p:nvSpPr>
          <p:cNvPr id="10" name="TextBox 9"/>
          <p:cNvSpPr txBox="1"/>
          <p:nvPr/>
        </p:nvSpPr>
        <p:spPr>
          <a:xfrm>
            <a:off x="6471424" y="6247220"/>
            <a:ext cx="1984917" cy="246221"/>
          </a:xfrm>
          <a:prstGeom prst="rect">
            <a:avLst/>
          </a:prstGeom>
          <a:noFill/>
        </p:spPr>
        <p:txBody>
          <a:bodyPr wrap="square" rtlCol="0">
            <a:spAutoFit/>
          </a:bodyPr>
          <a:lstStyle/>
          <a:p>
            <a:r>
              <a:rPr lang="en-US" sz="1000" b="1" dirty="0" smtClean="0">
                <a:solidFill>
                  <a:srgbClr val="435464"/>
                </a:solidFill>
                <a:latin typeface="Arial" panose="020B0604020202020204" pitchFamily="34" charset="0"/>
                <a:cs typeface="Arial" panose="020B0604020202020204" pitchFamily="34" charset="0"/>
              </a:rPr>
              <a:t>Africa south of the Sahara</a:t>
            </a:r>
            <a:endParaRPr lang="en-US" sz="1000" b="1" dirty="0">
              <a:solidFill>
                <a:srgbClr val="435464"/>
              </a:solidFill>
              <a:latin typeface="Arial" panose="020B0604020202020204" pitchFamily="34" charset="0"/>
              <a:cs typeface="Arial" panose="020B0604020202020204" pitchFamily="34" charset="0"/>
            </a:endParaRPr>
          </a:p>
        </p:txBody>
      </p:sp>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61202" y="242455"/>
            <a:ext cx="525826" cy="830652"/>
          </a:xfrm>
          <a:prstGeom prst="rect">
            <a:avLst/>
          </a:prstGeom>
        </p:spPr>
      </p:pic>
    </p:spTree>
    <p:extLst>
      <p:ext uri="{BB962C8B-B14F-4D97-AF65-F5344CB8AC3E}">
        <p14:creationId xmlns:p14="http://schemas.microsoft.com/office/powerpoint/2010/main" val="112916043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RESIZE" val="Yes"/>
  <p:tag name="THINKCELLSHAPEDONOTDELETE" val="px_zyYA.fvkOy__wTeUjN5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U5twLJBBkeoHyD6Gaev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a3bHEXB70emVfP0A6JhP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NLivwXSjkeVO_7yjV0IK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stkVpGO1TUepWhstWgFsL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VRzBFDMWkqEevZ6vc4nyw"/>
  <p:tag name="RESIZE" val="Yes"/>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7c.soXa2Nkqm6mVjZWcNm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5nAyalghEOdht5v8t6_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3U5twLJBBkeoHyD6Gaevs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VRzBFDMWkqEevZ6vc4nyw"/>
  <p:tag name="RESIZE" val="Yes"/>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VRzBFDMWkqEevZ6vc4nyw"/>
  <p:tag name="RESIZE" val="Yes"/>
</p:tagLst>
</file>

<file path=ppt/tags/tag2.xml><?xml version="1.0" encoding="utf-8"?>
<p:tagLst xmlns:a="http://schemas.openxmlformats.org/drawingml/2006/main" xmlns:r="http://schemas.openxmlformats.org/officeDocument/2006/relationships" xmlns:p="http://schemas.openxmlformats.org/presentationml/2006/main">
  <p:tag name="RESIZE" val="Yes"/>
  <p:tag name="THINKCELLSHAPEDONOTDELETE" val="px_zyYA.fvkOy__wTeUjN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tkVpGO1TUepWhstWgFsL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5nAyalghEOdht5v8t6_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a3bHEXB70emVfP0A6Jh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NLivwXSjkeVO_7yjV0IK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c.soXa2Nkqm6mVjZWcNm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NLivwXSjkeVO_7yjV0IK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NLivwXSjkeVO_7yjV0IK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Presentation1">
  <a:themeElements>
    <a:clrScheme name="IFPRI_Presentation_01">
      <a:dk1>
        <a:sysClr val="windowText" lastClr="000000"/>
      </a:dk1>
      <a:lt1>
        <a:sysClr val="window" lastClr="FFFFFF"/>
      </a:lt1>
      <a:dk2>
        <a:srgbClr val="89A527"/>
      </a:dk2>
      <a:lt2>
        <a:srgbClr val="CBDF7D"/>
      </a:lt2>
      <a:accent1>
        <a:srgbClr val="435464"/>
      </a:accent1>
      <a:accent2>
        <a:srgbClr val="F6B221"/>
      </a:accent2>
      <a:accent3>
        <a:srgbClr val="5A344D"/>
      </a:accent3>
      <a:accent4>
        <a:srgbClr val="BF631A"/>
      </a:accent4>
      <a:accent5>
        <a:srgbClr val="58C5C7"/>
      </a:accent5>
      <a:accent6>
        <a:srgbClr val="03DCF3"/>
      </a:accent6>
      <a:hlink>
        <a:srgbClr val="0000FF"/>
      </a:hlink>
      <a:folHlink>
        <a:srgbClr val="800080"/>
      </a:folHlink>
    </a:clrScheme>
    <a:fontScheme name="IFPRI_WorkingPaper_01">
      <a:majorFont>
        <a:latin typeface="Trebuchet MS"/>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emp_IFPRI40_02.pptx" id="{E27D911A-8A24-4BC1-A7BF-9BCB7343E4FC}" vid="{8D5C671C-2A27-4CB5-96F5-96825A4FF209}"/>
    </a:ext>
  </a:extLst>
</a:theme>
</file>

<file path=ppt/theme/theme6.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CAADP Design">
  <a:themeElements>
    <a:clrScheme name="CAADP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CAADP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AADP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AADP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AADP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AADP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AADP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AADP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AADP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AADP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AADP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AADP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AADP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AADP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4_Office Theme">
  <a:themeElements>
    <a:clrScheme name="Green Blue Teal">
      <a:dk1>
        <a:sysClr val="windowText" lastClr="000000"/>
      </a:dk1>
      <a:lt1>
        <a:sysClr val="window" lastClr="FFFFFF"/>
      </a:lt1>
      <a:dk2>
        <a:srgbClr val="464646"/>
      </a:dk2>
      <a:lt2>
        <a:srgbClr val="FFFFFF"/>
      </a:lt2>
      <a:accent1>
        <a:srgbClr val="12959F"/>
      </a:accent1>
      <a:accent2>
        <a:srgbClr val="31A8DF"/>
      </a:accent2>
      <a:accent3>
        <a:srgbClr val="7FBC41"/>
      </a:accent3>
      <a:accent4>
        <a:srgbClr val="0D6F77"/>
      </a:accent4>
      <a:accent5>
        <a:srgbClr val="1B81B0"/>
      </a:accent5>
      <a:accent6>
        <a:srgbClr val="5F8C30"/>
      </a:accent6>
      <a:hlink>
        <a:srgbClr val="A05024"/>
      </a:hlink>
      <a:folHlink>
        <a:srgbClr val="FEC037"/>
      </a:folHlink>
    </a:clrScheme>
    <a:fontScheme name="Forward">
      <a:majorFont>
        <a:latin typeface="montserrat"/>
        <a:ea typeface=""/>
        <a:cs typeface=""/>
      </a:majorFont>
      <a:minorFont>
        <a:latin typeface="open sa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408</TotalTime>
  <Words>2463</Words>
  <Application>Microsoft Office PowerPoint</Application>
  <PresentationFormat>On-screen Show (4:3)</PresentationFormat>
  <Paragraphs>355</Paragraphs>
  <Slides>50</Slides>
  <Notes>13</Notes>
  <HiddenSlides>0</HiddenSlides>
  <MMClips>0</MMClips>
  <ScaleCrop>false</ScaleCrop>
  <HeadingPairs>
    <vt:vector size="6" baseType="variant">
      <vt:variant>
        <vt:lpstr>Fonts Used</vt:lpstr>
      </vt:variant>
      <vt:variant>
        <vt:i4>21</vt:i4>
      </vt:variant>
      <vt:variant>
        <vt:lpstr>Theme</vt:lpstr>
      </vt:variant>
      <vt:variant>
        <vt:i4>9</vt:i4>
      </vt:variant>
      <vt:variant>
        <vt:lpstr>Slide Titles</vt:lpstr>
      </vt:variant>
      <vt:variant>
        <vt:i4>50</vt:i4>
      </vt:variant>
    </vt:vector>
  </HeadingPairs>
  <TitlesOfParts>
    <vt:vector size="80" baseType="lpstr">
      <vt:lpstr>SimSun</vt:lpstr>
      <vt:lpstr>Arial</vt:lpstr>
      <vt:lpstr>BebasNeueBold</vt:lpstr>
      <vt:lpstr>BebasNeueRegular</vt:lpstr>
      <vt:lpstr>Calibri</vt:lpstr>
      <vt:lpstr>Calibri Light</vt:lpstr>
      <vt:lpstr>Futura Std Medium</vt:lpstr>
      <vt:lpstr>Gill Sans</vt:lpstr>
      <vt:lpstr>Helvetica Neue Custom</vt:lpstr>
      <vt:lpstr>Kozuka Gothic Pro L</vt:lpstr>
      <vt:lpstr>montserrat</vt:lpstr>
      <vt:lpstr>Myriad Pro</vt:lpstr>
      <vt:lpstr>open sans</vt:lpstr>
      <vt:lpstr>open sans</vt:lpstr>
      <vt:lpstr>Open Sans Light</vt:lpstr>
      <vt:lpstr>Raleway</vt:lpstr>
      <vt:lpstr>Roboto Bold</vt:lpstr>
      <vt:lpstr>Roboto Regular</vt:lpstr>
      <vt:lpstr>Trebuchet MS</vt:lpstr>
      <vt:lpstr>Wingdings 3</vt:lpstr>
      <vt:lpstr>Zapf Dingbats</vt:lpstr>
      <vt:lpstr>Office Theme</vt:lpstr>
      <vt:lpstr>1_Office Theme</vt:lpstr>
      <vt:lpstr>Facet</vt:lpstr>
      <vt:lpstr>2_Office Theme</vt:lpstr>
      <vt:lpstr>Presentation1</vt:lpstr>
      <vt:lpstr>3_Office Theme</vt:lpstr>
      <vt:lpstr>5_Office Theme</vt:lpstr>
      <vt:lpstr>CAADP Design</vt:lpstr>
      <vt:lpstr>4_Office Theme</vt:lpstr>
      <vt:lpstr>PowerPoint Presentation</vt:lpstr>
      <vt:lpstr>GLOBAL CHALLENGE</vt:lpstr>
      <vt:lpstr>PowerPoint Presentation</vt:lpstr>
      <vt:lpstr>Slow decline in malnourishment. Alarming increase in obesity.</vt:lpstr>
      <vt:lpstr>PowerPoint Presentation</vt:lpstr>
      <vt:lpstr>PowerPoint Presentation</vt:lpstr>
      <vt:lpstr>PowerPoint Presentation</vt:lpstr>
      <vt:lpstr>PowerPoint Presentation</vt:lpstr>
      <vt:lpstr>Improved progress on hunger, but too slow. Climate change increases hunger.</vt:lpstr>
      <vt:lpstr>A continuous trend towards internationalization of food markets</vt:lpstr>
      <vt:lpstr>Evolution by region of the price support through border measure</vt:lpstr>
      <vt:lpstr>Africa in Global Trade</vt:lpstr>
      <vt:lpstr>Heterogeneous Performance on Global Agricultural Markets</vt:lpstr>
      <vt:lpstr>Implications of Changing Prices and Demand for Energy and Food</vt:lpstr>
      <vt:lpstr>Looking at the Past</vt:lpstr>
      <vt:lpstr>How Will Intra-African Trade Perform?</vt:lpstr>
      <vt:lpstr>Trade Policy Barriers for Expanding Trade in Africa</vt:lpstr>
      <vt:lpstr>ADDITIONAL DEMAND FOR BIOMASS</vt:lpstr>
      <vt:lpstr>GROWING DEMAND</vt:lpstr>
      <vt:lpstr>PowerPoint Presentation</vt:lpstr>
      <vt:lpstr>Production of key crops, in Zambia, 1990-2013</vt:lpstr>
      <vt:lpstr>Food supply per capita per year, Zambia, 1998-2010</vt:lpstr>
      <vt:lpstr>PowerPoint Presentation</vt:lpstr>
      <vt:lpstr>Spatial Patterns (annual avg. 2005-07)</vt:lpstr>
      <vt:lpstr>PowerPoint Presentation</vt:lpstr>
      <vt:lpstr>Stochastic Profit Frontier</vt:lpstr>
      <vt:lpstr>PowerPoint Presentation</vt:lpstr>
      <vt:lpstr>El Niño Risks</vt:lpstr>
      <vt:lpstr>PowerPoint Presentation</vt:lpstr>
      <vt:lpstr>PowerPoint Presentation</vt:lpstr>
      <vt:lpstr>PowerPoint Presentation</vt:lpstr>
      <vt:lpstr>El Niño Risks</vt:lpstr>
      <vt:lpstr>PowerPoint Presentation</vt:lpstr>
      <vt:lpstr>Poverty levels and income per capita, Zambia, 1990-2014</vt:lpstr>
      <vt:lpstr>Share of total public expenditure allocated to the agricultural sector, Zambia 2000-2009</vt:lpstr>
      <vt:lpstr>Share of the population below minimum level of dietary energy intake (official MDG indicator), Zambia, 1991-2013</vt:lpstr>
      <vt:lpstr>GHI measures three dimensions of hunger</vt:lpstr>
      <vt:lpstr>Different types of childhood malnutrition (abstrac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ain Features</vt:lpstr>
      <vt:lpstr>PowerPoint Presentation</vt:lpstr>
      <vt:lpstr>PowerPoint Presentation</vt:lpstr>
      <vt:lpstr>PowerPoint Presentation</vt:lpstr>
      <vt:lpstr>PowerPoint Presentation</vt:lpstr>
    </vt:vector>
  </TitlesOfParts>
  <Company>Wageningen UR</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auteur</dc:creator>
  <cp:lastModifiedBy>sgustafson</cp:lastModifiedBy>
  <cp:revision>190</cp:revision>
  <dcterms:created xsi:type="dcterms:W3CDTF">2012-08-09T12:11:55Z</dcterms:created>
  <dcterms:modified xsi:type="dcterms:W3CDTF">2016-03-02T22:36:02Z</dcterms:modified>
</cp:coreProperties>
</file>